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3"/>
    <p:sldMasterId id="2147483727" r:id="rId4"/>
  </p:sldMasterIdLst>
  <p:notesMasterIdLst>
    <p:notesMasterId r:id="rId51"/>
  </p:notesMasterIdLst>
  <p:sldIdLst>
    <p:sldId id="9424" r:id="rId5"/>
    <p:sldId id="9038" r:id="rId6"/>
    <p:sldId id="2134960218" r:id="rId7"/>
    <p:sldId id="2134960498" r:id="rId8"/>
    <p:sldId id="2134960422" r:id="rId9"/>
    <p:sldId id="2141411917" r:id="rId10"/>
    <p:sldId id="2134960416" r:id="rId11"/>
    <p:sldId id="9505" r:id="rId12"/>
    <p:sldId id="2134960417" r:id="rId13"/>
    <p:sldId id="2134960419" r:id="rId14"/>
    <p:sldId id="2134960420" r:id="rId15"/>
    <p:sldId id="2787" r:id="rId16"/>
    <p:sldId id="2134960490" r:id="rId17"/>
    <p:sldId id="2134960421" r:id="rId18"/>
    <p:sldId id="7268" r:id="rId19"/>
    <p:sldId id="2141411918" r:id="rId20"/>
    <p:sldId id="2134960488" r:id="rId21"/>
    <p:sldId id="2134960424" r:id="rId22"/>
    <p:sldId id="2134960495" r:id="rId23"/>
    <p:sldId id="2134960485" r:id="rId24"/>
    <p:sldId id="2134960486" r:id="rId25"/>
    <p:sldId id="2134960484" r:id="rId26"/>
    <p:sldId id="2134960482" r:id="rId27"/>
    <p:sldId id="9426" r:id="rId28"/>
    <p:sldId id="2134960440" r:id="rId29"/>
    <p:sldId id="2134960481" r:id="rId30"/>
    <p:sldId id="2134960500" r:id="rId31"/>
    <p:sldId id="2141411926" r:id="rId32"/>
    <p:sldId id="2134960499" r:id="rId33"/>
    <p:sldId id="2134960425" r:id="rId34"/>
    <p:sldId id="2141411920" r:id="rId35"/>
    <p:sldId id="2134960463" r:id="rId36"/>
    <p:sldId id="2134960465" r:id="rId37"/>
    <p:sldId id="2134960464" r:id="rId38"/>
    <p:sldId id="2134960472" r:id="rId39"/>
    <p:sldId id="2134960466" r:id="rId40"/>
    <p:sldId id="2134960467" r:id="rId41"/>
    <p:sldId id="2134960468" r:id="rId42"/>
    <p:sldId id="2134960469" r:id="rId43"/>
    <p:sldId id="2134960471" r:id="rId44"/>
    <p:sldId id="838840327" r:id="rId45"/>
    <p:sldId id="2134960261" r:id="rId46"/>
    <p:sldId id="2134960253" r:id="rId47"/>
    <p:sldId id="838840328" r:id="rId48"/>
    <p:sldId id="2134960257" r:id="rId49"/>
    <p:sldId id="213496049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alapagos Customer Engagement Model" id="{3BA75DC3-82AD-7443-B7BD-E7F5EAB9803A}">
          <p14:sldIdLst>
            <p14:sldId id="9424"/>
            <p14:sldId id="9038"/>
            <p14:sldId id="2134960218"/>
            <p14:sldId id="2134960498"/>
            <p14:sldId id="2134960422"/>
            <p14:sldId id="2141411917"/>
            <p14:sldId id="2134960416"/>
            <p14:sldId id="9505"/>
            <p14:sldId id="2134960417"/>
            <p14:sldId id="2134960419"/>
            <p14:sldId id="2134960420"/>
            <p14:sldId id="2787"/>
            <p14:sldId id="2134960490"/>
            <p14:sldId id="2134960421"/>
            <p14:sldId id="7268"/>
            <p14:sldId id="2141411918"/>
            <p14:sldId id="2134960488"/>
            <p14:sldId id="2134960424"/>
            <p14:sldId id="2134960495"/>
            <p14:sldId id="2134960485"/>
            <p14:sldId id="2134960486"/>
            <p14:sldId id="2134960484"/>
            <p14:sldId id="2134960482"/>
            <p14:sldId id="9426"/>
            <p14:sldId id="2134960440"/>
            <p14:sldId id="2134960481"/>
            <p14:sldId id="2134960500"/>
            <p14:sldId id="2141411926"/>
            <p14:sldId id="2134960499"/>
            <p14:sldId id="2134960425"/>
            <p14:sldId id="2141411920"/>
            <p14:sldId id="2134960463"/>
            <p14:sldId id="2134960465"/>
            <p14:sldId id="2134960464"/>
            <p14:sldId id="2134960472"/>
            <p14:sldId id="2134960466"/>
            <p14:sldId id="2134960467"/>
            <p14:sldId id="2134960468"/>
            <p14:sldId id="2134960469"/>
            <p14:sldId id="2134960471"/>
            <p14:sldId id="838840327"/>
            <p14:sldId id="2134960261"/>
            <p14:sldId id="2134960253"/>
            <p14:sldId id="838840328"/>
            <p14:sldId id="2134960257"/>
            <p14:sldId id="2134960496"/>
          </p14:sldIdLst>
        </p14:section>
      </p14:sectionLst>
    </p:ext>
    <p:ext uri="{EFAFB233-063F-42B5-8137-9DF3F51BA10A}">
      <p15:sldGuideLst xmlns:p15="http://schemas.microsoft.com/office/powerpoint/2012/main">
        <p15:guide id="1" orient="horz" pos="368" userDrawn="1">
          <p15:clr>
            <a:srgbClr val="A4A3A4"/>
          </p15:clr>
        </p15:guide>
        <p15:guide id="2" pos="408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ctoria Serra G" initials="VSG" lastIdx="13" clrIdx="0">
    <p:extLst>
      <p:ext uri="{19B8F6BF-5375-455C-9EA6-DF929625EA0E}">
        <p15:presenceInfo xmlns:p15="http://schemas.microsoft.com/office/powerpoint/2012/main" userId="S::victoria.serra.g@veeva.com::7b4aef31-56b7-4e27-b65e-764fc5765ec4" providerId="AD"/>
      </p:ext>
    </p:extLst>
  </p:cmAuthor>
  <p:cmAuthor id="2" name="Louisa Peacock" initials="LP" lastIdx="5" clrIdx="1">
    <p:extLst>
      <p:ext uri="{19B8F6BF-5375-455C-9EA6-DF929625EA0E}">
        <p15:presenceInfo xmlns:p15="http://schemas.microsoft.com/office/powerpoint/2012/main" userId="S::louisa.peacock@veeva.com::5fe524c8-7450-4ce2-8801-50509e45c0d7" providerId="AD"/>
      </p:ext>
    </p:extLst>
  </p:cmAuthor>
  <p:cmAuthor id="3" name="Gareth Allott" initials="GA" lastIdx="12" clrIdx="2">
    <p:extLst>
      <p:ext uri="{19B8F6BF-5375-455C-9EA6-DF929625EA0E}">
        <p15:presenceInfo xmlns:p15="http://schemas.microsoft.com/office/powerpoint/2012/main" userId="S::gareth.allott@veeva.com::d67bc1e7-5e6e-4540-bcf9-468a02f7a83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A33"/>
    <a:srgbClr val="3C1A05"/>
    <a:srgbClr val="85B6CF"/>
    <a:srgbClr val="F5B50F"/>
    <a:srgbClr val="4ED2D2"/>
    <a:srgbClr val="DD5E10"/>
    <a:srgbClr val="FF9E16"/>
    <a:srgbClr val="DD5E12"/>
    <a:srgbClr val="DD5F12"/>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000000-0000-0000-0000-000000000000}" v="657" dt="2021-04-14T18:52:49.787"/>
    <p1510:client id="{998A10C0-B340-D34E-B608-D7B5D451E98D}" v="1510" dt="2021-04-14T19:02:37.309"/>
    <p1510:client id="{EB641A6A-5631-604E-9482-E1CF6AD842B0}" v="4563" dt="2021-04-15T15:59:11.0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701"/>
  </p:normalViewPr>
  <p:slideViewPr>
    <p:cSldViewPr snapToGrid="0">
      <p:cViewPr varScale="1">
        <p:scale>
          <a:sx n="105" d="100"/>
          <a:sy n="105" d="100"/>
        </p:scale>
        <p:origin x="744" y="192"/>
      </p:cViewPr>
      <p:guideLst>
        <p:guide orient="horz" pos="368"/>
        <p:guide pos="408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aron Bean" userId="943e3fa2-9570-418e-984e-8925a3ac7ce3" providerId="ADAL" clId="{998A10C0-B340-D34E-B608-D7B5D451E98D}"/>
    <pc:docChg chg="undo custSel addSld delSld modSld sldOrd modMainMaster modSection">
      <pc:chgData name="Aaron Bean" userId="943e3fa2-9570-418e-984e-8925a3ac7ce3" providerId="ADAL" clId="{998A10C0-B340-D34E-B608-D7B5D451E98D}" dt="2021-04-14T19:02:37.309" v="1509" actId="20577"/>
      <pc:docMkLst>
        <pc:docMk/>
      </pc:docMkLst>
      <pc:sldChg chg="modSp add mod">
        <pc:chgData name="Aaron Bean" userId="943e3fa2-9570-418e-984e-8925a3ac7ce3" providerId="ADAL" clId="{998A10C0-B340-D34E-B608-D7B5D451E98D}" dt="2021-04-13T13:46:16.725" v="326" actId="207"/>
        <pc:sldMkLst>
          <pc:docMk/>
          <pc:sldMk cId="2794985461" sldId="2787"/>
        </pc:sldMkLst>
        <pc:spChg chg="mod">
          <ac:chgData name="Aaron Bean" userId="943e3fa2-9570-418e-984e-8925a3ac7ce3" providerId="ADAL" clId="{998A10C0-B340-D34E-B608-D7B5D451E98D}" dt="2021-04-13T13:46:03.749" v="285" actId="207"/>
          <ac:spMkLst>
            <pc:docMk/>
            <pc:sldMk cId="2794985461" sldId="2787"/>
            <ac:spMk id="4" creationId="{7F545618-844B-5F4C-A973-60B712D420AB}"/>
          </ac:spMkLst>
        </pc:spChg>
        <pc:spChg chg="mod">
          <ac:chgData name="Aaron Bean" userId="943e3fa2-9570-418e-984e-8925a3ac7ce3" providerId="ADAL" clId="{998A10C0-B340-D34E-B608-D7B5D451E98D}" dt="2021-04-13T13:46:03.749" v="285" actId="207"/>
          <ac:spMkLst>
            <pc:docMk/>
            <pc:sldMk cId="2794985461" sldId="2787"/>
            <ac:spMk id="155" creationId="{A4D9BD34-AF7C-E14D-BE44-202B98D984D8}"/>
          </ac:spMkLst>
        </pc:spChg>
        <pc:spChg chg="mod">
          <ac:chgData name="Aaron Bean" userId="943e3fa2-9570-418e-984e-8925a3ac7ce3" providerId="ADAL" clId="{998A10C0-B340-D34E-B608-D7B5D451E98D}" dt="2021-04-13T13:46:03.749" v="285" actId="207"/>
          <ac:spMkLst>
            <pc:docMk/>
            <pc:sldMk cId="2794985461" sldId="2787"/>
            <ac:spMk id="156" creationId="{168C983C-7258-CA49-B215-058EB39202B3}"/>
          </ac:spMkLst>
        </pc:spChg>
        <pc:spChg chg="mod">
          <ac:chgData name="Aaron Bean" userId="943e3fa2-9570-418e-984e-8925a3ac7ce3" providerId="ADAL" clId="{998A10C0-B340-D34E-B608-D7B5D451E98D}" dt="2021-04-13T13:46:16.725" v="326" actId="207"/>
          <ac:spMkLst>
            <pc:docMk/>
            <pc:sldMk cId="2794985461" sldId="2787"/>
            <ac:spMk id="157" creationId="{4F8D0864-FF57-0942-B2BE-7841721BE4E9}"/>
          </ac:spMkLst>
        </pc:spChg>
        <pc:spChg chg="mod">
          <ac:chgData name="Aaron Bean" userId="943e3fa2-9570-418e-984e-8925a3ac7ce3" providerId="ADAL" clId="{998A10C0-B340-D34E-B608-D7B5D451E98D}" dt="2021-04-13T13:46:16.725" v="326" actId="207"/>
          <ac:spMkLst>
            <pc:docMk/>
            <pc:sldMk cId="2794985461" sldId="2787"/>
            <ac:spMk id="158" creationId="{82A94656-8A96-8742-9FC9-BFB0BA545D6F}"/>
          </ac:spMkLst>
        </pc:spChg>
      </pc:sldChg>
      <pc:sldChg chg="add">
        <pc:chgData name="Aaron Bean" userId="943e3fa2-9570-418e-984e-8925a3ac7ce3" providerId="ADAL" clId="{998A10C0-B340-D34E-B608-D7B5D451E98D}" dt="2021-04-13T13:38:03.698" v="0"/>
        <pc:sldMkLst>
          <pc:docMk/>
          <pc:sldMk cId="2057360454" sldId="7268"/>
        </pc:sldMkLst>
      </pc:sldChg>
      <pc:sldChg chg="modSp mod">
        <pc:chgData name="Aaron Bean" userId="943e3fa2-9570-418e-984e-8925a3ac7ce3" providerId="ADAL" clId="{998A10C0-B340-D34E-B608-D7B5D451E98D}" dt="2021-04-13T13:45:19.778" v="280" actId="403"/>
        <pc:sldMkLst>
          <pc:docMk/>
          <pc:sldMk cId="149196871" sldId="9038"/>
        </pc:sldMkLst>
        <pc:spChg chg="mod">
          <ac:chgData name="Aaron Bean" userId="943e3fa2-9570-418e-984e-8925a3ac7ce3" providerId="ADAL" clId="{998A10C0-B340-D34E-B608-D7B5D451E98D}" dt="2021-04-13T13:45:19.778" v="280" actId="403"/>
          <ac:spMkLst>
            <pc:docMk/>
            <pc:sldMk cId="149196871" sldId="9038"/>
            <ac:spMk id="2" creationId="{A7CFD804-A5B5-5E40-903F-C807E5B7979C}"/>
          </ac:spMkLst>
        </pc:spChg>
      </pc:sldChg>
      <pc:sldChg chg="modSp mod">
        <pc:chgData name="Aaron Bean" userId="943e3fa2-9570-418e-984e-8925a3ac7ce3" providerId="ADAL" clId="{998A10C0-B340-D34E-B608-D7B5D451E98D}" dt="2021-04-13T13:38:17.146" v="12" actId="20577"/>
        <pc:sldMkLst>
          <pc:docMk/>
          <pc:sldMk cId="1679327174" sldId="9424"/>
        </pc:sldMkLst>
        <pc:spChg chg="mod">
          <ac:chgData name="Aaron Bean" userId="943e3fa2-9570-418e-984e-8925a3ac7ce3" providerId="ADAL" clId="{998A10C0-B340-D34E-B608-D7B5D451E98D}" dt="2021-04-13T13:38:17.146" v="12" actId="20577"/>
          <ac:spMkLst>
            <pc:docMk/>
            <pc:sldMk cId="1679327174" sldId="9424"/>
            <ac:spMk id="20" creationId="{4AA4116D-5007-5448-A37B-9F7571CE3996}"/>
          </ac:spMkLst>
        </pc:spChg>
      </pc:sldChg>
      <pc:sldChg chg="ord">
        <pc:chgData name="Aaron Bean" userId="943e3fa2-9570-418e-984e-8925a3ac7ce3" providerId="ADAL" clId="{998A10C0-B340-D34E-B608-D7B5D451E98D}" dt="2021-04-14T18:59:53.023" v="1484" actId="20578"/>
        <pc:sldMkLst>
          <pc:docMk/>
          <pc:sldMk cId="3863951712" sldId="9426"/>
        </pc:sldMkLst>
      </pc:sldChg>
      <pc:sldChg chg="add">
        <pc:chgData name="Aaron Bean" userId="943e3fa2-9570-418e-984e-8925a3ac7ce3" providerId="ADAL" clId="{998A10C0-B340-D34E-B608-D7B5D451E98D}" dt="2021-04-13T13:38:03.698" v="0"/>
        <pc:sldMkLst>
          <pc:docMk/>
          <pc:sldMk cId="3012286622" sldId="9505"/>
        </pc:sldMkLst>
      </pc:sldChg>
      <pc:sldChg chg="modSp mod ord">
        <pc:chgData name="Aaron Bean" userId="943e3fa2-9570-418e-984e-8925a3ac7ce3" providerId="ADAL" clId="{998A10C0-B340-D34E-B608-D7B5D451E98D}" dt="2021-04-13T13:55:14.303" v="904" actId="20578"/>
        <pc:sldMkLst>
          <pc:docMk/>
          <pc:sldMk cId="2884331996" sldId="838840327"/>
        </pc:sldMkLst>
        <pc:spChg chg="mod">
          <ac:chgData name="Aaron Bean" userId="943e3fa2-9570-418e-984e-8925a3ac7ce3" providerId="ADAL" clId="{998A10C0-B340-D34E-B608-D7B5D451E98D}" dt="2021-04-13T13:53:54.074" v="891" actId="404"/>
          <ac:spMkLst>
            <pc:docMk/>
            <pc:sldMk cId="2884331996" sldId="838840327"/>
            <ac:spMk id="3" creationId="{B17A06C6-4D60-E043-B067-727D999DF628}"/>
          </ac:spMkLst>
        </pc:spChg>
        <pc:spChg chg="mod">
          <ac:chgData name="Aaron Bean" userId="943e3fa2-9570-418e-984e-8925a3ac7ce3" providerId="ADAL" clId="{998A10C0-B340-D34E-B608-D7B5D451E98D}" dt="2021-04-13T13:54:29.714" v="893" actId="1076"/>
          <ac:spMkLst>
            <pc:docMk/>
            <pc:sldMk cId="2884331996" sldId="838840327"/>
            <ac:spMk id="4" creationId="{BD39108C-2EF1-6E42-B7E2-66D6B69CCBF0}"/>
          </ac:spMkLst>
        </pc:spChg>
      </pc:sldChg>
      <pc:sldChg chg="modSp mod ord">
        <pc:chgData name="Aaron Bean" userId="943e3fa2-9570-418e-984e-8925a3ac7ce3" providerId="ADAL" clId="{998A10C0-B340-D34E-B608-D7B5D451E98D}" dt="2021-04-13T13:55:14.303" v="904" actId="20578"/>
        <pc:sldMkLst>
          <pc:docMk/>
          <pc:sldMk cId="3484627902" sldId="838840328"/>
        </pc:sldMkLst>
        <pc:spChg chg="mod">
          <ac:chgData name="Aaron Bean" userId="943e3fa2-9570-418e-984e-8925a3ac7ce3" providerId="ADAL" clId="{998A10C0-B340-D34E-B608-D7B5D451E98D}" dt="2021-04-13T13:54:38.734" v="900" actId="1036"/>
          <ac:spMkLst>
            <pc:docMk/>
            <pc:sldMk cId="3484627902" sldId="838840328"/>
            <ac:spMk id="4" creationId="{BD39108C-2EF1-6E42-B7E2-66D6B69CCBF0}"/>
          </ac:spMkLst>
        </pc:spChg>
      </pc:sldChg>
      <pc:sldChg chg="modSp mod">
        <pc:chgData name="Aaron Bean" userId="943e3fa2-9570-418e-984e-8925a3ac7ce3" providerId="ADAL" clId="{998A10C0-B340-D34E-B608-D7B5D451E98D}" dt="2021-04-13T13:38:54.381" v="14" actId="403"/>
        <pc:sldMkLst>
          <pc:docMk/>
          <pc:sldMk cId="3771095311" sldId="2134960218"/>
        </pc:sldMkLst>
        <pc:spChg chg="mod">
          <ac:chgData name="Aaron Bean" userId="943e3fa2-9570-418e-984e-8925a3ac7ce3" providerId="ADAL" clId="{998A10C0-B340-D34E-B608-D7B5D451E98D}" dt="2021-04-13T13:38:54.381" v="14" actId="403"/>
          <ac:spMkLst>
            <pc:docMk/>
            <pc:sldMk cId="3771095311" sldId="2134960218"/>
            <ac:spMk id="3" creationId="{B473E39C-FE51-2C46-A562-F8FBC645A45D}"/>
          </ac:spMkLst>
        </pc:spChg>
      </pc:sldChg>
      <pc:sldChg chg="modSp mod ord">
        <pc:chgData name="Aaron Bean" userId="943e3fa2-9570-418e-984e-8925a3ac7ce3" providerId="ADAL" clId="{998A10C0-B340-D34E-B608-D7B5D451E98D}" dt="2021-04-13T13:55:14.303" v="904" actId="20578"/>
        <pc:sldMkLst>
          <pc:docMk/>
          <pc:sldMk cId="2568197872" sldId="2134960253"/>
        </pc:sldMkLst>
        <pc:spChg chg="mod">
          <ac:chgData name="Aaron Bean" userId="943e3fa2-9570-418e-984e-8925a3ac7ce3" providerId="ADAL" clId="{998A10C0-B340-D34E-B608-D7B5D451E98D}" dt="2021-04-13T13:54:36.845" v="898" actId="1036"/>
          <ac:spMkLst>
            <pc:docMk/>
            <pc:sldMk cId="2568197872" sldId="2134960253"/>
            <ac:spMk id="4" creationId="{BD39108C-2EF1-6E42-B7E2-66D6B69CCBF0}"/>
          </ac:spMkLst>
        </pc:spChg>
      </pc:sldChg>
      <pc:sldChg chg="modSp mod ord">
        <pc:chgData name="Aaron Bean" userId="943e3fa2-9570-418e-984e-8925a3ac7ce3" providerId="ADAL" clId="{998A10C0-B340-D34E-B608-D7B5D451E98D}" dt="2021-04-13T13:55:14.303" v="904" actId="20578"/>
        <pc:sldMkLst>
          <pc:docMk/>
          <pc:sldMk cId="3880691758" sldId="2134960257"/>
        </pc:sldMkLst>
        <pc:spChg chg="mod">
          <ac:chgData name="Aaron Bean" userId="943e3fa2-9570-418e-984e-8925a3ac7ce3" providerId="ADAL" clId="{998A10C0-B340-D34E-B608-D7B5D451E98D}" dt="2021-04-13T13:54:41.909" v="901" actId="1076"/>
          <ac:spMkLst>
            <pc:docMk/>
            <pc:sldMk cId="3880691758" sldId="2134960257"/>
            <ac:spMk id="5" creationId="{5F5EFFFF-F5EF-4929-85EC-F3F05B59ECF6}"/>
          </ac:spMkLst>
        </pc:spChg>
      </pc:sldChg>
      <pc:sldChg chg="modSp mod ord">
        <pc:chgData name="Aaron Bean" userId="943e3fa2-9570-418e-984e-8925a3ac7ce3" providerId="ADAL" clId="{998A10C0-B340-D34E-B608-D7B5D451E98D}" dt="2021-04-13T13:55:14.303" v="904" actId="20578"/>
        <pc:sldMkLst>
          <pc:docMk/>
          <pc:sldMk cId="2341698561" sldId="2134960261"/>
        </pc:sldMkLst>
        <pc:spChg chg="mod">
          <ac:chgData name="Aaron Bean" userId="943e3fa2-9570-418e-984e-8925a3ac7ce3" providerId="ADAL" clId="{998A10C0-B340-D34E-B608-D7B5D451E98D}" dt="2021-04-13T13:54:32.616" v="894" actId="1076"/>
          <ac:spMkLst>
            <pc:docMk/>
            <pc:sldMk cId="2341698561" sldId="2134960261"/>
            <ac:spMk id="11" creationId="{64B94B8E-0B26-6B4A-98F7-76B91ABDB47B}"/>
          </ac:spMkLst>
        </pc:spChg>
      </pc:sldChg>
      <pc:sldChg chg="modSp add mod">
        <pc:chgData name="Aaron Bean" userId="943e3fa2-9570-418e-984e-8925a3ac7ce3" providerId="ADAL" clId="{998A10C0-B340-D34E-B608-D7B5D451E98D}" dt="2021-04-13T13:42:48.565" v="272" actId="1076"/>
        <pc:sldMkLst>
          <pc:docMk/>
          <pc:sldMk cId="1995993050" sldId="2134960416"/>
        </pc:sldMkLst>
        <pc:spChg chg="mod">
          <ac:chgData name="Aaron Bean" userId="943e3fa2-9570-418e-984e-8925a3ac7ce3" providerId="ADAL" clId="{998A10C0-B340-D34E-B608-D7B5D451E98D}" dt="2021-04-13T13:42:48.565" v="272" actId="1076"/>
          <ac:spMkLst>
            <pc:docMk/>
            <pc:sldMk cId="1995993050" sldId="2134960416"/>
            <ac:spMk id="9" creationId="{ADE89307-745E-764A-942A-F60BAE4CAB59}"/>
          </ac:spMkLst>
        </pc:spChg>
        <pc:picChg chg="mod">
          <ac:chgData name="Aaron Bean" userId="943e3fa2-9570-418e-984e-8925a3ac7ce3" providerId="ADAL" clId="{998A10C0-B340-D34E-B608-D7B5D451E98D}" dt="2021-04-13T13:42:45.686" v="270" actId="1076"/>
          <ac:picMkLst>
            <pc:docMk/>
            <pc:sldMk cId="1995993050" sldId="2134960416"/>
            <ac:picMk id="10" creationId="{14ABD29E-43D4-1343-BC84-62DA0BFBA47C}"/>
          </ac:picMkLst>
        </pc:picChg>
      </pc:sldChg>
      <pc:sldChg chg="add">
        <pc:chgData name="Aaron Bean" userId="943e3fa2-9570-418e-984e-8925a3ac7ce3" providerId="ADAL" clId="{998A10C0-B340-D34E-B608-D7B5D451E98D}" dt="2021-04-13T13:38:03.698" v="0"/>
        <pc:sldMkLst>
          <pc:docMk/>
          <pc:sldMk cId="2847803796" sldId="2134960417"/>
        </pc:sldMkLst>
      </pc:sldChg>
      <pc:sldChg chg="add">
        <pc:chgData name="Aaron Bean" userId="943e3fa2-9570-418e-984e-8925a3ac7ce3" providerId="ADAL" clId="{998A10C0-B340-D34E-B608-D7B5D451E98D}" dt="2021-04-13T13:38:03.698" v="0"/>
        <pc:sldMkLst>
          <pc:docMk/>
          <pc:sldMk cId="4254502120" sldId="2134960419"/>
        </pc:sldMkLst>
      </pc:sldChg>
      <pc:sldChg chg="add">
        <pc:chgData name="Aaron Bean" userId="943e3fa2-9570-418e-984e-8925a3ac7ce3" providerId="ADAL" clId="{998A10C0-B340-D34E-B608-D7B5D451E98D}" dt="2021-04-13T13:38:03.698" v="0"/>
        <pc:sldMkLst>
          <pc:docMk/>
          <pc:sldMk cId="3361529389" sldId="2134960420"/>
        </pc:sldMkLst>
      </pc:sldChg>
      <pc:sldChg chg="add">
        <pc:chgData name="Aaron Bean" userId="943e3fa2-9570-418e-984e-8925a3ac7ce3" providerId="ADAL" clId="{998A10C0-B340-D34E-B608-D7B5D451E98D}" dt="2021-04-13T13:38:03.698" v="0"/>
        <pc:sldMkLst>
          <pc:docMk/>
          <pc:sldMk cId="4004024159" sldId="2134960421"/>
        </pc:sldMkLst>
      </pc:sldChg>
      <pc:sldChg chg="modSp mod">
        <pc:chgData name="Aaron Bean" userId="943e3fa2-9570-418e-984e-8925a3ac7ce3" providerId="ADAL" clId="{998A10C0-B340-D34E-B608-D7B5D451E98D}" dt="2021-04-13T13:45:15.931" v="278" actId="403"/>
        <pc:sldMkLst>
          <pc:docMk/>
          <pc:sldMk cId="3292677876" sldId="2134960422"/>
        </pc:sldMkLst>
        <pc:spChg chg="mod">
          <ac:chgData name="Aaron Bean" userId="943e3fa2-9570-418e-984e-8925a3ac7ce3" providerId="ADAL" clId="{998A10C0-B340-D34E-B608-D7B5D451E98D}" dt="2021-04-13T13:45:15.931" v="278" actId="403"/>
          <ac:spMkLst>
            <pc:docMk/>
            <pc:sldMk cId="3292677876" sldId="2134960422"/>
            <ac:spMk id="43" creationId="{0A13CAA7-4548-9145-9559-FC9D617E184D}"/>
          </ac:spMkLst>
        </pc:spChg>
      </pc:sldChg>
      <pc:sldChg chg="modSp del mod">
        <pc:chgData name="Aaron Bean" userId="943e3fa2-9570-418e-984e-8925a3ac7ce3" providerId="ADAL" clId="{998A10C0-B340-D34E-B608-D7B5D451E98D}" dt="2021-04-13T13:45:27.122" v="283" actId="2696"/>
        <pc:sldMkLst>
          <pc:docMk/>
          <pc:sldMk cId="2109258609" sldId="2134960423"/>
        </pc:sldMkLst>
        <pc:spChg chg="mod">
          <ac:chgData name="Aaron Bean" userId="943e3fa2-9570-418e-984e-8925a3ac7ce3" providerId="ADAL" clId="{998A10C0-B340-D34E-B608-D7B5D451E98D}" dt="2021-04-13T13:45:22.455" v="282" actId="403"/>
          <ac:spMkLst>
            <pc:docMk/>
            <pc:sldMk cId="2109258609" sldId="2134960423"/>
            <ac:spMk id="43" creationId="{0635F290-B2D1-FB40-BBAE-12EAF4DF653E}"/>
          </ac:spMkLst>
        </pc:spChg>
      </pc:sldChg>
      <pc:sldChg chg="modSp mod">
        <pc:chgData name="Aaron Bean" userId="943e3fa2-9570-418e-984e-8925a3ac7ce3" providerId="ADAL" clId="{998A10C0-B340-D34E-B608-D7B5D451E98D}" dt="2021-04-13T13:47:07.779" v="344" actId="403"/>
        <pc:sldMkLst>
          <pc:docMk/>
          <pc:sldMk cId="579390619" sldId="2134960424"/>
        </pc:sldMkLst>
        <pc:spChg chg="mod">
          <ac:chgData name="Aaron Bean" userId="943e3fa2-9570-418e-984e-8925a3ac7ce3" providerId="ADAL" clId="{998A10C0-B340-D34E-B608-D7B5D451E98D}" dt="2021-04-13T13:47:07.779" v="344" actId="403"/>
          <ac:spMkLst>
            <pc:docMk/>
            <pc:sldMk cId="579390619" sldId="2134960424"/>
            <ac:spMk id="43" creationId="{AD91F152-2193-1543-82A7-2237D2A9F1C7}"/>
          </ac:spMkLst>
        </pc:spChg>
      </pc:sldChg>
      <pc:sldChg chg="modSp mod">
        <pc:chgData name="Aaron Bean" userId="943e3fa2-9570-418e-984e-8925a3ac7ce3" providerId="ADAL" clId="{998A10C0-B340-D34E-B608-D7B5D451E98D}" dt="2021-04-13T13:54:46.205" v="903" actId="403"/>
        <pc:sldMkLst>
          <pc:docMk/>
          <pc:sldMk cId="3252817120" sldId="2134960425"/>
        </pc:sldMkLst>
        <pc:spChg chg="mod">
          <ac:chgData name="Aaron Bean" userId="943e3fa2-9570-418e-984e-8925a3ac7ce3" providerId="ADAL" clId="{998A10C0-B340-D34E-B608-D7B5D451E98D}" dt="2021-04-13T13:54:46.205" v="903" actId="403"/>
          <ac:spMkLst>
            <pc:docMk/>
            <pc:sldMk cId="3252817120" sldId="2134960425"/>
            <ac:spMk id="2" creationId="{A7CFD804-A5B5-5E40-903F-C807E5B7979C}"/>
          </ac:spMkLst>
        </pc:spChg>
      </pc:sldChg>
      <pc:sldChg chg="modSp mod">
        <pc:chgData name="Aaron Bean" userId="943e3fa2-9570-418e-984e-8925a3ac7ce3" providerId="ADAL" clId="{998A10C0-B340-D34E-B608-D7B5D451E98D}" dt="2021-04-13T13:51:07.055" v="549" actId="1076"/>
        <pc:sldMkLst>
          <pc:docMk/>
          <pc:sldMk cId="3071882890" sldId="2134960440"/>
        </pc:sldMkLst>
        <pc:spChg chg="mod">
          <ac:chgData name="Aaron Bean" userId="943e3fa2-9570-418e-984e-8925a3ac7ce3" providerId="ADAL" clId="{998A10C0-B340-D34E-B608-D7B5D451E98D}" dt="2021-04-13T13:51:07.055" v="549" actId="1076"/>
          <ac:spMkLst>
            <pc:docMk/>
            <pc:sldMk cId="3071882890" sldId="2134960440"/>
            <ac:spMk id="4" creationId="{67174CB1-3547-9D48-BDCC-FDB551830A1C}"/>
          </ac:spMkLst>
        </pc:spChg>
        <pc:spChg chg="mod">
          <ac:chgData name="Aaron Bean" userId="943e3fa2-9570-418e-984e-8925a3ac7ce3" providerId="ADAL" clId="{998A10C0-B340-D34E-B608-D7B5D451E98D}" dt="2021-04-13T13:50:55.445" v="543" actId="1076"/>
          <ac:spMkLst>
            <pc:docMk/>
            <pc:sldMk cId="3071882890" sldId="2134960440"/>
            <ac:spMk id="5" creationId="{C19DA7CB-8237-B446-A611-7ABFDEA7D56D}"/>
          </ac:spMkLst>
        </pc:spChg>
      </pc:sldChg>
      <pc:sldChg chg="modSp mod">
        <pc:chgData name="Aaron Bean" userId="943e3fa2-9570-418e-984e-8925a3ac7ce3" providerId="ADAL" clId="{998A10C0-B340-D34E-B608-D7B5D451E98D}" dt="2021-04-13T13:57:57.122" v="1002" actId="20577"/>
        <pc:sldMkLst>
          <pc:docMk/>
          <pc:sldMk cId="619147758" sldId="2134960463"/>
        </pc:sldMkLst>
        <pc:spChg chg="mod">
          <ac:chgData name="Aaron Bean" userId="943e3fa2-9570-418e-984e-8925a3ac7ce3" providerId="ADAL" clId="{998A10C0-B340-D34E-B608-D7B5D451E98D}" dt="2021-04-13T13:57:57.122" v="1002" actId="20577"/>
          <ac:spMkLst>
            <pc:docMk/>
            <pc:sldMk cId="619147758" sldId="2134960463"/>
            <ac:spMk id="3" creationId="{AD4A8093-39C8-FB4B-A914-1502ADF096F9}"/>
          </ac:spMkLst>
        </pc:spChg>
      </pc:sldChg>
      <pc:sldChg chg="addSp modSp mod">
        <pc:chgData name="Aaron Bean" userId="943e3fa2-9570-418e-984e-8925a3ac7ce3" providerId="ADAL" clId="{998A10C0-B340-D34E-B608-D7B5D451E98D}" dt="2021-04-14T19:00:00.774" v="1502" actId="20577"/>
        <pc:sldMkLst>
          <pc:docMk/>
          <pc:sldMk cId="3856446980" sldId="2134960482"/>
        </pc:sldMkLst>
        <pc:spChg chg="add mod">
          <ac:chgData name="Aaron Bean" userId="943e3fa2-9570-418e-984e-8925a3ac7ce3" providerId="ADAL" clId="{998A10C0-B340-D34E-B608-D7B5D451E98D}" dt="2021-04-13T13:50:36.653" v="540" actId="20577"/>
          <ac:spMkLst>
            <pc:docMk/>
            <pc:sldMk cId="3856446980" sldId="2134960482"/>
            <ac:spMk id="2" creationId="{66C5C787-0BA0-6440-8CFA-7697E9A7A257}"/>
          </ac:spMkLst>
        </pc:spChg>
        <pc:spChg chg="mod">
          <ac:chgData name="Aaron Bean" userId="943e3fa2-9570-418e-984e-8925a3ac7ce3" providerId="ADAL" clId="{998A10C0-B340-D34E-B608-D7B5D451E98D}" dt="2021-04-13T13:49:49.101" v="406" actId="14100"/>
          <ac:spMkLst>
            <pc:docMk/>
            <pc:sldMk cId="3856446980" sldId="2134960482"/>
            <ac:spMk id="3" creationId="{15A749A0-AD32-C342-9AFB-4E714C050C4C}"/>
          </ac:spMkLst>
        </pc:spChg>
        <pc:spChg chg="mod">
          <ac:chgData name="Aaron Bean" userId="943e3fa2-9570-418e-984e-8925a3ac7ce3" providerId="ADAL" clId="{998A10C0-B340-D34E-B608-D7B5D451E98D}" dt="2021-04-13T13:47:35.465" v="351" actId="1076"/>
          <ac:spMkLst>
            <pc:docMk/>
            <pc:sldMk cId="3856446980" sldId="2134960482"/>
            <ac:spMk id="4" creationId="{F72CD73D-4277-5F44-880B-5B17A8B13B10}"/>
          </ac:spMkLst>
        </pc:spChg>
        <pc:spChg chg="mod">
          <ac:chgData name="Aaron Bean" userId="943e3fa2-9570-418e-984e-8925a3ac7ce3" providerId="ADAL" clId="{998A10C0-B340-D34E-B608-D7B5D451E98D}" dt="2021-04-13T13:47:35.465" v="351" actId="1076"/>
          <ac:spMkLst>
            <pc:docMk/>
            <pc:sldMk cId="3856446980" sldId="2134960482"/>
            <ac:spMk id="53" creationId="{8A5E1418-7D81-F34A-851F-3BE8052BD28B}"/>
          </ac:spMkLst>
        </pc:spChg>
        <pc:spChg chg="mod">
          <ac:chgData name="Aaron Bean" userId="943e3fa2-9570-418e-984e-8925a3ac7ce3" providerId="ADAL" clId="{998A10C0-B340-D34E-B608-D7B5D451E98D}" dt="2021-04-13T13:47:35.465" v="351" actId="1076"/>
          <ac:spMkLst>
            <pc:docMk/>
            <pc:sldMk cId="3856446980" sldId="2134960482"/>
            <ac:spMk id="58" creationId="{B1B5BBBD-8FAD-144D-B500-7066E5267AA0}"/>
          </ac:spMkLst>
        </pc:spChg>
        <pc:spChg chg="mod">
          <ac:chgData name="Aaron Bean" userId="943e3fa2-9570-418e-984e-8925a3ac7ce3" providerId="ADAL" clId="{998A10C0-B340-D34E-B608-D7B5D451E98D}" dt="2021-04-13T13:47:35.465" v="351" actId="1076"/>
          <ac:spMkLst>
            <pc:docMk/>
            <pc:sldMk cId="3856446980" sldId="2134960482"/>
            <ac:spMk id="67" creationId="{98054EED-DBC8-E64D-94A3-75E26D78E353}"/>
          </ac:spMkLst>
        </pc:spChg>
        <pc:spChg chg="mod">
          <ac:chgData name="Aaron Bean" userId="943e3fa2-9570-418e-984e-8925a3ac7ce3" providerId="ADAL" clId="{998A10C0-B340-D34E-B608-D7B5D451E98D}" dt="2021-04-13T13:47:35.465" v="351" actId="1076"/>
          <ac:spMkLst>
            <pc:docMk/>
            <pc:sldMk cId="3856446980" sldId="2134960482"/>
            <ac:spMk id="70" creationId="{FDF70F3C-3BFF-164E-8C9D-809786EC1CC8}"/>
          </ac:spMkLst>
        </pc:spChg>
        <pc:spChg chg="mod">
          <ac:chgData name="Aaron Bean" userId="943e3fa2-9570-418e-984e-8925a3ac7ce3" providerId="ADAL" clId="{998A10C0-B340-D34E-B608-D7B5D451E98D}" dt="2021-04-13T13:47:35.465" v="351" actId="1076"/>
          <ac:spMkLst>
            <pc:docMk/>
            <pc:sldMk cId="3856446980" sldId="2134960482"/>
            <ac:spMk id="71" creationId="{C260DF29-268B-CB49-BAC7-8393EBB8CAE1}"/>
          </ac:spMkLst>
        </pc:spChg>
        <pc:spChg chg="mod">
          <ac:chgData name="Aaron Bean" userId="943e3fa2-9570-418e-984e-8925a3ac7ce3" providerId="ADAL" clId="{998A10C0-B340-D34E-B608-D7B5D451E98D}" dt="2021-04-14T19:00:00.774" v="1502" actId="20577"/>
          <ac:spMkLst>
            <pc:docMk/>
            <pc:sldMk cId="3856446980" sldId="2134960482"/>
            <ac:spMk id="80" creationId="{98A05338-04C8-4049-AA8B-41EDFDA7EA04}"/>
          </ac:spMkLst>
        </pc:spChg>
        <pc:grpChg chg="mod">
          <ac:chgData name="Aaron Bean" userId="943e3fa2-9570-418e-984e-8925a3ac7ce3" providerId="ADAL" clId="{998A10C0-B340-D34E-B608-D7B5D451E98D}" dt="2021-04-13T13:47:35.465" v="351" actId="1076"/>
          <ac:grpSpMkLst>
            <pc:docMk/>
            <pc:sldMk cId="3856446980" sldId="2134960482"/>
            <ac:grpSpMk id="54" creationId="{1966F3FF-921A-FC4A-B802-054691DD2C64}"/>
          </ac:grpSpMkLst>
        </pc:grpChg>
        <pc:grpChg chg="mod">
          <ac:chgData name="Aaron Bean" userId="943e3fa2-9570-418e-984e-8925a3ac7ce3" providerId="ADAL" clId="{998A10C0-B340-D34E-B608-D7B5D451E98D}" dt="2021-04-13T13:47:35.465" v="351" actId="1076"/>
          <ac:grpSpMkLst>
            <pc:docMk/>
            <pc:sldMk cId="3856446980" sldId="2134960482"/>
            <ac:grpSpMk id="63" creationId="{E5BF3170-767E-5240-9C3E-3FFFFBAAFA40}"/>
          </ac:grpSpMkLst>
        </pc:grpChg>
        <pc:grpChg chg="mod">
          <ac:chgData name="Aaron Bean" userId="943e3fa2-9570-418e-984e-8925a3ac7ce3" providerId="ADAL" clId="{998A10C0-B340-D34E-B608-D7B5D451E98D}" dt="2021-04-13T13:47:35.465" v="351" actId="1076"/>
          <ac:grpSpMkLst>
            <pc:docMk/>
            <pc:sldMk cId="3856446980" sldId="2134960482"/>
            <ac:grpSpMk id="72" creationId="{AD60E094-585F-4C41-80D4-01C96ABA4520}"/>
          </ac:grpSpMkLst>
        </pc:grpChg>
        <pc:grpChg chg="mod">
          <ac:chgData name="Aaron Bean" userId="943e3fa2-9570-418e-984e-8925a3ac7ce3" providerId="ADAL" clId="{998A10C0-B340-D34E-B608-D7B5D451E98D}" dt="2021-04-13T13:47:35.465" v="351" actId="1076"/>
          <ac:grpSpMkLst>
            <pc:docMk/>
            <pc:sldMk cId="3856446980" sldId="2134960482"/>
            <ac:grpSpMk id="73" creationId="{E90FDC92-6A95-2040-ADF6-7AEF4A05E533}"/>
          </ac:grpSpMkLst>
        </pc:grpChg>
        <pc:grpChg chg="mod">
          <ac:chgData name="Aaron Bean" userId="943e3fa2-9570-418e-984e-8925a3ac7ce3" providerId="ADAL" clId="{998A10C0-B340-D34E-B608-D7B5D451E98D}" dt="2021-04-13T13:47:35.465" v="351" actId="1076"/>
          <ac:grpSpMkLst>
            <pc:docMk/>
            <pc:sldMk cId="3856446980" sldId="2134960482"/>
            <ac:grpSpMk id="74" creationId="{EE49DFD4-BCA9-D34E-909D-C1E9D17DBD89}"/>
          </ac:grpSpMkLst>
        </pc:grpChg>
        <pc:grpChg chg="mod">
          <ac:chgData name="Aaron Bean" userId="943e3fa2-9570-418e-984e-8925a3ac7ce3" providerId="ADAL" clId="{998A10C0-B340-D34E-B608-D7B5D451E98D}" dt="2021-04-13T13:47:35.465" v="351" actId="1076"/>
          <ac:grpSpMkLst>
            <pc:docMk/>
            <pc:sldMk cId="3856446980" sldId="2134960482"/>
            <ac:grpSpMk id="75" creationId="{E66B953A-A5E8-1948-82DB-C2B67C75959C}"/>
          </ac:grpSpMkLst>
        </pc:grpChg>
        <pc:grpChg chg="mod">
          <ac:chgData name="Aaron Bean" userId="943e3fa2-9570-418e-984e-8925a3ac7ce3" providerId="ADAL" clId="{998A10C0-B340-D34E-B608-D7B5D451E98D}" dt="2021-04-13T13:47:35.465" v="351" actId="1076"/>
          <ac:grpSpMkLst>
            <pc:docMk/>
            <pc:sldMk cId="3856446980" sldId="2134960482"/>
            <ac:grpSpMk id="76" creationId="{BF7AF0A6-9EDC-AE4B-84C0-D7A1775B24BE}"/>
          </ac:grpSpMkLst>
        </pc:grpChg>
        <pc:grpChg chg="mod">
          <ac:chgData name="Aaron Bean" userId="943e3fa2-9570-418e-984e-8925a3ac7ce3" providerId="ADAL" clId="{998A10C0-B340-D34E-B608-D7B5D451E98D}" dt="2021-04-13T13:47:35.465" v="351" actId="1076"/>
          <ac:grpSpMkLst>
            <pc:docMk/>
            <pc:sldMk cId="3856446980" sldId="2134960482"/>
            <ac:grpSpMk id="79" creationId="{26581C16-0AC5-AC40-A49F-B268F791DD9C}"/>
          </ac:grpSpMkLst>
        </pc:grpChg>
        <pc:picChg chg="mod">
          <ac:chgData name="Aaron Bean" userId="943e3fa2-9570-418e-984e-8925a3ac7ce3" providerId="ADAL" clId="{998A10C0-B340-D34E-B608-D7B5D451E98D}" dt="2021-04-13T13:47:35.465" v="351" actId="1076"/>
          <ac:picMkLst>
            <pc:docMk/>
            <pc:sldMk cId="3856446980" sldId="2134960482"/>
            <ac:picMk id="59" creationId="{4DCC119E-451A-2A45-B69E-5A6E16031917}"/>
          </ac:picMkLst>
        </pc:picChg>
        <pc:picChg chg="mod">
          <ac:chgData name="Aaron Bean" userId="943e3fa2-9570-418e-984e-8925a3ac7ce3" providerId="ADAL" clId="{998A10C0-B340-D34E-B608-D7B5D451E98D}" dt="2021-04-13T13:47:35.465" v="351" actId="1076"/>
          <ac:picMkLst>
            <pc:docMk/>
            <pc:sldMk cId="3856446980" sldId="2134960482"/>
            <ac:picMk id="60" creationId="{1509E190-7520-2A41-96D4-1F54302FBA7B}"/>
          </ac:picMkLst>
        </pc:picChg>
        <pc:picChg chg="mod">
          <ac:chgData name="Aaron Bean" userId="943e3fa2-9570-418e-984e-8925a3ac7ce3" providerId="ADAL" clId="{998A10C0-B340-D34E-B608-D7B5D451E98D}" dt="2021-04-13T13:47:35.465" v="351" actId="1076"/>
          <ac:picMkLst>
            <pc:docMk/>
            <pc:sldMk cId="3856446980" sldId="2134960482"/>
            <ac:picMk id="61" creationId="{EF5CF30C-DF4E-3342-9899-8C948500FA7C}"/>
          </ac:picMkLst>
        </pc:picChg>
        <pc:picChg chg="mod">
          <ac:chgData name="Aaron Bean" userId="943e3fa2-9570-418e-984e-8925a3ac7ce3" providerId="ADAL" clId="{998A10C0-B340-D34E-B608-D7B5D451E98D}" dt="2021-04-13T13:47:35.465" v="351" actId="1076"/>
          <ac:picMkLst>
            <pc:docMk/>
            <pc:sldMk cId="3856446980" sldId="2134960482"/>
            <ac:picMk id="62" creationId="{B0AD1C82-C671-0C46-AA23-E3B920FD0C0D}"/>
          </ac:picMkLst>
        </pc:picChg>
        <pc:picChg chg="mod">
          <ac:chgData name="Aaron Bean" userId="943e3fa2-9570-418e-984e-8925a3ac7ce3" providerId="ADAL" clId="{998A10C0-B340-D34E-B608-D7B5D451E98D}" dt="2021-04-13T13:47:35.465" v="351" actId="1076"/>
          <ac:picMkLst>
            <pc:docMk/>
            <pc:sldMk cId="3856446980" sldId="2134960482"/>
            <ac:picMk id="68" creationId="{F82B9759-8467-9E4E-A68F-4E30807F7014}"/>
          </ac:picMkLst>
        </pc:picChg>
        <pc:picChg chg="mod">
          <ac:chgData name="Aaron Bean" userId="943e3fa2-9570-418e-984e-8925a3ac7ce3" providerId="ADAL" clId="{998A10C0-B340-D34E-B608-D7B5D451E98D}" dt="2021-04-13T13:47:35.465" v="351" actId="1076"/>
          <ac:picMkLst>
            <pc:docMk/>
            <pc:sldMk cId="3856446980" sldId="2134960482"/>
            <ac:picMk id="69" creationId="{423F7CA1-944B-8746-B528-1C4C9E8F7ADB}"/>
          </ac:picMkLst>
        </pc:picChg>
        <pc:picChg chg="mod">
          <ac:chgData name="Aaron Bean" userId="943e3fa2-9570-418e-984e-8925a3ac7ce3" providerId="ADAL" clId="{998A10C0-B340-D34E-B608-D7B5D451E98D}" dt="2021-04-13T13:47:35.465" v="351" actId="1076"/>
          <ac:picMkLst>
            <pc:docMk/>
            <pc:sldMk cId="3856446980" sldId="2134960482"/>
            <ac:picMk id="83" creationId="{B39C7085-A87E-484D-BC43-CC30CB073C5F}"/>
          </ac:picMkLst>
        </pc:picChg>
        <pc:picChg chg="mod">
          <ac:chgData name="Aaron Bean" userId="943e3fa2-9570-418e-984e-8925a3ac7ce3" providerId="ADAL" clId="{998A10C0-B340-D34E-B608-D7B5D451E98D}" dt="2021-04-13T13:47:35.465" v="351" actId="1076"/>
          <ac:picMkLst>
            <pc:docMk/>
            <pc:sldMk cId="3856446980" sldId="2134960482"/>
            <ac:picMk id="84" creationId="{517150CA-0E31-BD49-9563-ACF52869449D}"/>
          </ac:picMkLst>
        </pc:picChg>
      </pc:sldChg>
      <pc:sldChg chg="modSp mod">
        <pc:chgData name="Aaron Bean" userId="943e3fa2-9570-418e-984e-8925a3ac7ce3" providerId="ADAL" clId="{998A10C0-B340-D34E-B608-D7B5D451E98D}" dt="2021-04-13T13:49:35.873" v="403" actId="1582"/>
        <pc:sldMkLst>
          <pc:docMk/>
          <pc:sldMk cId="2228155413" sldId="2134960484"/>
        </pc:sldMkLst>
        <pc:spChg chg="mod">
          <ac:chgData name="Aaron Bean" userId="943e3fa2-9570-418e-984e-8925a3ac7ce3" providerId="ADAL" clId="{998A10C0-B340-D34E-B608-D7B5D451E98D}" dt="2021-04-13T13:49:11.151" v="401" actId="20577"/>
          <ac:spMkLst>
            <pc:docMk/>
            <pc:sldMk cId="2228155413" sldId="2134960484"/>
            <ac:spMk id="3" creationId="{15C3942F-1347-2E43-8434-3C91D2DDFE07}"/>
          </ac:spMkLst>
        </pc:spChg>
        <pc:spChg chg="mod">
          <ac:chgData name="Aaron Bean" userId="943e3fa2-9570-418e-984e-8925a3ac7ce3" providerId="ADAL" clId="{998A10C0-B340-D34E-B608-D7B5D451E98D}" dt="2021-04-13T13:49:35.873" v="403" actId="1582"/>
          <ac:spMkLst>
            <pc:docMk/>
            <pc:sldMk cId="2228155413" sldId="2134960484"/>
            <ac:spMk id="10" creationId="{75A14410-BD13-FC46-9CA6-BC98540E3367}"/>
          </ac:spMkLst>
        </pc:spChg>
        <pc:spChg chg="mod">
          <ac:chgData name="Aaron Bean" userId="943e3fa2-9570-418e-984e-8925a3ac7ce3" providerId="ADAL" clId="{998A10C0-B340-D34E-B608-D7B5D451E98D}" dt="2021-04-13T13:49:35.873" v="403" actId="1582"/>
          <ac:spMkLst>
            <pc:docMk/>
            <pc:sldMk cId="2228155413" sldId="2134960484"/>
            <ac:spMk id="11" creationId="{7A044A67-9EF4-B744-9D8D-6438D1DCCF33}"/>
          </ac:spMkLst>
        </pc:spChg>
        <pc:spChg chg="mod">
          <ac:chgData name="Aaron Bean" userId="943e3fa2-9570-418e-984e-8925a3ac7ce3" providerId="ADAL" clId="{998A10C0-B340-D34E-B608-D7B5D451E98D}" dt="2021-04-13T13:49:35.873" v="403" actId="1582"/>
          <ac:spMkLst>
            <pc:docMk/>
            <pc:sldMk cId="2228155413" sldId="2134960484"/>
            <ac:spMk id="12" creationId="{392C9C96-19C7-464F-8C66-C399087E90DB}"/>
          </ac:spMkLst>
        </pc:spChg>
        <pc:spChg chg="mod">
          <ac:chgData name="Aaron Bean" userId="943e3fa2-9570-418e-984e-8925a3ac7ce3" providerId="ADAL" clId="{998A10C0-B340-D34E-B608-D7B5D451E98D}" dt="2021-04-13T13:49:26.340" v="402" actId="1582"/>
          <ac:spMkLst>
            <pc:docMk/>
            <pc:sldMk cId="2228155413" sldId="2134960484"/>
            <ac:spMk id="21" creationId="{7616BC85-03A4-7240-A035-A3311402FF92}"/>
          </ac:spMkLst>
        </pc:spChg>
        <pc:spChg chg="mod">
          <ac:chgData name="Aaron Bean" userId="943e3fa2-9570-418e-984e-8925a3ac7ce3" providerId="ADAL" clId="{998A10C0-B340-D34E-B608-D7B5D451E98D}" dt="2021-04-13T13:49:26.340" v="402" actId="1582"/>
          <ac:spMkLst>
            <pc:docMk/>
            <pc:sldMk cId="2228155413" sldId="2134960484"/>
            <ac:spMk id="22" creationId="{3A9F96BE-57E9-9447-88D9-B5B4C13710CF}"/>
          </ac:spMkLst>
        </pc:spChg>
        <pc:spChg chg="mod">
          <ac:chgData name="Aaron Bean" userId="943e3fa2-9570-418e-984e-8925a3ac7ce3" providerId="ADAL" clId="{998A10C0-B340-D34E-B608-D7B5D451E98D}" dt="2021-04-13T13:49:35.873" v="403" actId="1582"/>
          <ac:spMkLst>
            <pc:docMk/>
            <pc:sldMk cId="2228155413" sldId="2134960484"/>
            <ac:spMk id="32" creationId="{57E09229-E96E-494A-8840-A7DC4BA8B134}"/>
          </ac:spMkLst>
        </pc:spChg>
        <pc:spChg chg="mod">
          <ac:chgData name="Aaron Bean" userId="943e3fa2-9570-418e-984e-8925a3ac7ce3" providerId="ADAL" clId="{998A10C0-B340-D34E-B608-D7B5D451E98D}" dt="2021-04-13T13:49:35.873" v="403" actId="1582"/>
          <ac:spMkLst>
            <pc:docMk/>
            <pc:sldMk cId="2228155413" sldId="2134960484"/>
            <ac:spMk id="33" creationId="{68CA19A2-0728-FD43-A238-7BDB9C027964}"/>
          </ac:spMkLst>
        </pc:spChg>
        <pc:spChg chg="mod">
          <ac:chgData name="Aaron Bean" userId="943e3fa2-9570-418e-984e-8925a3ac7ce3" providerId="ADAL" clId="{998A10C0-B340-D34E-B608-D7B5D451E98D}" dt="2021-04-13T13:49:26.340" v="402" actId="1582"/>
          <ac:spMkLst>
            <pc:docMk/>
            <pc:sldMk cId="2228155413" sldId="2134960484"/>
            <ac:spMk id="38" creationId="{249CC16F-FF1C-4D4F-94B3-79BE5FFDD61F}"/>
          </ac:spMkLst>
        </pc:spChg>
        <pc:spChg chg="mod">
          <ac:chgData name="Aaron Bean" userId="943e3fa2-9570-418e-984e-8925a3ac7ce3" providerId="ADAL" clId="{998A10C0-B340-D34E-B608-D7B5D451E98D}" dt="2021-04-13T13:49:26.340" v="402" actId="1582"/>
          <ac:spMkLst>
            <pc:docMk/>
            <pc:sldMk cId="2228155413" sldId="2134960484"/>
            <ac:spMk id="39" creationId="{D44C2E8E-A764-1149-BA72-D01BBC489D04}"/>
          </ac:spMkLst>
        </pc:spChg>
        <pc:spChg chg="mod">
          <ac:chgData name="Aaron Bean" userId="943e3fa2-9570-418e-984e-8925a3ac7ce3" providerId="ADAL" clId="{998A10C0-B340-D34E-B608-D7B5D451E98D}" dt="2021-04-13T13:49:26.340" v="402" actId="1582"/>
          <ac:spMkLst>
            <pc:docMk/>
            <pc:sldMk cId="2228155413" sldId="2134960484"/>
            <ac:spMk id="40" creationId="{479BD11E-7BC0-E148-BC75-2F735C1B27B4}"/>
          </ac:spMkLst>
        </pc:spChg>
        <pc:spChg chg="mod">
          <ac:chgData name="Aaron Bean" userId="943e3fa2-9570-418e-984e-8925a3ac7ce3" providerId="ADAL" clId="{998A10C0-B340-D34E-B608-D7B5D451E98D}" dt="2021-04-13T13:49:35.873" v="403" actId="1582"/>
          <ac:spMkLst>
            <pc:docMk/>
            <pc:sldMk cId="2228155413" sldId="2134960484"/>
            <ac:spMk id="43" creationId="{ED948800-03A2-5D40-B05D-25A8CFF63191}"/>
          </ac:spMkLst>
        </pc:spChg>
        <pc:spChg chg="mod">
          <ac:chgData name="Aaron Bean" userId="943e3fa2-9570-418e-984e-8925a3ac7ce3" providerId="ADAL" clId="{998A10C0-B340-D34E-B608-D7B5D451E98D}" dt="2021-04-13T13:49:35.873" v="403" actId="1582"/>
          <ac:spMkLst>
            <pc:docMk/>
            <pc:sldMk cId="2228155413" sldId="2134960484"/>
            <ac:spMk id="53" creationId="{0116AB11-AD5E-3E42-8527-04033919DFA5}"/>
          </ac:spMkLst>
        </pc:spChg>
        <pc:spChg chg="mod">
          <ac:chgData name="Aaron Bean" userId="943e3fa2-9570-418e-984e-8925a3ac7ce3" providerId="ADAL" clId="{998A10C0-B340-D34E-B608-D7B5D451E98D}" dt="2021-04-13T13:49:26.340" v="402" actId="1582"/>
          <ac:spMkLst>
            <pc:docMk/>
            <pc:sldMk cId="2228155413" sldId="2134960484"/>
            <ac:spMk id="54" creationId="{684F4BC7-1288-6845-83A7-A5CEC29549A2}"/>
          </ac:spMkLst>
        </pc:spChg>
        <pc:spChg chg="mod">
          <ac:chgData name="Aaron Bean" userId="943e3fa2-9570-418e-984e-8925a3ac7ce3" providerId="ADAL" clId="{998A10C0-B340-D34E-B608-D7B5D451E98D}" dt="2021-04-13T13:49:35.873" v="403" actId="1582"/>
          <ac:spMkLst>
            <pc:docMk/>
            <pc:sldMk cId="2228155413" sldId="2134960484"/>
            <ac:spMk id="67" creationId="{FE785D09-5E4D-A343-A73B-1AF682FDC2FA}"/>
          </ac:spMkLst>
        </pc:spChg>
        <pc:spChg chg="mod">
          <ac:chgData name="Aaron Bean" userId="943e3fa2-9570-418e-984e-8925a3ac7ce3" providerId="ADAL" clId="{998A10C0-B340-D34E-B608-D7B5D451E98D}" dt="2021-04-13T13:49:35.873" v="403" actId="1582"/>
          <ac:spMkLst>
            <pc:docMk/>
            <pc:sldMk cId="2228155413" sldId="2134960484"/>
            <ac:spMk id="72" creationId="{526C9DCD-3D8E-F64B-BAD1-EB56A83A8E43}"/>
          </ac:spMkLst>
        </pc:spChg>
        <pc:spChg chg="mod">
          <ac:chgData name="Aaron Bean" userId="943e3fa2-9570-418e-984e-8925a3ac7ce3" providerId="ADAL" clId="{998A10C0-B340-D34E-B608-D7B5D451E98D}" dt="2021-04-13T13:49:35.873" v="403" actId="1582"/>
          <ac:spMkLst>
            <pc:docMk/>
            <pc:sldMk cId="2228155413" sldId="2134960484"/>
            <ac:spMk id="73" creationId="{8BF67AEB-B1EE-234F-9E99-64D0AF0BEE8F}"/>
          </ac:spMkLst>
        </pc:spChg>
        <pc:spChg chg="mod">
          <ac:chgData name="Aaron Bean" userId="943e3fa2-9570-418e-984e-8925a3ac7ce3" providerId="ADAL" clId="{998A10C0-B340-D34E-B608-D7B5D451E98D}" dt="2021-04-13T13:49:35.873" v="403" actId="1582"/>
          <ac:spMkLst>
            <pc:docMk/>
            <pc:sldMk cId="2228155413" sldId="2134960484"/>
            <ac:spMk id="75" creationId="{242BDB82-B190-D642-B84D-8BF4F35A3EF4}"/>
          </ac:spMkLst>
        </pc:spChg>
      </pc:sldChg>
      <pc:sldChg chg="modSp mod">
        <pc:chgData name="Aaron Bean" userId="943e3fa2-9570-418e-984e-8925a3ac7ce3" providerId="ADAL" clId="{998A10C0-B340-D34E-B608-D7B5D451E98D}" dt="2021-04-13T13:48:27.619" v="356" actId="20577"/>
        <pc:sldMkLst>
          <pc:docMk/>
          <pc:sldMk cId="4134446585" sldId="2134960485"/>
        </pc:sldMkLst>
        <pc:spChg chg="mod">
          <ac:chgData name="Aaron Bean" userId="943e3fa2-9570-418e-984e-8925a3ac7ce3" providerId="ADAL" clId="{998A10C0-B340-D34E-B608-D7B5D451E98D}" dt="2021-04-13T13:48:27.619" v="356" actId="20577"/>
          <ac:spMkLst>
            <pc:docMk/>
            <pc:sldMk cId="4134446585" sldId="2134960485"/>
            <ac:spMk id="36" creationId="{4DB7062C-DA7D-CD46-9181-A8FE4E8C53A9}"/>
          </ac:spMkLst>
        </pc:spChg>
        <pc:spChg chg="mod">
          <ac:chgData name="Aaron Bean" userId="943e3fa2-9570-418e-984e-8925a3ac7ce3" providerId="ADAL" clId="{998A10C0-B340-D34E-B608-D7B5D451E98D}" dt="2021-04-13T13:47:17.789" v="347" actId="108"/>
          <ac:spMkLst>
            <pc:docMk/>
            <pc:sldMk cId="4134446585" sldId="2134960485"/>
            <ac:spMk id="45" creationId="{5F77FDCE-81E5-3445-8AB6-06322E3A2FB6}"/>
          </ac:spMkLst>
        </pc:spChg>
      </pc:sldChg>
      <pc:sldChg chg="addSp modSp mod">
        <pc:chgData name="Aaron Bean" userId="943e3fa2-9570-418e-984e-8925a3ac7ce3" providerId="ADAL" clId="{998A10C0-B340-D34E-B608-D7B5D451E98D}" dt="2021-04-13T13:57:29.610" v="969" actId="20577"/>
        <pc:sldMkLst>
          <pc:docMk/>
          <pc:sldMk cId="552792899" sldId="2134960486"/>
        </pc:sldMkLst>
        <pc:spChg chg="add mod">
          <ac:chgData name="Aaron Bean" userId="943e3fa2-9570-418e-984e-8925a3ac7ce3" providerId="ADAL" clId="{998A10C0-B340-D34E-B608-D7B5D451E98D}" dt="2021-04-13T13:56:30.752" v="925" actId="1076"/>
          <ac:spMkLst>
            <pc:docMk/>
            <pc:sldMk cId="552792899" sldId="2134960486"/>
            <ac:spMk id="5" creationId="{A6828BC9-92BD-434B-B56B-CDEEEC756B72}"/>
          </ac:spMkLst>
        </pc:spChg>
        <pc:spChg chg="mod">
          <ac:chgData name="Aaron Bean" userId="943e3fa2-9570-418e-984e-8925a3ac7ce3" providerId="ADAL" clId="{998A10C0-B340-D34E-B608-D7B5D451E98D}" dt="2021-04-13T13:48:17.698" v="354" actId="1076"/>
          <ac:spMkLst>
            <pc:docMk/>
            <pc:sldMk cId="552792899" sldId="2134960486"/>
            <ac:spMk id="22" creationId="{1A7CAAF2-4421-E34A-B421-FD6309A4BE53}"/>
          </ac:spMkLst>
        </pc:spChg>
        <pc:spChg chg="mod">
          <ac:chgData name="Aaron Bean" userId="943e3fa2-9570-418e-984e-8925a3ac7ce3" providerId="ADAL" clId="{998A10C0-B340-D34E-B608-D7B5D451E98D}" dt="2021-04-13T13:48:17.698" v="354" actId="1076"/>
          <ac:spMkLst>
            <pc:docMk/>
            <pc:sldMk cId="552792899" sldId="2134960486"/>
            <ac:spMk id="30" creationId="{2E28E277-E125-5447-AA65-FE5CB486BCDE}"/>
          </ac:spMkLst>
        </pc:spChg>
        <pc:spChg chg="mod">
          <ac:chgData name="Aaron Bean" userId="943e3fa2-9570-418e-984e-8925a3ac7ce3" providerId="ADAL" clId="{998A10C0-B340-D34E-B608-D7B5D451E98D}" dt="2021-04-13T13:48:17.698" v="354" actId="1076"/>
          <ac:spMkLst>
            <pc:docMk/>
            <pc:sldMk cId="552792899" sldId="2134960486"/>
            <ac:spMk id="31" creationId="{DD04ACF7-22C5-FC4C-9437-F800635DC519}"/>
          </ac:spMkLst>
        </pc:spChg>
        <pc:spChg chg="mod">
          <ac:chgData name="Aaron Bean" userId="943e3fa2-9570-418e-984e-8925a3ac7ce3" providerId="ADAL" clId="{998A10C0-B340-D34E-B608-D7B5D451E98D}" dt="2021-04-13T13:48:17.698" v="354" actId="1076"/>
          <ac:spMkLst>
            <pc:docMk/>
            <pc:sldMk cId="552792899" sldId="2134960486"/>
            <ac:spMk id="32" creationId="{A4B13AC5-D28A-5C49-A1D7-1FF9816C4804}"/>
          </ac:spMkLst>
        </pc:spChg>
        <pc:spChg chg="mod">
          <ac:chgData name="Aaron Bean" userId="943e3fa2-9570-418e-984e-8925a3ac7ce3" providerId="ADAL" clId="{998A10C0-B340-D34E-B608-D7B5D451E98D}" dt="2021-04-13T13:48:17.698" v="354" actId="1076"/>
          <ac:spMkLst>
            <pc:docMk/>
            <pc:sldMk cId="552792899" sldId="2134960486"/>
            <ac:spMk id="33" creationId="{0465C081-030C-9E4E-8E86-635F0CEF1114}"/>
          </ac:spMkLst>
        </pc:spChg>
        <pc:spChg chg="mod">
          <ac:chgData name="Aaron Bean" userId="943e3fa2-9570-418e-984e-8925a3ac7ce3" providerId="ADAL" clId="{998A10C0-B340-D34E-B608-D7B5D451E98D}" dt="2021-04-13T13:48:17.698" v="354" actId="1076"/>
          <ac:spMkLst>
            <pc:docMk/>
            <pc:sldMk cId="552792899" sldId="2134960486"/>
            <ac:spMk id="36" creationId="{934AF075-5541-0643-8188-FE32CFC00640}"/>
          </ac:spMkLst>
        </pc:spChg>
        <pc:spChg chg="add mod">
          <ac:chgData name="Aaron Bean" userId="943e3fa2-9570-418e-984e-8925a3ac7ce3" providerId="ADAL" clId="{998A10C0-B340-D34E-B608-D7B5D451E98D}" dt="2021-04-13T13:56:45.442" v="933" actId="20577"/>
          <ac:spMkLst>
            <pc:docMk/>
            <pc:sldMk cId="552792899" sldId="2134960486"/>
            <ac:spMk id="37" creationId="{F37D7E32-28D1-284E-A6BE-86CD72E0CEBC}"/>
          </ac:spMkLst>
        </pc:spChg>
        <pc:spChg chg="mod">
          <ac:chgData name="Aaron Bean" userId="943e3fa2-9570-418e-984e-8925a3ac7ce3" providerId="ADAL" clId="{998A10C0-B340-D34E-B608-D7B5D451E98D}" dt="2021-04-13T13:48:17.698" v="354" actId="1076"/>
          <ac:spMkLst>
            <pc:docMk/>
            <pc:sldMk cId="552792899" sldId="2134960486"/>
            <ac:spMk id="38" creationId="{65740819-7BB3-0644-B785-6F735978B7AC}"/>
          </ac:spMkLst>
        </pc:spChg>
        <pc:spChg chg="add mod">
          <ac:chgData name="Aaron Bean" userId="943e3fa2-9570-418e-984e-8925a3ac7ce3" providerId="ADAL" clId="{998A10C0-B340-D34E-B608-D7B5D451E98D}" dt="2021-04-13T13:56:47.536" v="935" actId="20577"/>
          <ac:spMkLst>
            <pc:docMk/>
            <pc:sldMk cId="552792899" sldId="2134960486"/>
            <ac:spMk id="40" creationId="{B7407651-35D9-0A4F-9762-3F8AA354D465}"/>
          </ac:spMkLst>
        </pc:spChg>
        <pc:spChg chg="add mod">
          <ac:chgData name="Aaron Bean" userId="943e3fa2-9570-418e-984e-8925a3ac7ce3" providerId="ADAL" clId="{998A10C0-B340-D34E-B608-D7B5D451E98D}" dt="2021-04-13T13:56:49.270" v="937" actId="20577"/>
          <ac:spMkLst>
            <pc:docMk/>
            <pc:sldMk cId="552792899" sldId="2134960486"/>
            <ac:spMk id="41" creationId="{514D3578-8FFD-C144-B34E-A088DE24062A}"/>
          </ac:spMkLst>
        </pc:spChg>
        <pc:spChg chg="mod">
          <ac:chgData name="Aaron Bean" userId="943e3fa2-9570-418e-984e-8925a3ac7ce3" providerId="ADAL" clId="{998A10C0-B340-D34E-B608-D7B5D451E98D}" dt="2021-04-13T13:48:23.727" v="355" actId="20577"/>
          <ac:spMkLst>
            <pc:docMk/>
            <pc:sldMk cId="552792899" sldId="2134960486"/>
            <ac:spMk id="42" creationId="{10110E09-2909-9445-B4D8-C56A84F4EB6D}"/>
          </ac:spMkLst>
        </pc:spChg>
        <pc:spChg chg="add mod">
          <ac:chgData name="Aaron Bean" userId="943e3fa2-9570-418e-984e-8925a3ac7ce3" providerId="ADAL" clId="{998A10C0-B340-D34E-B608-D7B5D451E98D}" dt="2021-04-13T13:57:11.530" v="949" actId="20577"/>
          <ac:spMkLst>
            <pc:docMk/>
            <pc:sldMk cId="552792899" sldId="2134960486"/>
            <ac:spMk id="44" creationId="{CF31A525-28AB-634A-B4E6-276BA76A2A1A}"/>
          </ac:spMkLst>
        </pc:spChg>
        <pc:spChg chg="mod">
          <ac:chgData name="Aaron Bean" userId="943e3fa2-9570-418e-984e-8925a3ac7ce3" providerId="ADAL" clId="{998A10C0-B340-D34E-B608-D7B5D451E98D}" dt="2021-04-13T13:47:20.859" v="348" actId="108"/>
          <ac:spMkLst>
            <pc:docMk/>
            <pc:sldMk cId="552792899" sldId="2134960486"/>
            <ac:spMk id="45" creationId="{5F77FDCE-81E5-3445-8AB6-06322E3A2FB6}"/>
          </ac:spMkLst>
        </pc:spChg>
        <pc:spChg chg="add mod">
          <ac:chgData name="Aaron Bean" userId="943e3fa2-9570-418e-984e-8925a3ac7ce3" providerId="ADAL" clId="{998A10C0-B340-D34E-B608-D7B5D451E98D}" dt="2021-04-13T13:57:13.207" v="951" actId="20577"/>
          <ac:spMkLst>
            <pc:docMk/>
            <pc:sldMk cId="552792899" sldId="2134960486"/>
            <ac:spMk id="46" creationId="{ED487776-AB29-CE40-BBAF-FFF8FF0AF1C8}"/>
          </ac:spMkLst>
        </pc:spChg>
        <pc:spChg chg="add mod">
          <ac:chgData name="Aaron Bean" userId="943e3fa2-9570-418e-984e-8925a3ac7ce3" providerId="ADAL" clId="{998A10C0-B340-D34E-B608-D7B5D451E98D}" dt="2021-04-13T13:57:15.498" v="955" actId="20577"/>
          <ac:spMkLst>
            <pc:docMk/>
            <pc:sldMk cId="552792899" sldId="2134960486"/>
            <ac:spMk id="47" creationId="{C280BC23-BDFA-D04B-BD36-EB9D2C884CCF}"/>
          </ac:spMkLst>
        </pc:spChg>
        <pc:spChg chg="mod">
          <ac:chgData name="Aaron Bean" userId="943e3fa2-9570-418e-984e-8925a3ac7ce3" providerId="ADAL" clId="{998A10C0-B340-D34E-B608-D7B5D451E98D}" dt="2021-04-13T13:48:17.698" v="354" actId="1076"/>
          <ac:spMkLst>
            <pc:docMk/>
            <pc:sldMk cId="552792899" sldId="2134960486"/>
            <ac:spMk id="48" creationId="{F4F36D8D-B461-EA41-881F-026A1BFB06A2}"/>
          </ac:spMkLst>
        </pc:spChg>
        <pc:spChg chg="add mod">
          <ac:chgData name="Aaron Bean" userId="943e3fa2-9570-418e-984e-8925a3ac7ce3" providerId="ADAL" clId="{998A10C0-B340-D34E-B608-D7B5D451E98D}" dt="2021-04-13T13:57:03.763" v="945" actId="20577"/>
          <ac:spMkLst>
            <pc:docMk/>
            <pc:sldMk cId="552792899" sldId="2134960486"/>
            <ac:spMk id="49" creationId="{DD9695BC-C46A-5746-85EB-2668E6982A07}"/>
          </ac:spMkLst>
        </pc:spChg>
        <pc:spChg chg="add mod">
          <ac:chgData name="Aaron Bean" userId="943e3fa2-9570-418e-984e-8925a3ac7ce3" providerId="ADAL" clId="{998A10C0-B340-D34E-B608-D7B5D451E98D}" dt="2021-04-13T13:57:25.203" v="962" actId="20577"/>
          <ac:spMkLst>
            <pc:docMk/>
            <pc:sldMk cId="552792899" sldId="2134960486"/>
            <ac:spMk id="50" creationId="{9F39DDE3-F20E-CA4F-85EB-B4E8545C1A0A}"/>
          </ac:spMkLst>
        </pc:spChg>
        <pc:spChg chg="add mod">
          <ac:chgData name="Aaron Bean" userId="943e3fa2-9570-418e-984e-8925a3ac7ce3" providerId="ADAL" clId="{998A10C0-B340-D34E-B608-D7B5D451E98D}" dt="2021-04-13T13:57:27.594" v="966" actId="20577"/>
          <ac:spMkLst>
            <pc:docMk/>
            <pc:sldMk cId="552792899" sldId="2134960486"/>
            <ac:spMk id="51" creationId="{66D1E714-1E9B-5C4D-B453-5CB30AF80F34}"/>
          </ac:spMkLst>
        </pc:spChg>
        <pc:spChg chg="add mod">
          <ac:chgData name="Aaron Bean" userId="943e3fa2-9570-418e-984e-8925a3ac7ce3" providerId="ADAL" clId="{998A10C0-B340-D34E-B608-D7B5D451E98D}" dt="2021-04-13T13:57:29.610" v="969" actId="20577"/>
          <ac:spMkLst>
            <pc:docMk/>
            <pc:sldMk cId="552792899" sldId="2134960486"/>
            <ac:spMk id="52" creationId="{04948384-406B-7F4E-B8B4-817023DE346E}"/>
          </ac:spMkLst>
        </pc:spChg>
        <pc:spChg chg="mod">
          <ac:chgData name="Aaron Bean" userId="943e3fa2-9570-418e-984e-8925a3ac7ce3" providerId="ADAL" clId="{998A10C0-B340-D34E-B608-D7B5D451E98D}" dt="2021-04-13T13:48:17.698" v="354" actId="1076"/>
          <ac:spMkLst>
            <pc:docMk/>
            <pc:sldMk cId="552792899" sldId="2134960486"/>
            <ac:spMk id="70" creationId="{6B60FC1B-D555-2840-9870-52EFD8322387}"/>
          </ac:spMkLst>
        </pc:spChg>
        <pc:spChg chg="mod">
          <ac:chgData name="Aaron Bean" userId="943e3fa2-9570-418e-984e-8925a3ac7ce3" providerId="ADAL" clId="{998A10C0-B340-D34E-B608-D7B5D451E98D}" dt="2021-04-13T13:48:17.698" v="354" actId="1076"/>
          <ac:spMkLst>
            <pc:docMk/>
            <pc:sldMk cId="552792899" sldId="2134960486"/>
            <ac:spMk id="71" creationId="{EAA9EE2D-20FE-1540-9B15-09516D75F904}"/>
          </ac:spMkLst>
        </pc:spChg>
        <pc:grpChg chg="mod">
          <ac:chgData name="Aaron Bean" userId="943e3fa2-9570-418e-984e-8925a3ac7ce3" providerId="ADAL" clId="{998A10C0-B340-D34E-B608-D7B5D451E98D}" dt="2021-04-13T13:48:17.698" v="354" actId="1076"/>
          <ac:grpSpMkLst>
            <pc:docMk/>
            <pc:sldMk cId="552792899" sldId="2134960486"/>
            <ac:grpSpMk id="2" creationId="{7A13E73D-0589-3340-89A1-A334B50EDD7E}"/>
          </ac:grpSpMkLst>
        </pc:grpChg>
        <pc:grpChg chg="mod">
          <ac:chgData name="Aaron Bean" userId="943e3fa2-9570-418e-984e-8925a3ac7ce3" providerId="ADAL" clId="{998A10C0-B340-D34E-B608-D7B5D451E98D}" dt="2021-04-13T13:48:17.698" v="354" actId="1076"/>
          <ac:grpSpMkLst>
            <pc:docMk/>
            <pc:sldMk cId="552792899" sldId="2134960486"/>
            <ac:grpSpMk id="3" creationId="{D15989EB-23CF-D843-968A-AD4A11BF4889}"/>
          </ac:grpSpMkLst>
        </pc:grpChg>
        <pc:grpChg chg="mod">
          <ac:chgData name="Aaron Bean" userId="943e3fa2-9570-418e-984e-8925a3ac7ce3" providerId="ADAL" clId="{998A10C0-B340-D34E-B608-D7B5D451E98D}" dt="2021-04-13T13:48:17.698" v="354" actId="1076"/>
          <ac:grpSpMkLst>
            <pc:docMk/>
            <pc:sldMk cId="552792899" sldId="2134960486"/>
            <ac:grpSpMk id="4" creationId="{C4B7A13C-094D-C340-9DE3-89AB941BEE01}"/>
          </ac:grpSpMkLst>
        </pc:grpChg>
        <pc:picChg chg="mod">
          <ac:chgData name="Aaron Bean" userId="943e3fa2-9570-418e-984e-8925a3ac7ce3" providerId="ADAL" clId="{998A10C0-B340-D34E-B608-D7B5D451E98D}" dt="2021-04-13T13:48:17.698" v="354" actId="1076"/>
          <ac:picMkLst>
            <pc:docMk/>
            <pc:sldMk cId="552792899" sldId="2134960486"/>
            <ac:picMk id="23" creationId="{AB591FE1-1CFE-CC43-BB72-A610CDA5A6F1}"/>
          </ac:picMkLst>
        </pc:picChg>
        <pc:picChg chg="mod">
          <ac:chgData name="Aaron Bean" userId="943e3fa2-9570-418e-984e-8925a3ac7ce3" providerId="ADAL" clId="{998A10C0-B340-D34E-B608-D7B5D451E98D}" dt="2021-04-13T13:48:17.698" v="354" actId="1076"/>
          <ac:picMkLst>
            <pc:docMk/>
            <pc:sldMk cId="552792899" sldId="2134960486"/>
            <ac:picMk id="72" creationId="{32D2BC8B-C9A7-A740-9044-4F6930D0D7D7}"/>
          </ac:picMkLst>
        </pc:picChg>
      </pc:sldChg>
      <pc:sldChg chg="addSp delSp modSp add mod">
        <pc:chgData name="Aaron Bean" userId="943e3fa2-9570-418e-984e-8925a3ac7ce3" providerId="ADAL" clId="{998A10C0-B340-D34E-B608-D7B5D451E98D}" dt="2021-04-13T17:21:32.168" v="1017" actId="1036"/>
        <pc:sldMkLst>
          <pc:docMk/>
          <pc:sldMk cId="1932441389" sldId="2134960488"/>
        </pc:sldMkLst>
        <pc:spChg chg="mod">
          <ac:chgData name="Aaron Bean" userId="943e3fa2-9570-418e-984e-8925a3ac7ce3" providerId="ADAL" clId="{998A10C0-B340-D34E-B608-D7B5D451E98D}" dt="2021-04-13T17:21:32.168" v="1017" actId="1036"/>
          <ac:spMkLst>
            <pc:docMk/>
            <pc:sldMk cId="1932441389" sldId="2134960488"/>
            <ac:spMk id="83" creationId="{FB1D51AA-410D-6047-9A92-72626FD1A61D}"/>
          </ac:spMkLst>
        </pc:spChg>
        <pc:spChg chg="mod">
          <ac:chgData name="Aaron Bean" userId="943e3fa2-9570-418e-984e-8925a3ac7ce3" providerId="ADAL" clId="{998A10C0-B340-D34E-B608-D7B5D451E98D}" dt="2021-04-13T14:01:11.984" v="1010" actId="1035"/>
          <ac:spMkLst>
            <pc:docMk/>
            <pc:sldMk cId="1932441389" sldId="2134960488"/>
            <ac:spMk id="111" creationId="{3860418E-86E5-9542-93E0-86BDDB3C9FF5}"/>
          </ac:spMkLst>
        </pc:spChg>
        <pc:spChg chg="mod">
          <ac:chgData name="Aaron Bean" userId="943e3fa2-9570-418e-984e-8925a3ac7ce3" providerId="ADAL" clId="{998A10C0-B340-D34E-B608-D7B5D451E98D}" dt="2021-04-13T13:47:02.571" v="342" actId="1076"/>
          <ac:spMkLst>
            <pc:docMk/>
            <pc:sldMk cId="1932441389" sldId="2134960488"/>
            <ac:spMk id="206" creationId="{3386AB50-41CC-CD4A-AFBC-36CD5521A0FC}"/>
          </ac:spMkLst>
        </pc:spChg>
        <pc:spChg chg="mod">
          <ac:chgData name="Aaron Bean" userId="943e3fa2-9570-418e-984e-8925a3ac7ce3" providerId="ADAL" clId="{998A10C0-B340-D34E-B608-D7B5D451E98D}" dt="2021-04-13T13:47:02.571" v="342" actId="1076"/>
          <ac:spMkLst>
            <pc:docMk/>
            <pc:sldMk cId="1932441389" sldId="2134960488"/>
            <ac:spMk id="212" creationId="{0DF14361-BCDD-F44C-A649-A861D71D6485}"/>
          </ac:spMkLst>
        </pc:spChg>
        <pc:spChg chg="mod">
          <ac:chgData name="Aaron Bean" userId="943e3fa2-9570-418e-984e-8925a3ac7ce3" providerId="ADAL" clId="{998A10C0-B340-D34E-B608-D7B5D451E98D}" dt="2021-04-13T13:47:02.571" v="342" actId="1076"/>
          <ac:spMkLst>
            <pc:docMk/>
            <pc:sldMk cId="1932441389" sldId="2134960488"/>
            <ac:spMk id="213" creationId="{D32DB6D4-F819-F745-B5B3-CBBFFEFBA525}"/>
          </ac:spMkLst>
        </pc:spChg>
        <pc:spChg chg="mod">
          <ac:chgData name="Aaron Bean" userId="943e3fa2-9570-418e-984e-8925a3ac7ce3" providerId="ADAL" clId="{998A10C0-B340-D34E-B608-D7B5D451E98D}" dt="2021-04-13T13:47:02.571" v="342" actId="1076"/>
          <ac:spMkLst>
            <pc:docMk/>
            <pc:sldMk cId="1932441389" sldId="2134960488"/>
            <ac:spMk id="215" creationId="{2F32F0AB-E4E8-404B-8412-F132E556678F}"/>
          </ac:spMkLst>
        </pc:spChg>
        <pc:spChg chg="mod">
          <ac:chgData name="Aaron Bean" userId="943e3fa2-9570-418e-984e-8925a3ac7ce3" providerId="ADAL" clId="{998A10C0-B340-D34E-B608-D7B5D451E98D}" dt="2021-04-13T13:47:02.571" v="342" actId="1076"/>
          <ac:spMkLst>
            <pc:docMk/>
            <pc:sldMk cId="1932441389" sldId="2134960488"/>
            <ac:spMk id="216" creationId="{33633157-9AF6-364C-9B60-42BD1A35ED2F}"/>
          </ac:spMkLst>
        </pc:spChg>
        <pc:spChg chg="mod">
          <ac:chgData name="Aaron Bean" userId="943e3fa2-9570-418e-984e-8925a3ac7ce3" providerId="ADAL" clId="{998A10C0-B340-D34E-B608-D7B5D451E98D}" dt="2021-04-13T13:47:02.571" v="342" actId="1076"/>
          <ac:spMkLst>
            <pc:docMk/>
            <pc:sldMk cId="1932441389" sldId="2134960488"/>
            <ac:spMk id="217" creationId="{B79C287D-1CB4-5F40-9210-59A381BDB2EB}"/>
          </ac:spMkLst>
        </pc:spChg>
        <pc:spChg chg="mod">
          <ac:chgData name="Aaron Bean" userId="943e3fa2-9570-418e-984e-8925a3ac7ce3" providerId="ADAL" clId="{998A10C0-B340-D34E-B608-D7B5D451E98D}" dt="2021-04-13T13:47:02.571" v="342" actId="1076"/>
          <ac:spMkLst>
            <pc:docMk/>
            <pc:sldMk cId="1932441389" sldId="2134960488"/>
            <ac:spMk id="220" creationId="{98BDEA31-E682-C04C-A1BC-EF9D85F9860C}"/>
          </ac:spMkLst>
        </pc:spChg>
        <pc:cxnChg chg="add del mod">
          <ac:chgData name="Aaron Bean" userId="943e3fa2-9570-418e-984e-8925a3ac7ce3" providerId="ADAL" clId="{998A10C0-B340-D34E-B608-D7B5D451E98D}" dt="2021-04-13T14:01:34.705" v="1014" actId="478"/>
          <ac:cxnSpMkLst>
            <pc:docMk/>
            <pc:sldMk cId="1932441389" sldId="2134960488"/>
            <ac:cxnSpMk id="119" creationId="{3EA0B3B7-DEA2-6A4D-BC10-E8B505CD201F}"/>
          </ac:cxnSpMkLst>
        </pc:cxnChg>
      </pc:sldChg>
      <pc:sldChg chg="add">
        <pc:chgData name="Aaron Bean" userId="943e3fa2-9570-418e-984e-8925a3ac7ce3" providerId="ADAL" clId="{998A10C0-B340-D34E-B608-D7B5D451E98D}" dt="2021-04-13T13:38:03.698" v="0"/>
        <pc:sldMkLst>
          <pc:docMk/>
          <pc:sldMk cId="1850553107" sldId="2134960490"/>
        </pc:sldMkLst>
      </pc:sldChg>
      <pc:sldChg chg="modSp mod">
        <pc:chgData name="Aaron Bean" userId="943e3fa2-9570-418e-984e-8925a3ac7ce3" providerId="ADAL" clId="{998A10C0-B340-D34E-B608-D7B5D451E98D}" dt="2021-04-13T13:47:11.615" v="346" actId="403"/>
        <pc:sldMkLst>
          <pc:docMk/>
          <pc:sldMk cId="4033773217" sldId="2134960495"/>
        </pc:sldMkLst>
        <pc:spChg chg="mod">
          <ac:chgData name="Aaron Bean" userId="943e3fa2-9570-418e-984e-8925a3ac7ce3" providerId="ADAL" clId="{998A10C0-B340-D34E-B608-D7B5D451E98D}" dt="2021-04-13T13:47:11.615" v="346" actId="403"/>
          <ac:spMkLst>
            <pc:docMk/>
            <pc:sldMk cId="4033773217" sldId="2134960495"/>
            <ac:spMk id="3" creationId="{3B9492DE-F064-3349-A498-D70562A126BD}"/>
          </ac:spMkLst>
        </pc:spChg>
      </pc:sldChg>
      <pc:sldChg chg="addSp delSp modSp mod">
        <pc:chgData name="Aaron Bean" userId="943e3fa2-9570-418e-984e-8925a3ac7ce3" providerId="ADAL" clId="{998A10C0-B340-D34E-B608-D7B5D451E98D}" dt="2021-04-13T13:45:35.694" v="284" actId="1076"/>
        <pc:sldMkLst>
          <pc:docMk/>
          <pc:sldMk cId="3641650267" sldId="2134960498"/>
        </pc:sldMkLst>
        <pc:spChg chg="mod">
          <ac:chgData name="Aaron Bean" userId="943e3fa2-9570-418e-984e-8925a3ac7ce3" providerId="ADAL" clId="{998A10C0-B340-D34E-B608-D7B5D451E98D}" dt="2021-04-13T13:42:31.081" v="266" actId="20577"/>
          <ac:spMkLst>
            <pc:docMk/>
            <pc:sldMk cId="3641650267" sldId="2134960498"/>
            <ac:spMk id="3" creationId="{27745BC4-48FB-E346-A080-59BF8E54D1A9}"/>
          </ac:spMkLst>
        </pc:spChg>
        <pc:spChg chg="mod">
          <ac:chgData name="Aaron Bean" userId="943e3fa2-9570-418e-984e-8925a3ac7ce3" providerId="ADAL" clId="{998A10C0-B340-D34E-B608-D7B5D451E98D}" dt="2021-04-13T13:45:35.694" v="284" actId="1076"/>
          <ac:spMkLst>
            <pc:docMk/>
            <pc:sldMk cId="3641650267" sldId="2134960498"/>
            <ac:spMk id="4" creationId="{62255291-A0E6-B04E-B401-A1F914908662}"/>
          </ac:spMkLst>
        </pc:spChg>
        <pc:spChg chg="add mod">
          <ac:chgData name="Aaron Bean" userId="943e3fa2-9570-418e-984e-8925a3ac7ce3" providerId="ADAL" clId="{998A10C0-B340-D34E-B608-D7B5D451E98D}" dt="2021-04-13T13:41:57.544" v="251" actId="1076"/>
          <ac:spMkLst>
            <pc:docMk/>
            <pc:sldMk cId="3641650267" sldId="2134960498"/>
            <ac:spMk id="8" creationId="{2DE84C0A-5584-C94E-A277-91A10CECB0A1}"/>
          </ac:spMkLst>
        </pc:spChg>
        <pc:spChg chg="add del mod">
          <ac:chgData name="Aaron Bean" userId="943e3fa2-9570-418e-984e-8925a3ac7ce3" providerId="ADAL" clId="{998A10C0-B340-D34E-B608-D7B5D451E98D}" dt="2021-04-13T13:42:57.034" v="274" actId="478"/>
          <ac:spMkLst>
            <pc:docMk/>
            <pc:sldMk cId="3641650267" sldId="2134960498"/>
            <ac:spMk id="9" creationId="{35A2C7AA-BC65-CA49-8C8C-F42CFA2318F8}"/>
          </ac:spMkLst>
        </pc:spChg>
        <pc:grpChg chg="del">
          <ac:chgData name="Aaron Bean" userId="943e3fa2-9570-418e-984e-8925a3ac7ce3" providerId="ADAL" clId="{998A10C0-B340-D34E-B608-D7B5D451E98D}" dt="2021-04-13T13:41:38.215" v="241" actId="478"/>
          <ac:grpSpMkLst>
            <pc:docMk/>
            <pc:sldMk cId="3641650267" sldId="2134960498"/>
            <ac:grpSpMk id="14" creationId="{71103DB2-F98B-BF45-B9D6-6DCE01B66147}"/>
          </ac:grpSpMkLst>
        </pc:grpChg>
        <pc:picChg chg="add del mod">
          <ac:chgData name="Aaron Bean" userId="943e3fa2-9570-418e-984e-8925a3ac7ce3" providerId="ADAL" clId="{998A10C0-B340-D34E-B608-D7B5D451E98D}" dt="2021-04-13T13:41:28.833" v="238" actId="478"/>
          <ac:picMkLst>
            <pc:docMk/>
            <pc:sldMk cId="3641650267" sldId="2134960498"/>
            <ac:picMk id="5" creationId="{4566A569-924F-E249-B863-AD33DB78D38C}"/>
          </ac:picMkLst>
        </pc:picChg>
        <pc:picChg chg="add mod">
          <ac:chgData name="Aaron Bean" userId="943e3fa2-9570-418e-984e-8925a3ac7ce3" providerId="ADAL" clId="{998A10C0-B340-D34E-B608-D7B5D451E98D}" dt="2021-04-13T13:42:16.840" v="260" actId="1076"/>
          <ac:picMkLst>
            <pc:docMk/>
            <pc:sldMk cId="3641650267" sldId="2134960498"/>
            <ac:picMk id="7" creationId="{C7432D0A-F8F0-8D40-B3AD-069B7CBEC522}"/>
          </ac:picMkLst>
        </pc:picChg>
      </pc:sldChg>
      <pc:sldChg chg="modSp mod">
        <pc:chgData name="Aaron Bean" userId="943e3fa2-9570-418e-984e-8925a3ac7ce3" providerId="ADAL" clId="{998A10C0-B340-D34E-B608-D7B5D451E98D}" dt="2021-04-13T13:53:43.555" v="889" actId="14100"/>
        <pc:sldMkLst>
          <pc:docMk/>
          <pc:sldMk cId="2681206609" sldId="2134960499"/>
        </pc:sldMkLst>
        <pc:spChg chg="mod">
          <ac:chgData name="Aaron Bean" userId="943e3fa2-9570-418e-984e-8925a3ac7ce3" providerId="ADAL" clId="{998A10C0-B340-D34E-B608-D7B5D451E98D}" dt="2021-04-13T13:53:39.764" v="888" actId="20577"/>
          <ac:spMkLst>
            <pc:docMk/>
            <pc:sldMk cId="2681206609" sldId="2134960499"/>
            <ac:spMk id="2" creationId="{DA768352-33A1-4349-88D5-30EF2DE9D911}"/>
          </ac:spMkLst>
        </pc:spChg>
        <pc:spChg chg="mod">
          <ac:chgData name="Aaron Bean" userId="943e3fa2-9570-418e-984e-8925a3ac7ce3" providerId="ADAL" clId="{998A10C0-B340-D34E-B608-D7B5D451E98D}" dt="2021-04-13T13:53:43.555" v="889" actId="14100"/>
          <ac:spMkLst>
            <pc:docMk/>
            <pc:sldMk cId="2681206609" sldId="2134960499"/>
            <ac:spMk id="6" creationId="{2E84CDFB-0027-4E1A-874B-899115247505}"/>
          </ac:spMkLst>
        </pc:spChg>
        <pc:spChg chg="mod">
          <ac:chgData name="Aaron Bean" userId="943e3fa2-9570-418e-984e-8925a3ac7ce3" providerId="ADAL" clId="{998A10C0-B340-D34E-B608-D7B5D451E98D}" dt="2021-04-13T13:52:47.597" v="777" actId="1076"/>
          <ac:spMkLst>
            <pc:docMk/>
            <pc:sldMk cId="2681206609" sldId="2134960499"/>
            <ac:spMk id="11" creationId="{FB45E3C3-FB09-2340-BA15-995E40537912}"/>
          </ac:spMkLst>
        </pc:spChg>
      </pc:sldChg>
      <pc:sldChg chg="modSp mod">
        <pc:chgData name="Aaron Bean" userId="943e3fa2-9570-418e-984e-8925a3ac7ce3" providerId="ADAL" clId="{998A10C0-B340-D34E-B608-D7B5D451E98D}" dt="2021-04-13T13:51:44.645" v="619" actId="14100"/>
        <pc:sldMkLst>
          <pc:docMk/>
          <pc:sldMk cId="2342650854" sldId="2134960500"/>
        </pc:sldMkLst>
        <pc:spChg chg="mod">
          <ac:chgData name="Aaron Bean" userId="943e3fa2-9570-418e-984e-8925a3ac7ce3" providerId="ADAL" clId="{998A10C0-B340-D34E-B608-D7B5D451E98D}" dt="2021-04-13T13:51:44.645" v="619" actId="14100"/>
          <ac:spMkLst>
            <pc:docMk/>
            <pc:sldMk cId="2342650854" sldId="2134960500"/>
            <ac:spMk id="3" creationId="{EBDEF287-D1DF-6243-8863-DC62C57D7700}"/>
          </ac:spMkLst>
        </pc:spChg>
      </pc:sldChg>
      <pc:sldChg chg="add">
        <pc:chgData name="Aaron Bean" userId="943e3fa2-9570-418e-984e-8925a3ac7ce3" providerId="ADAL" clId="{998A10C0-B340-D34E-B608-D7B5D451E98D}" dt="2021-04-13T13:38:03.698" v="0"/>
        <pc:sldMkLst>
          <pc:docMk/>
          <pc:sldMk cId="3561234065" sldId="2141411917"/>
        </pc:sldMkLst>
      </pc:sldChg>
      <pc:sldChg chg="add">
        <pc:chgData name="Aaron Bean" userId="943e3fa2-9570-418e-984e-8925a3ac7ce3" providerId="ADAL" clId="{998A10C0-B340-D34E-B608-D7B5D451E98D}" dt="2021-04-13T13:38:03.698" v="0"/>
        <pc:sldMkLst>
          <pc:docMk/>
          <pc:sldMk cId="101165703" sldId="2141411918"/>
        </pc:sldMkLst>
      </pc:sldChg>
      <pc:sldChg chg="add del">
        <pc:chgData name="Aaron Bean" userId="943e3fa2-9570-418e-984e-8925a3ac7ce3" providerId="ADAL" clId="{998A10C0-B340-D34E-B608-D7B5D451E98D}" dt="2021-04-13T13:57:38.959" v="971" actId="2696"/>
        <pc:sldMkLst>
          <pc:docMk/>
          <pc:sldMk cId="1998139149" sldId="2141411919"/>
        </pc:sldMkLst>
      </pc:sldChg>
      <pc:sldChg chg="modSp add mod">
        <pc:chgData name="Aaron Bean" userId="943e3fa2-9570-418e-984e-8925a3ac7ce3" providerId="ADAL" clId="{998A10C0-B340-D34E-B608-D7B5D451E98D}" dt="2021-04-13T13:57:47.118" v="998" actId="20577"/>
        <pc:sldMkLst>
          <pc:docMk/>
          <pc:sldMk cId="1128350769" sldId="2141411920"/>
        </pc:sldMkLst>
        <pc:spChg chg="mod">
          <ac:chgData name="Aaron Bean" userId="943e3fa2-9570-418e-984e-8925a3ac7ce3" providerId="ADAL" clId="{998A10C0-B340-D34E-B608-D7B5D451E98D}" dt="2021-04-13T13:57:47.118" v="998" actId="20577"/>
          <ac:spMkLst>
            <pc:docMk/>
            <pc:sldMk cId="1128350769" sldId="2141411920"/>
            <ac:spMk id="45" creationId="{5F77FDCE-81E5-3445-8AB6-06322E3A2FB6}"/>
          </ac:spMkLst>
        </pc:spChg>
      </pc:sldChg>
      <pc:sldChg chg="addSp modSp mod">
        <pc:chgData name="Aaron Bean" userId="943e3fa2-9570-418e-984e-8925a3ac7ce3" providerId="ADAL" clId="{998A10C0-B340-D34E-B608-D7B5D451E98D}" dt="2021-04-14T19:02:37.309" v="1509" actId="20577"/>
        <pc:sldMkLst>
          <pc:docMk/>
          <pc:sldMk cId="3211802294" sldId="2141411926"/>
        </pc:sldMkLst>
        <pc:spChg chg="mod">
          <ac:chgData name="Aaron Bean" userId="943e3fa2-9570-418e-984e-8925a3ac7ce3" providerId="ADAL" clId="{998A10C0-B340-D34E-B608-D7B5D451E98D}" dt="2021-04-14T19:02:37.309" v="1509" actId="20577"/>
          <ac:spMkLst>
            <pc:docMk/>
            <pc:sldMk cId="3211802294" sldId="2141411926"/>
            <ac:spMk id="3" creationId="{062E7594-619F-1040-8408-33E1217F230F}"/>
          </ac:spMkLst>
        </pc:spChg>
        <pc:spChg chg="add mod">
          <ac:chgData name="Aaron Bean" userId="943e3fa2-9570-418e-984e-8925a3ac7ce3" providerId="ADAL" clId="{998A10C0-B340-D34E-B608-D7B5D451E98D}" dt="2021-04-14T18:59:42.529" v="1483" actId="1036"/>
          <ac:spMkLst>
            <pc:docMk/>
            <pc:sldMk cId="3211802294" sldId="2141411926"/>
            <ac:spMk id="4" creationId="{B5E79EE2-367C-864B-BBCB-7F49E96F0E10}"/>
          </ac:spMkLst>
        </pc:spChg>
        <pc:spChg chg="add mod">
          <ac:chgData name="Aaron Bean" userId="943e3fa2-9570-418e-984e-8925a3ac7ce3" providerId="ADAL" clId="{998A10C0-B340-D34E-B608-D7B5D451E98D}" dt="2021-04-14T18:59:42.529" v="1483" actId="1036"/>
          <ac:spMkLst>
            <pc:docMk/>
            <pc:sldMk cId="3211802294" sldId="2141411926"/>
            <ac:spMk id="5" creationId="{5CE013BD-D814-0649-9808-2A01DE2815CF}"/>
          </ac:spMkLst>
        </pc:spChg>
        <pc:graphicFrameChg chg="mod modGraphic">
          <ac:chgData name="Aaron Bean" userId="943e3fa2-9570-418e-984e-8925a3ac7ce3" providerId="ADAL" clId="{998A10C0-B340-D34E-B608-D7B5D451E98D}" dt="2021-04-14T19:02:26.181" v="1508" actId="20577"/>
          <ac:graphicFrameMkLst>
            <pc:docMk/>
            <pc:sldMk cId="3211802294" sldId="2141411926"/>
            <ac:graphicFrameMk id="6" creationId="{113CF842-8192-6E44-B53F-3E1E0E4A9828}"/>
          </ac:graphicFrameMkLst>
        </pc:graphicFrameChg>
      </pc:sldChg>
      <pc:sldMasterChg chg="delSp modSp mod">
        <pc:chgData name="Aaron Bean" userId="943e3fa2-9570-418e-984e-8925a3ac7ce3" providerId="ADAL" clId="{998A10C0-B340-D34E-B608-D7B5D451E98D}" dt="2021-04-13T13:45:03.984" v="276" actId="478"/>
        <pc:sldMasterMkLst>
          <pc:docMk/>
          <pc:sldMasterMk cId="460149875" sldId="2147483660"/>
        </pc:sldMasterMkLst>
        <pc:spChg chg="del mod">
          <ac:chgData name="Aaron Bean" userId="943e3fa2-9570-418e-984e-8925a3ac7ce3" providerId="ADAL" clId="{998A10C0-B340-D34E-B608-D7B5D451E98D}" dt="2021-04-13T13:45:03.984" v="276" actId="478"/>
          <ac:spMkLst>
            <pc:docMk/>
            <pc:sldMasterMk cId="460149875" sldId="2147483660"/>
            <ac:spMk id="5" creationId="{41BAA9D7-DA21-9B4B-B30E-34FA7B0AA7A2}"/>
          </ac:spMkLst>
        </pc:spChg>
      </pc:sldMasterChg>
    </pc:docChg>
  </pc:docChgLst>
  <pc:docChgLst>
    <pc:chgData name="Nick MacLeod" userId="5396f965-0e72-4c7e-9c31-56d263c26649" providerId="ADAL" clId="{278A5A02-0954-414E-99EA-AE5978E48B1C}"/>
    <pc:docChg chg="undo custSel modSld">
      <pc:chgData name="Nick MacLeod" userId="5396f965-0e72-4c7e-9c31-56d263c26649" providerId="ADAL" clId="{278A5A02-0954-414E-99EA-AE5978E48B1C}" dt="2021-04-13T13:40:41.204" v="1017" actId="20577"/>
      <pc:docMkLst>
        <pc:docMk/>
      </pc:docMkLst>
      <pc:sldChg chg="modSp mod">
        <pc:chgData name="Nick MacLeod" userId="5396f965-0e72-4c7e-9c31-56d263c26649" providerId="ADAL" clId="{278A5A02-0954-414E-99EA-AE5978E48B1C}" dt="2021-04-13T13:14:54.056" v="801" actId="948"/>
        <pc:sldMkLst>
          <pc:docMk/>
          <pc:sldMk cId="3771095311" sldId="2134960218"/>
        </pc:sldMkLst>
        <pc:spChg chg="mod">
          <ac:chgData name="Nick MacLeod" userId="5396f965-0e72-4c7e-9c31-56d263c26649" providerId="ADAL" clId="{278A5A02-0954-414E-99EA-AE5978E48B1C}" dt="2021-04-13T13:11:57.469" v="621" actId="6549"/>
          <ac:spMkLst>
            <pc:docMk/>
            <pc:sldMk cId="3771095311" sldId="2134960218"/>
            <ac:spMk id="36" creationId="{24A771CC-CA98-CB40-B8F9-836CF81EB7F7}"/>
          </ac:spMkLst>
        </pc:spChg>
        <pc:spChg chg="mod">
          <ac:chgData name="Nick MacLeod" userId="5396f965-0e72-4c7e-9c31-56d263c26649" providerId="ADAL" clId="{278A5A02-0954-414E-99EA-AE5978E48B1C}" dt="2021-04-13T13:14:54.056" v="801" actId="948"/>
          <ac:spMkLst>
            <pc:docMk/>
            <pc:sldMk cId="3771095311" sldId="2134960218"/>
            <ac:spMk id="41" creationId="{4C86E4DB-A591-474E-903B-85C0DBCDEEBB}"/>
          </ac:spMkLst>
        </pc:spChg>
        <pc:spChg chg="mod">
          <ac:chgData name="Nick MacLeod" userId="5396f965-0e72-4c7e-9c31-56d263c26649" providerId="ADAL" clId="{278A5A02-0954-414E-99EA-AE5978E48B1C}" dt="2021-04-13T13:13:15.016" v="670" actId="20577"/>
          <ac:spMkLst>
            <pc:docMk/>
            <pc:sldMk cId="3771095311" sldId="2134960218"/>
            <ac:spMk id="42" creationId="{ED09729C-005D-D946-A78C-B6C09FF72BF7}"/>
          </ac:spMkLst>
        </pc:spChg>
      </pc:sldChg>
      <pc:sldChg chg="modSp mod">
        <pc:chgData name="Nick MacLeod" userId="5396f965-0e72-4c7e-9c31-56d263c26649" providerId="ADAL" clId="{278A5A02-0954-414E-99EA-AE5978E48B1C}" dt="2021-04-13T13:40:41.204" v="1017" actId="20577"/>
        <pc:sldMkLst>
          <pc:docMk/>
          <pc:sldMk cId="619147758" sldId="2134960463"/>
        </pc:sldMkLst>
        <pc:spChg chg="mod">
          <ac:chgData name="Nick MacLeod" userId="5396f965-0e72-4c7e-9c31-56d263c26649" providerId="ADAL" clId="{278A5A02-0954-414E-99EA-AE5978E48B1C}" dt="2021-04-13T13:40:41.204" v="1017" actId="20577"/>
          <ac:spMkLst>
            <pc:docMk/>
            <pc:sldMk cId="619147758" sldId="2134960463"/>
            <ac:spMk id="39" creationId="{E9775BDA-1CD2-2B43-83C6-5D482E1E8AAF}"/>
          </ac:spMkLst>
        </pc:spChg>
      </pc:sldChg>
      <pc:sldChg chg="modSp mod">
        <pc:chgData name="Nick MacLeod" userId="5396f965-0e72-4c7e-9c31-56d263c26649" providerId="ADAL" clId="{278A5A02-0954-414E-99EA-AE5978E48B1C}" dt="2021-04-13T13:32:45.496" v="941" actId="1076"/>
        <pc:sldMkLst>
          <pc:docMk/>
          <pc:sldMk cId="3856446980" sldId="2134960482"/>
        </pc:sldMkLst>
        <pc:spChg chg="mod">
          <ac:chgData name="Nick MacLeod" userId="5396f965-0e72-4c7e-9c31-56d263c26649" providerId="ADAL" clId="{278A5A02-0954-414E-99EA-AE5978E48B1C}" dt="2021-04-13T13:32:36.964" v="940" actId="20577"/>
          <ac:spMkLst>
            <pc:docMk/>
            <pc:sldMk cId="3856446980" sldId="2134960482"/>
            <ac:spMk id="45" creationId="{C1FFCAA6-A03A-8349-98DF-8910A38599C8}"/>
          </ac:spMkLst>
        </pc:spChg>
        <pc:spChg chg="mod">
          <ac:chgData name="Nick MacLeod" userId="5396f965-0e72-4c7e-9c31-56d263c26649" providerId="ADAL" clId="{278A5A02-0954-414E-99EA-AE5978E48B1C}" dt="2021-04-13T13:32:45.496" v="941" actId="1076"/>
          <ac:spMkLst>
            <pc:docMk/>
            <pc:sldMk cId="3856446980" sldId="2134960482"/>
            <ac:spMk id="49" creationId="{180D0F39-51C6-0343-9FDF-8DD8F9512994}"/>
          </ac:spMkLst>
        </pc:spChg>
      </pc:sldChg>
      <pc:sldChg chg="modSp mod">
        <pc:chgData name="Nick MacLeod" userId="5396f965-0e72-4c7e-9c31-56d263c26649" providerId="ADAL" clId="{278A5A02-0954-414E-99EA-AE5978E48B1C}" dt="2021-04-13T13:27:58.082" v="920" actId="1038"/>
        <pc:sldMkLst>
          <pc:docMk/>
          <pc:sldMk cId="4134446585" sldId="2134960485"/>
        </pc:sldMkLst>
        <pc:spChg chg="mod">
          <ac:chgData name="Nick MacLeod" userId="5396f965-0e72-4c7e-9c31-56d263c26649" providerId="ADAL" clId="{278A5A02-0954-414E-99EA-AE5978E48B1C}" dt="2021-04-13T13:27:58.082" v="920" actId="1038"/>
          <ac:spMkLst>
            <pc:docMk/>
            <pc:sldMk cId="4134446585" sldId="2134960485"/>
            <ac:spMk id="13" creationId="{B70274A7-0BD4-FE45-90A9-EC936FFD0733}"/>
          </ac:spMkLst>
        </pc:spChg>
        <pc:spChg chg="mod">
          <ac:chgData name="Nick MacLeod" userId="5396f965-0e72-4c7e-9c31-56d263c26649" providerId="ADAL" clId="{278A5A02-0954-414E-99EA-AE5978E48B1C}" dt="2021-04-13T13:21:50.950" v="900" actId="20577"/>
          <ac:spMkLst>
            <pc:docMk/>
            <pc:sldMk cId="4134446585" sldId="2134960485"/>
            <ac:spMk id="24" creationId="{88723359-4E84-534A-95FA-2AEAA61E949C}"/>
          </ac:spMkLst>
        </pc:spChg>
        <pc:spChg chg="mod">
          <ac:chgData name="Nick MacLeod" userId="5396f965-0e72-4c7e-9c31-56d263c26649" providerId="ADAL" clId="{278A5A02-0954-414E-99EA-AE5978E48B1C}" dt="2021-04-13T13:26:47.394" v="919" actId="20577"/>
          <ac:spMkLst>
            <pc:docMk/>
            <pc:sldMk cId="4134446585" sldId="2134960485"/>
            <ac:spMk id="25" creationId="{47684C09-7519-F945-9D7E-328F60352011}"/>
          </ac:spMkLst>
        </pc:spChg>
      </pc:sldChg>
      <pc:sldChg chg="modSp mod">
        <pc:chgData name="Nick MacLeod" userId="5396f965-0e72-4c7e-9c31-56d263c26649" providerId="ADAL" clId="{278A5A02-0954-414E-99EA-AE5978E48B1C}" dt="2021-04-13T13:30:02.229" v="935" actId="20577"/>
        <pc:sldMkLst>
          <pc:docMk/>
          <pc:sldMk cId="552792899" sldId="2134960486"/>
        </pc:sldMkLst>
        <pc:spChg chg="mod">
          <ac:chgData name="Nick MacLeod" userId="5396f965-0e72-4c7e-9c31-56d263c26649" providerId="ADAL" clId="{278A5A02-0954-414E-99EA-AE5978E48B1C}" dt="2021-04-13T13:28:35.689" v="931" actId="1035"/>
          <ac:spMkLst>
            <pc:docMk/>
            <pc:sldMk cId="552792899" sldId="2134960486"/>
            <ac:spMk id="22" creationId="{1A7CAAF2-4421-E34A-B421-FD6309A4BE53}"/>
          </ac:spMkLst>
        </pc:spChg>
        <pc:spChg chg="mod">
          <ac:chgData name="Nick MacLeod" userId="5396f965-0e72-4c7e-9c31-56d263c26649" providerId="ADAL" clId="{278A5A02-0954-414E-99EA-AE5978E48B1C}" dt="2021-04-13T13:28:35.689" v="931" actId="1035"/>
          <ac:spMkLst>
            <pc:docMk/>
            <pc:sldMk cId="552792899" sldId="2134960486"/>
            <ac:spMk id="30" creationId="{2E28E277-E125-5447-AA65-FE5CB486BCDE}"/>
          </ac:spMkLst>
        </pc:spChg>
        <pc:spChg chg="mod">
          <ac:chgData name="Nick MacLeod" userId="5396f965-0e72-4c7e-9c31-56d263c26649" providerId="ADAL" clId="{278A5A02-0954-414E-99EA-AE5978E48B1C}" dt="2021-04-13T13:28:35.689" v="931" actId="1035"/>
          <ac:spMkLst>
            <pc:docMk/>
            <pc:sldMk cId="552792899" sldId="2134960486"/>
            <ac:spMk id="31" creationId="{DD04ACF7-22C5-FC4C-9437-F800635DC519}"/>
          </ac:spMkLst>
        </pc:spChg>
        <pc:spChg chg="mod">
          <ac:chgData name="Nick MacLeod" userId="5396f965-0e72-4c7e-9c31-56d263c26649" providerId="ADAL" clId="{278A5A02-0954-414E-99EA-AE5978E48B1C}" dt="2021-04-13T13:28:35.689" v="931" actId="1035"/>
          <ac:spMkLst>
            <pc:docMk/>
            <pc:sldMk cId="552792899" sldId="2134960486"/>
            <ac:spMk id="32" creationId="{A4B13AC5-D28A-5C49-A1D7-1FF9816C4804}"/>
          </ac:spMkLst>
        </pc:spChg>
        <pc:spChg chg="mod">
          <ac:chgData name="Nick MacLeod" userId="5396f965-0e72-4c7e-9c31-56d263c26649" providerId="ADAL" clId="{278A5A02-0954-414E-99EA-AE5978E48B1C}" dt="2021-04-13T13:28:35.689" v="931" actId="1035"/>
          <ac:spMkLst>
            <pc:docMk/>
            <pc:sldMk cId="552792899" sldId="2134960486"/>
            <ac:spMk id="33" creationId="{0465C081-030C-9E4E-8E86-635F0CEF1114}"/>
          </ac:spMkLst>
        </pc:spChg>
        <pc:spChg chg="mod">
          <ac:chgData name="Nick MacLeod" userId="5396f965-0e72-4c7e-9c31-56d263c26649" providerId="ADAL" clId="{278A5A02-0954-414E-99EA-AE5978E48B1C}" dt="2021-04-13T13:28:35.689" v="931" actId="1035"/>
          <ac:spMkLst>
            <pc:docMk/>
            <pc:sldMk cId="552792899" sldId="2134960486"/>
            <ac:spMk id="36" creationId="{934AF075-5541-0643-8188-FE32CFC00640}"/>
          </ac:spMkLst>
        </pc:spChg>
        <pc:spChg chg="mod">
          <ac:chgData name="Nick MacLeod" userId="5396f965-0e72-4c7e-9c31-56d263c26649" providerId="ADAL" clId="{278A5A02-0954-414E-99EA-AE5978E48B1C}" dt="2021-04-13T13:28:35.689" v="931" actId="1035"/>
          <ac:spMkLst>
            <pc:docMk/>
            <pc:sldMk cId="552792899" sldId="2134960486"/>
            <ac:spMk id="38" creationId="{65740819-7BB3-0644-B785-6F735978B7AC}"/>
          </ac:spMkLst>
        </pc:spChg>
        <pc:spChg chg="mod">
          <ac:chgData name="Nick MacLeod" userId="5396f965-0e72-4c7e-9c31-56d263c26649" providerId="ADAL" clId="{278A5A02-0954-414E-99EA-AE5978E48B1C}" dt="2021-04-13T13:28:35.689" v="931" actId="1035"/>
          <ac:spMkLst>
            <pc:docMk/>
            <pc:sldMk cId="552792899" sldId="2134960486"/>
            <ac:spMk id="42" creationId="{10110E09-2909-9445-B4D8-C56A84F4EB6D}"/>
          </ac:spMkLst>
        </pc:spChg>
        <pc:spChg chg="mod">
          <ac:chgData name="Nick MacLeod" userId="5396f965-0e72-4c7e-9c31-56d263c26649" providerId="ADAL" clId="{278A5A02-0954-414E-99EA-AE5978E48B1C}" dt="2021-04-13T13:28:35.689" v="931" actId="1035"/>
          <ac:spMkLst>
            <pc:docMk/>
            <pc:sldMk cId="552792899" sldId="2134960486"/>
            <ac:spMk id="48" creationId="{F4F36D8D-B461-EA41-881F-026A1BFB06A2}"/>
          </ac:spMkLst>
        </pc:spChg>
        <pc:spChg chg="mod">
          <ac:chgData name="Nick MacLeod" userId="5396f965-0e72-4c7e-9c31-56d263c26649" providerId="ADAL" clId="{278A5A02-0954-414E-99EA-AE5978E48B1C}" dt="2021-04-13T13:30:02.229" v="935" actId="20577"/>
          <ac:spMkLst>
            <pc:docMk/>
            <pc:sldMk cId="552792899" sldId="2134960486"/>
            <ac:spMk id="61" creationId="{DD70DFF8-55D5-0C42-A580-68196B7E6779}"/>
          </ac:spMkLst>
        </pc:spChg>
        <pc:spChg chg="mod">
          <ac:chgData name="Nick MacLeod" userId="5396f965-0e72-4c7e-9c31-56d263c26649" providerId="ADAL" clId="{278A5A02-0954-414E-99EA-AE5978E48B1C}" dt="2021-04-13T13:28:35.689" v="931" actId="1035"/>
          <ac:spMkLst>
            <pc:docMk/>
            <pc:sldMk cId="552792899" sldId="2134960486"/>
            <ac:spMk id="70" creationId="{6B60FC1B-D555-2840-9870-52EFD8322387}"/>
          </ac:spMkLst>
        </pc:spChg>
        <pc:spChg chg="mod">
          <ac:chgData name="Nick MacLeod" userId="5396f965-0e72-4c7e-9c31-56d263c26649" providerId="ADAL" clId="{278A5A02-0954-414E-99EA-AE5978E48B1C}" dt="2021-04-13T13:28:35.689" v="931" actId="1035"/>
          <ac:spMkLst>
            <pc:docMk/>
            <pc:sldMk cId="552792899" sldId="2134960486"/>
            <ac:spMk id="71" creationId="{EAA9EE2D-20FE-1540-9B15-09516D75F904}"/>
          </ac:spMkLst>
        </pc:spChg>
        <pc:grpChg chg="mod">
          <ac:chgData name="Nick MacLeod" userId="5396f965-0e72-4c7e-9c31-56d263c26649" providerId="ADAL" clId="{278A5A02-0954-414E-99EA-AE5978E48B1C}" dt="2021-04-13T13:28:35.689" v="931" actId="1035"/>
          <ac:grpSpMkLst>
            <pc:docMk/>
            <pc:sldMk cId="552792899" sldId="2134960486"/>
            <ac:grpSpMk id="2" creationId="{7A13E73D-0589-3340-89A1-A334B50EDD7E}"/>
          </ac:grpSpMkLst>
        </pc:grpChg>
        <pc:grpChg chg="mod">
          <ac:chgData name="Nick MacLeod" userId="5396f965-0e72-4c7e-9c31-56d263c26649" providerId="ADAL" clId="{278A5A02-0954-414E-99EA-AE5978E48B1C}" dt="2021-04-13T13:28:35.689" v="931" actId="1035"/>
          <ac:grpSpMkLst>
            <pc:docMk/>
            <pc:sldMk cId="552792899" sldId="2134960486"/>
            <ac:grpSpMk id="3" creationId="{D15989EB-23CF-D843-968A-AD4A11BF4889}"/>
          </ac:grpSpMkLst>
        </pc:grpChg>
        <pc:grpChg chg="mod">
          <ac:chgData name="Nick MacLeod" userId="5396f965-0e72-4c7e-9c31-56d263c26649" providerId="ADAL" clId="{278A5A02-0954-414E-99EA-AE5978E48B1C}" dt="2021-04-13T13:28:35.689" v="931" actId="1035"/>
          <ac:grpSpMkLst>
            <pc:docMk/>
            <pc:sldMk cId="552792899" sldId="2134960486"/>
            <ac:grpSpMk id="4" creationId="{C4B7A13C-094D-C340-9DE3-89AB941BEE01}"/>
          </ac:grpSpMkLst>
        </pc:grpChg>
        <pc:picChg chg="mod">
          <ac:chgData name="Nick MacLeod" userId="5396f965-0e72-4c7e-9c31-56d263c26649" providerId="ADAL" clId="{278A5A02-0954-414E-99EA-AE5978E48B1C}" dt="2021-04-13T13:28:35.689" v="931" actId="1035"/>
          <ac:picMkLst>
            <pc:docMk/>
            <pc:sldMk cId="552792899" sldId="2134960486"/>
            <ac:picMk id="23" creationId="{AB591FE1-1CFE-CC43-BB72-A610CDA5A6F1}"/>
          </ac:picMkLst>
        </pc:picChg>
        <pc:picChg chg="mod">
          <ac:chgData name="Nick MacLeod" userId="5396f965-0e72-4c7e-9c31-56d263c26649" providerId="ADAL" clId="{278A5A02-0954-414E-99EA-AE5978E48B1C}" dt="2021-04-13T13:28:35.689" v="931" actId="1035"/>
          <ac:picMkLst>
            <pc:docMk/>
            <pc:sldMk cId="552792899" sldId="2134960486"/>
            <ac:picMk id="72" creationId="{32D2BC8B-C9A7-A740-9044-4F6930D0D7D7}"/>
          </ac:picMkLst>
        </pc:picChg>
      </pc:sldChg>
      <pc:sldChg chg="modSp mod">
        <pc:chgData name="Nick MacLeod" userId="5396f965-0e72-4c7e-9c31-56d263c26649" providerId="ADAL" clId="{278A5A02-0954-414E-99EA-AE5978E48B1C}" dt="2021-04-13T13:20:09.137" v="899" actId="20577"/>
        <pc:sldMkLst>
          <pc:docMk/>
          <pc:sldMk cId="4033773217" sldId="2134960495"/>
        </pc:sldMkLst>
        <pc:spChg chg="mod">
          <ac:chgData name="Nick MacLeod" userId="5396f965-0e72-4c7e-9c31-56d263c26649" providerId="ADAL" clId="{278A5A02-0954-414E-99EA-AE5978E48B1C}" dt="2021-04-13T13:18:19.281" v="840" actId="20577"/>
          <ac:spMkLst>
            <pc:docMk/>
            <pc:sldMk cId="4033773217" sldId="2134960495"/>
            <ac:spMk id="30" creationId="{924E6F51-7D02-6044-A22B-EEAFD5C1DCA9}"/>
          </ac:spMkLst>
        </pc:spChg>
        <pc:spChg chg="mod">
          <ac:chgData name="Nick MacLeod" userId="5396f965-0e72-4c7e-9c31-56d263c26649" providerId="ADAL" clId="{278A5A02-0954-414E-99EA-AE5978E48B1C}" dt="2021-04-13T13:17:57.826" v="839" actId="20577"/>
          <ac:spMkLst>
            <pc:docMk/>
            <pc:sldMk cId="4033773217" sldId="2134960495"/>
            <ac:spMk id="32" creationId="{64094861-C0C7-AA43-BA4B-F63F725E8170}"/>
          </ac:spMkLst>
        </pc:spChg>
        <pc:spChg chg="mod">
          <ac:chgData name="Nick MacLeod" userId="5396f965-0e72-4c7e-9c31-56d263c26649" providerId="ADAL" clId="{278A5A02-0954-414E-99EA-AE5978E48B1C}" dt="2021-04-13T13:20:09.137" v="899" actId="20577"/>
          <ac:spMkLst>
            <pc:docMk/>
            <pc:sldMk cId="4033773217" sldId="2134960495"/>
            <ac:spMk id="36" creationId="{D3451BAE-1096-C845-85C6-2D640AA0D8F3}"/>
          </ac:spMkLst>
        </pc:spChg>
      </pc:sldChg>
      <pc:sldChg chg="modSp mod">
        <pc:chgData name="Nick MacLeod" userId="5396f965-0e72-4c7e-9c31-56d263c26649" providerId="ADAL" clId="{278A5A02-0954-414E-99EA-AE5978E48B1C}" dt="2021-04-13T13:38:09.249" v="1016" actId="20577"/>
        <pc:sldMkLst>
          <pc:docMk/>
          <pc:sldMk cId="3641650267" sldId="2134960498"/>
        </pc:sldMkLst>
        <pc:spChg chg="mod">
          <ac:chgData name="Nick MacLeod" userId="5396f965-0e72-4c7e-9c31-56d263c26649" providerId="ADAL" clId="{278A5A02-0954-414E-99EA-AE5978E48B1C}" dt="2021-04-13T13:38:09.249" v="1016" actId="20577"/>
          <ac:spMkLst>
            <pc:docMk/>
            <pc:sldMk cId="3641650267" sldId="2134960498"/>
            <ac:spMk id="3" creationId="{27745BC4-48FB-E346-A080-59BF8E54D1A9}"/>
          </ac:spMkLst>
        </pc:spChg>
        <pc:spChg chg="mod">
          <ac:chgData name="Nick MacLeod" userId="5396f965-0e72-4c7e-9c31-56d263c26649" providerId="ADAL" clId="{278A5A02-0954-414E-99EA-AE5978E48B1C}" dt="2021-04-13T13:19:17.984" v="884" actId="1076"/>
          <ac:spMkLst>
            <pc:docMk/>
            <pc:sldMk cId="3641650267" sldId="2134960498"/>
            <ac:spMk id="4" creationId="{62255291-A0E6-B04E-B401-A1F914908662}"/>
          </ac:spMkLst>
        </pc:spChg>
      </pc:sldChg>
      <pc:sldChg chg="modSp mod">
        <pc:chgData name="Nick MacLeod" userId="5396f965-0e72-4c7e-9c31-56d263c26649" providerId="ADAL" clId="{278A5A02-0954-414E-99EA-AE5978E48B1C}" dt="2021-04-13T13:35:39.957" v="977" actId="20577"/>
        <pc:sldMkLst>
          <pc:docMk/>
          <pc:sldMk cId="2342650854" sldId="2134960500"/>
        </pc:sldMkLst>
        <pc:spChg chg="mod">
          <ac:chgData name="Nick MacLeod" userId="5396f965-0e72-4c7e-9c31-56d263c26649" providerId="ADAL" clId="{278A5A02-0954-414E-99EA-AE5978E48B1C}" dt="2021-04-13T13:35:39.957" v="977" actId="20577"/>
          <ac:spMkLst>
            <pc:docMk/>
            <pc:sldMk cId="2342650854" sldId="2134960500"/>
            <ac:spMk id="6" creationId="{378827A5-9F9E-B840-BF7D-EC130EE64732}"/>
          </ac:spMkLst>
        </pc:spChg>
        <pc:spChg chg="mod">
          <ac:chgData name="Nick MacLeod" userId="5396f965-0e72-4c7e-9c31-56d263c26649" providerId="ADAL" clId="{278A5A02-0954-414E-99EA-AE5978E48B1C}" dt="2021-04-13T13:34:26.172" v="958" actId="14100"/>
          <ac:spMkLst>
            <pc:docMk/>
            <pc:sldMk cId="2342650854" sldId="2134960500"/>
            <ac:spMk id="8" creationId="{CC386701-4473-7748-A197-DE7D42A55C3C}"/>
          </ac:spMkLst>
        </pc:spChg>
        <pc:spChg chg="mod">
          <ac:chgData name="Nick MacLeod" userId="5396f965-0e72-4c7e-9c31-56d263c26649" providerId="ADAL" clId="{278A5A02-0954-414E-99EA-AE5978E48B1C}" dt="2021-04-13T13:34:26.172" v="958" actId="14100"/>
          <ac:spMkLst>
            <pc:docMk/>
            <pc:sldMk cId="2342650854" sldId="2134960500"/>
            <ac:spMk id="13" creationId="{432DA477-A151-7348-BDFB-547E5CBB02F6}"/>
          </ac:spMkLst>
        </pc:spChg>
        <pc:spChg chg="mod">
          <ac:chgData name="Nick MacLeod" userId="5396f965-0e72-4c7e-9c31-56d263c26649" providerId="ADAL" clId="{278A5A02-0954-414E-99EA-AE5978E48B1C}" dt="2021-04-13T13:34:26.172" v="958" actId="14100"/>
          <ac:spMkLst>
            <pc:docMk/>
            <pc:sldMk cId="2342650854" sldId="2134960500"/>
            <ac:spMk id="15" creationId="{CEAB7AC8-9352-874D-B2A8-AD1154B03348}"/>
          </ac:spMkLst>
        </pc:spChg>
        <pc:spChg chg="mod">
          <ac:chgData name="Nick MacLeod" userId="5396f965-0e72-4c7e-9c31-56d263c26649" providerId="ADAL" clId="{278A5A02-0954-414E-99EA-AE5978E48B1C}" dt="2021-04-13T09:26:35.284" v="491" actId="20577"/>
          <ac:spMkLst>
            <pc:docMk/>
            <pc:sldMk cId="2342650854" sldId="2134960500"/>
            <ac:spMk id="36" creationId="{E1CB5B38-C8B1-2B48-8B8A-54B105919322}"/>
          </ac:spMkLst>
        </pc:spChg>
        <pc:spChg chg="mod">
          <ac:chgData name="Nick MacLeod" userId="5396f965-0e72-4c7e-9c31-56d263c26649" providerId="ADAL" clId="{278A5A02-0954-414E-99EA-AE5978E48B1C}" dt="2021-04-13T09:26:09.776" v="459" actId="1037"/>
          <ac:spMkLst>
            <pc:docMk/>
            <pc:sldMk cId="2342650854" sldId="2134960500"/>
            <ac:spMk id="37" creationId="{D21A8154-9EC9-3B4D-85F7-75017BE3B459}"/>
          </ac:spMkLst>
        </pc:spChg>
        <pc:picChg chg="mod">
          <ac:chgData name="Nick MacLeod" userId="5396f965-0e72-4c7e-9c31-56d263c26649" providerId="ADAL" clId="{278A5A02-0954-414E-99EA-AE5978E48B1C}" dt="2021-04-13T09:26:09.776" v="459" actId="1037"/>
          <ac:picMkLst>
            <pc:docMk/>
            <pc:sldMk cId="2342650854" sldId="2134960500"/>
            <ac:picMk id="35" creationId="{63935C15-FA8D-2B4A-9685-4A129E386DD9}"/>
          </ac:picMkLst>
        </pc:picChg>
      </pc:sldChg>
    </pc:docChg>
  </pc:docChgLst>
  <pc:docChgLst>
    <pc:chgData name="Aaron Bean" userId="943e3fa2-9570-418e-984e-8925a3ac7ce3" providerId="ADAL" clId="{5EC70BC8-2E21-FF41-8B6E-D2352469FE6F}"/>
    <pc:docChg chg="custSel modSld">
      <pc:chgData name="Aaron Bean" userId="943e3fa2-9570-418e-984e-8925a3ac7ce3" providerId="ADAL" clId="{5EC70BC8-2E21-FF41-8B6E-D2352469FE6F}" dt="2021-04-13T07:14:23.083" v="20" actId="20577"/>
      <pc:docMkLst>
        <pc:docMk/>
      </pc:docMkLst>
      <pc:sldChg chg="modSp mod">
        <pc:chgData name="Aaron Bean" userId="943e3fa2-9570-418e-984e-8925a3ac7ce3" providerId="ADAL" clId="{5EC70BC8-2E21-FF41-8B6E-D2352469FE6F}" dt="2021-04-13T07:14:17.120" v="19" actId="1076"/>
        <pc:sldMkLst>
          <pc:docMk/>
          <pc:sldMk cId="4134446585" sldId="2134960485"/>
        </pc:sldMkLst>
        <pc:spChg chg="mod">
          <ac:chgData name="Aaron Bean" userId="943e3fa2-9570-418e-984e-8925a3ac7ce3" providerId="ADAL" clId="{5EC70BC8-2E21-FF41-8B6E-D2352469FE6F}" dt="2021-04-13T07:14:17.120" v="19" actId="1076"/>
          <ac:spMkLst>
            <pc:docMk/>
            <pc:sldMk cId="4134446585" sldId="2134960485"/>
            <ac:spMk id="4" creationId="{8529BF84-C119-483B-82F2-B62BCDAE7CC1}"/>
          </ac:spMkLst>
        </pc:spChg>
      </pc:sldChg>
      <pc:sldChg chg="addSp delSp modSp mod">
        <pc:chgData name="Aaron Bean" userId="943e3fa2-9570-418e-984e-8925a3ac7ce3" providerId="ADAL" clId="{5EC70BC8-2E21-FF41-8B6E-D2352469FE6F}" dt="2021-04-13T07:14:23.083" v="20" actId="20577"/>
        <pc:sldMkLst>
          <pc:docMk/>
          <pc:sldMk cId="4033773217" sldId="2134960495"/>
        </pc:sldMkLst>
        <pc:spChg chg="mod">
          <ac:chgData name="Aaron Bean" userId="943e3fa2-9570-418e-984e-8925a3ac7ce3" providerId="ADAL" clId="{5EC70BC8-2E21-FF41-8B6E-D2352469FE6F}" dt="2021-04-13T07:13:52.501" v="10" actId="20577"/>
          <ac:spMkLst>
            <pc:docMk/>
            <pc:sldMk cId="4033773217" sldId="2134960495"/>
            <ac:spMk id="5" creationId="{E281A5EE-0D43-9040-BB12-5F5BE43F02B6}"/>
          </ac:spMkLst>
        </pc:spChg>
        <pc:spChg chg="del">
          <ac:chgData name="Aaron Bean" userId="943e3fa2-9570-418e-984e-8925a3ac7ce3" providerId="ADAL" clId="{5EC70BC8-2E21-FF41-8B6E-D2352469FE6F}" dt="2021-04-13T07:13:26.649" v="2" actId="478"/>
          <ac:spMkLst>
            <pc:docMk/>
            <pc:sldMk cId="4033773217" sldId="2134960495"/>
            <ac:spMk id="23" creationId="{B8AD0F6A-FCDB-D744-91F0-5800F1B220A8}"/>
          </ac:spMkLst>
        </pc:spChg>
        <pc:spChg chg="del">
          <ac:chgData name="Aaron Bean" userId="943e3fa2-9570-418e-984e-8925a3ac7ce3" providerId="ADAL" clId="{5EC70BC8-2E21-FF41-8B6E-D2352469FE6F}" dt="2021-04-13T07:13:26.649" v="2" actId="478"/>
          <ac:spMkLst>
            <pc:docMk/>
            <pc:sldMk cId="4033773217" sldId="2134960495"/>
            <ac:spMk id="24" creationId="{7FCE8953-EB9C-914C-B543-51F9B6B6D4B2}"/>
          </ac:spMkLst>
        </pc:spChg>
        <pc:spChg chg="del">
          <ac:chgData name="Aaron Bean" userId="943e3fa2-9570-418e-984e-8925a3ac7ce3" providerId="ADAL" clId="{5EC70BC8-2E21-FF41-8B6E-D2352469FE6F}" dt="2021-04-13T07:13:26.649" v="2" actId="478"/>
          <ac:spMkLst>
            <pc:docMk/>
            <pc:sldMk cId="4033773217" sldId="2134960495"/>
            <ac:spMk id="25" creationId="{1312207E-D197-D741-8D78-7E9D3CA70EC9}"/>
          </ac:spMkLst>
        </pc:spChg>
        <pc:spChg chg="mod">
          <ac:chgData name="Aaron Bean" userId="943e3fa2-9570-418e-984e-8925a3ac7ce3" providerId="ADAL" clId="{5EC70BC8-2E21-FF41-8B6E-D2352469FE6F}" dt="2021-04-13T07:14:23.083" v="20" actId="20577"/>
          <ac:spMkLst>
            <pc:docMk/>
            <pc:sldMk cId="4033773217" sldId="2134960495"/>
            <ac:spMk id="35" creationId="{8F51EE95-D62A-8042-8723-7052A9BDC65B}"/>
          </ac:spMkLst>
        </pc:spChg>
        <pc:spChg chg="add mod">
          <ac:chgData name="Aaron Bean" userId="943e3fa2-9570-418e-984e-8925a3ac7ce3" providerId="ADAL" clId="{5EC70BC8-2E21-FF41-8B6E-D2352469FE6F}" dt="2021-04-13T07:13:33.537" v="3" actId="1076"/>
          <ac:spMkLst>
            <pc:docMk/>
            <pc:sldMk cId="4033773217" sldId="2134960495"/>
            <ac:spMk id="39" creationId="{3FDF3685-1801-0546-828E-9DEA86C8C9B9}"/>
          </ac:spMkLst>
        </pc:spChg>
        <pc:spChg chg="add mod">
          <ac:chgData name="Aaron Bean" userId="943e3fa2-9570-418e-984e-8925a3ac7ce3" providerId="ADAL" clId="{5EC70BC8-2E21-FF41-8B6E-D2352469FE6F}" dt="2021-04-13T07:13:33.537" v="3" actId="1076"/>
          <ac:spMkLst>
            <pc:docMk/>
            <pc:sldMk cId="4033773217" sldId="2134960495"/>
            <ac:spMk id="40" creationId="{8BF37D0C-DBC3-D54F-946E-CA7B7291B19C}"/>
          </ac:spMkLst>
        </pc:spChg>
        <pc:spChg chg="add mod">
          <ac:chgData name="Aaron Bean" userId="943e3fa2-9570-418e-984e-8925a3ac7ce3" providerId="ADAL" clId="{5EC70BC8-2E21-FF41-8B6E-D2352469FE6F}" dt="2021-04-13T07:13:33.537" v="3" actId="1076"/>
          <ac:spMkLst>
            <pc:docMk/>
            <pc:sldMk cId="4033773217" sldId="2134960495"/>
            <ac:spMk id="41" creationId="{C0CEEDCB-ACD6-8846-AE10-A001AE36E37D}"/>
          </ac:spMkLst>
        </pc:spChg>
        <pc:cxnChg chg="add mod">
          <ac:chgData name="Aaron Bean" userId="943e3fa2-9570-418e-984e-8925a3ac7ce3" providerId="ADAL" clId="{5EC70BC8-2E21-FF41-8B6E-D2352469FE6F}" dt="2021-04-13T07:13:33.537" v="3" actId="1076"/>
          <ac:cxnSpMkLst>
            <pc:docMk/>
            <pc:sldMk cId="4033773217" sldId="2134960495"/>
            <ac:cxnSpMk id="27" creationId="{572931A2-B35A-4F4A-8520-802A24946238}"/>
          </ac:cxnSpMkLst>
        </pc:cxnChg>
        <pc:cxnChg chg="add mod">
          <ac:chgData name="Aaron Bean" userId="943e3fa2-9570-418e-984e-8925a3ac7ce3" providerId="ADAL" clId="{5EC70BC8-2E21-FF41-8B6E-D2352469FE6F}" dt="2021-04-13T07:13:33.537" v="3" actId="1076"/>
          <ac:cxnSpMkLst>
            <pc:docMk/>
            <pc:sldMk cId="4033773217" sldId="2134960495"/>
            <ac:cxnSpMk id="29" creationId="{CFF9B76B-CCC7-4C45-8DEE-3B9A05CD61A8}"/>
          </ac:cxnSpMkLst>
        </pc:cxnChg>
        <pc:cxnChg chg="add mod">
          <ac:chgData name="Aaron Bean" userId="943e3fa2-9570-418e-984e-8925a3ac7ce3" providerId="ADAL" clId="{5EC70BC8-2E21-FF41-8B6E-D2352469FE6F}" dt="2021-04-13T07:13:33.537" v="3" actId="1076"/>
          <ac:cxnSpMkLst>
            <pc:docMk/>
            <pc:sldMk cId="4033773217" sldId="2134960495"/>
            <ac:cxnSpMk id="38" creationId="{26EDA61E-DA78-9947-ACBB-392012C004CE}"/>
          </ac:cxnSpMkLst>
        </pc:cxnChg>
        <pc:cxnChg chg="del">
          <ac:chgData name="Aaron Bean" userId="943e3fa2-9570-418e-984e-8925a3ac7ce3" providerId="ADAL" clId="{5EC70BC8-2E21-FF41-8B6E-D2352469FE6F}" dt="2021-04-13T07:13:26.649" v="2" actId="478"/>
          <ac:cxnSpMkLst>
            <pc:docMk/>
            <pc:sldMk cId="4033773217" sldId="2134960495"/>
            <ac:cxnSpMk id="43" creationId="{EDA0A85E-615A-724E-ADEA-5E23EDA0A7A3}"/>
          </ac:cxnSpMkLst>
        </pc:cxnChg>
        <pc:cxnChg chg="del">
          <ac:chgData name="Aaron Bean" userId="943e3fa2-9570-418e-984e-8925a3ac7ce3" providerId="ADAL" clId="{5EC70BC8-2E21-FF41-8B6E-D2352469FE6F}" dt="2021-04-13T07:13:26.649" v="2" actId="478"/>
          <ac:cxnSpMkLst>
            <pc:docMk/>
            <pc:sldMk cId="4033773217" sldId="2134960495"/>
            <ac:cxnSpMk id="44" creationId="{686AD045-7FCC-284A-A49A-5042DD94C8DF}"/>
          </ac:cxnSpMkLst>
        </pc:cxnChg>
        <pc:cxnChg chg="del">
          <ac:chgData name="Aaron Bean" userId="943e3fa2-9570-418e-984e-8925a3ac7ce3" providerId="ADAL" clId="{5EC70BC8-2E21-FF41-8B6E-D2352469FE6F}" dt="2021-04-13T07:13:26.649" v="2" actId="478"/>
          <ac:cxnSpMkLst>
            <pc:docMk/>
            <pc:sldMk cId="4033773217" sldId="2134960495"/>
            <ac:cxnSpMk id="46" creationId="{86A33BBE-FBCE-9841-9452-FD7523573BAD}"/>
          </ac:cxnSpMkLst>
        </pc:cxnChg>
      </pc:sldChg>
    </pc:docChg>
  </pc:docChgLst>
  <pc:docChgLst>
    <pc:chgData name="Aaron Bean" userId="S::aaron.bean@veeva.com::943e3fa2-9570-418e-984e-8925a3ac7ce3" providerId="AD" clId="Web-{97F9F579-EE98-7449-F668-27E419E4D5A6}"/>
    <pc:docChg chg="modSld">
      <pc:chgData name="Aaron Bean" userId="S::aaron.bean@veeva.com::943e3fa2-9570-418e-984e-8925a3ac7ce3" providerId="AD" clId="Web-{97F9F579-EE98-7449-F668-27E419E4D5A6}" dt="2021-04-13T07:12:41.951" v="15"/>
      <pc:docMkLst>
        <pc:docMk/>
      </pc:docMkLst>
      <pc:sldChg chg="addSp delSp modSp">
        <pc:chgData name="Aaron Bean" userId="S::aaron.bean@veeva.com::943e3fa2-9570-418e-984e-8925a3ac7ce3" providerId="AD" clId="Web-{97F9F579-EE98-7449-F668-27E419E4D5A6}" dt="2021-04-13T07:12:41.951" v="15"/>
        <pc:sldMkLst>
          <pc:docMk/>
          <pc:sldMk cId="4033773217" sldId="2134960495"/>
        </pc:sldMkLst>
        <pc:spChg chg="add del">
          <ac:chgData name="Aaron Bean" userId="S::aaron.bean@veeva.com::943e3fa2-9570-418e-984e-8925a3ac7ce3" providerId="AD" clId="Web-{97F9F579-EE98-7449-F668-27E419E4D5A6}" dt="2021-04-13T07:12:41.951" v="13"/>
          <ac:spMkLst>
            <pc:docMk/>
            <pc:sldMk cId="4033773217" sldId="2134960495"/>
            <ac:spMk id="23" creationId="{B8AD0F6A-FCDB-D744-91F0-5800F1B220A8}"/>
          </ac:spMkLst>
        </pc:spChg>
        <pc:spChg chg="add del">
          <ac:chgData name="Aaron Bean" userId="S::aaron.bean@veeva.com::943e3fa2-9570-418e-984e-8925a3ac7ce3" providerId="AD" clId="Web-{97F9F579-EE98-7449-F668-27E419E4D5A6}" dt="2021-04-13T07:12:41.951" v="14"/>
          <ac:spMkLst>
            <pc:docMk/>
            <pc:sldMk cId="4033773217" sldId="2134960495"/>
            <ac:spMk id="24" creationId="{7FCE8953-EB9C-914C-B543-51F9B6B6D4B2}"/>
          </ac:spMkLst>
        </pc:spChg>
        <pc:spChg chg="add del">
          <ac:chgData name="Aaron Bean" userId="S::aaron.bean@veeva.com::943e3fa2-9570-418e-984e-8925a3ac7ce3" providerId="AD" clId="Web-{97F9F579-EE98-7449-F668-27E419E4D5A6}" dt="2021-04-13T07:12:41.951" v="15"/>
          <ac:spMkLst>
            <pc:docMk/>
            <pc:sldMk cId="4033773217" sldId="2134960495"/>
            <ac:spMk id="25" creationId="{1312207E-D197-D741-8D78-7E9D3CA70EC9}"/>
          </ac:spMkLst>
        </pc:spChg>
        <pc:picChg chg="add del mod">
          <ac:chgData name="Aaron Bean" userId="S::aaron.bean@veeva.com::943e3fa2-9570-418e-984e-8925a3ac7ce3" providerId="AD" clId="Web-{97F9F579-EE98-7449-F668-27E419E4D5A6}" dt="2021-04-13T07:12:38.764" v="9"/>
          <ac:picMkLst>
            <pc:docMk/>
            <pc:sldMk cId="4033773217" sldId="2134960495"/>
            <ac:picMk id="2" creationId="{A0EBE41E-B623-45C7-8686-8294F45E1728}"/>
          </ac:picMkLst>
        </pc:picChg>
        <pc:cxnChg chg="add del">
          <ac:chgData name="Aaron Bean" userId="S::aaron.bean@veeva.com::943e3fa2-9570-418e-984e-8925a3ac7ce3" providerId="AD" clId="Web-{97F9F579-EE98-7449-F668-27E419E4D5A6}" dt="2021-04-13T07:12:41.936" v="10"/>
          <ac:cxnSpMkLst>
            <pc:docMk/>
            <pc:sldMk cId="4033773217" sldId="2134960495"/>
            <ac:cxnSpMk id="43" creationId="{EDA0A85E-615A-724E-ADEA-5E23EDA0A7A3}"/>
          </ac:cxnSpMkLst>
        </pc:cxnChg>
        <pc:cxnChg chg="add del">
          <ac:chgData name="Aaron Bean" userId="S::aaron.bean@veeva.com::943e3fa2-9570-418e-984e-8925a3ac7ce3" providerId="AD" clId="Web-{97F9F579-EE98-7449-F668-27E419E4D5A6}" dt="2021-04-13T07:12:41.936" v="11"/>
          <ac:cxnSpMkLst>
            <pc:docMk/>
            <pc:sldMk cId="4033773217" sldId="2134960495"/>
            <ac:cxnSpMk id="44" creationId="{686AD045-7FCC-284A-A49A-5042DD94C8DF}"/>
          </ac:cxnSpMkLst>
        </pc:cxnChg>
        <pc:cxnChg chg="add del">
          <ac:chgData name="Aaron Bean" userId="S::aaron.bean@veeva.com::943e3fa2-9570-418e-984e-8925a3ac7ce3" providerId="AD" clId="Web-{97F9F579-EE98-7449-F668-27E419E4D5A6}" dt="2021-04-13T07:12:41.951" v="12"/>
          <ac:cxnSpMkLst>
            <pc:docMk/>
            <pc:sldMk cId="4033773217" sldId="2134960495"/>
            <ac:cxnSpMk id="46" creationId="{86A33BBE-FBCE-9841-9452-FD7523573BAD}"/>
          </ac:cxnSpMkLst>
        </pc:cxnChg>
      </pc:sldChg>
    </pc:docChg>
  </pc:docChgLst>
  <pc:docChgLst>
    <pc:chgData name="Abhinav Mehra" userId="S::abhinav.mehra@veeva.com::141e5876-8d9e-4381-8993-c552c83e5ef4" providerId="AD" clId="Web-{00000000-0000-0000-0000-000000000000}"/>
    <pc:docChg chg="modSld">
      <pc:chgData name="Abhinav Mehra" userId="S::abhinav.mehra@veeva.com::141e5876-8d9e-4381-8993-c552c83e5ef4" providerId="AD" clId="Web-{00000000-0000-0000-0000-000000000000}" dt="2021-04-13T07:47:28.638" v="12" actId="20577"/>
      <pc:docMkLst>
        <pc:docMk/>
      </pc:docMkLst>
      <pc:sldChg chg="modSp">
        <pc:chgData name="Abhinav Mehra" userId="S::abhinav.mehra@veeva.com::141e5876-8d9e-4381-8993-c552c83e5ef4" providerId="AD" clId="Web-{00000000-0000-0000-0000-000000000000}" dt="2021-04-13T07:47:28.638" v="12" actId="20577"/>
        <pc:sldMkLst>
          <pc:docMk/>
          <pc:sldMk cId="3469286485" sldId="2134960260"/>
        </pc:sldMkLst>
        <pc:spChg chg="mod">
          <ac:chgData name="Abhinav Mehra" userId="S::abhinav.mehra@veeva.com::141e5876-8d9e-4381-8993-c552c83e5ef4" providerId="AD" clId="Web-{00000000-0000-0000-0000-000000000000}" dt="2021-04-13T07:47:28.638" v="12" actId="20577"/>
          <ac:spMkLst>
            <pc:docMk/>
            <pc:sldMk cId="3469286485" sldId="2134960260"/>
            <ac:spMk id="7" creationId="{E3B50513-E11F-C540-809C-F0DAE74EC24F}"/>
          </ac:spMkLst>
        </pc:spChg>
      </pc:sldChg>
    </pc:docChg>
  </pc:docChgLst>
  <pc:docChgLst>
    <pc:chgData name="Aaron Bean" userId="S::aaron.bean@veeva.com::943e3fa2-9570-418e-984e-8925a3ac7ce3" providerId="AD" clId="Web-{00000000-0000-0000-0000-000000000000}"/>
    <pc:docChg chg="modSld">
      <pc:chgData name="Aaron Bean" userId="S::aaron.bean@veeva.com::943e3fa2-9570-418e-984e-8925a3ac7ce3" providerId="AD" clId="Web-{00000000-0000-0000-0000-000000000000}" dt="2021-04-14T18:52:49.787" v="671" actId="20577"/>
      <pc:docMkLst>
        <pc:docMk/>
      </pc:docMkLst>
      <pc:sldChg chg="modSp">
        <pc:chgData name="Aaron Bean" userId="S::aaron.bean@veeva.com::943e3fa2-9570-418e-984e-8925a3ac7ce3" providerId="AD" clId="Web-{00000000-0000-0000-0000-000000000000}" dt="2021-04-13T12:42:01.894" v="45"/>
        <pc:sldMkLst>
          <pc:docMk/>
          <pc:sldMk cId="4033773217" sldId="2134960495"/>
        </pc:sldMkLst>
        <pc:spChg chg="mod">
          <ac:chgData name="Aaron Bean" userId="S::aaron.bean@veeva.com::943e3fa2-9570-418e-984e-8925a3ac7ce3" providerId="AD" clId="Web-{00000000-0000-0000-0000-000000000000}" dt="2021-04-13T12:41:30.815" v="33"/>
          <ac:spMkLst>
            <pc:docMk/>
            <pc:sldMk cId="4033773217" sldId="2134960495"/>
            <ac:spMk id="4" creationId="{C833FCBC-A00F-1548-A508-464CF78357FE}"/>
          </ac:spMkLst>
        </pc:spChg>
        <pc:spChg chg="mod">
          <ac:chgData name="Aaron Bean" userId="S::aaron.bean@veeva.com::943e3fa2-9570-418e-984e-8925a3ac7ce3" providerId="AD" clId="Web-{00000000-0000-0000-0000-000000000000}" dt="2021-04-13T12:42:01.894" v="45"/>
          <ac:spMkLst>
            <pc:docMk/>
            <pc:sldMk cId="4033773217" sldId="2134960495"/>
            <ac:spMk id="5" creationId="{E281A5EE-0D43-9040-BB12-5F5BE43F02B6}"/>
          </ac:spMkLst>
        </pc:spChg>
        <pc:spChg chg="mod">
          <ac:chgData name="Aaron Bean" userId="S::aaron.bean@veeva.com::943e3fa2-9570-418e-984e-8925a3ac7ce3" providerId="AD" clId="Web-{00000000-0000-0000-0000-000000000000}" dt="2021-04-13T12:41:30.815" v="31"/>
          <ac:spMkLst>
            <pc:docMk/>
            <pc:sldMk cId="4033773217" sldId="2134960495"/>
            <ac:spMk id="8" creationId="{D78B87EE-C058-F64A-B26E-B6634D464A14}"/>
          </ac:spMkLst>
        </pc:spChg>
        <pc:spChg chg="mod">
          <ac:chgData name="Aaron Bean" userId="S::aaron.bean@veeva.com::943e3fa2-9570-418e-984e-8925a3ac7ce3" providerId="AD" clId="Web-{00000000-0000-0000-0000-000000000000}" dt="2021-04-13T12:41:30.815" v="30"/>
          <ac:spMkLst>
            <pc:docMk/>
            <pc:sldMk cId="4033773217" sldId="2134960495"/>
            <ac:spMk id="10" creationId="{60C89724-F0F7-0248-ABA6-2238A41A38C6}"/>
          </ac:spMkLst>
        </pc:spChg>
        <pc:spChg chg="mod">
          <ac:chgData name="Aaron Bean" userId="S::aaron.bean@veeva.com::943e3fa2-9570-418e-984e-8925a3ac7ce3" providerId="AD" clId="Web-{00000000-0000-0000-0000-000000000000}" dt="2021-04-13T12:42:01.894" v="44"/>
          <ac:spMkLst>
            <pc:docMk/>
            <pc:sldMk cId="4033773217" sldId="2134960495"/>
            <ac:spMk id="13" creationId="{63C4E1FE-0618-D948-89D6-255C582240C3}"/>
          </ac:spMkLst>
        </pc:spChg>
        <pc:spChg chg="mod">
          <ac:chgData name="Aaron Bean" userId="S::aaron.bean@veeva.com::943e3fa2-9570-418e-984e-8925a3ac7ce3" providerId="AD" clId="Web-{00000000-0000-0000-0000-000000000000}" dt="2021-04-13T12:41:30.815" v="27"/>
          <ac:spMkLst>
            <pc:docMk/>
            <pc:sldMk cId="4033773217" sldId="2134960495"/>
            <ac:spMk id="26" creationId="{7F0762A7-AE82-4D46-8FEB-13B7DA9BC43E}"/>
          </ac:spMkLst>
        </pc:spChg>
        <pc:spChg chg="mod">
          <ac:chgData name="Aaron Bean" userId="S::aaron.bean@veeva.com::943e3fa2-9570-418e-984e-8925a3ac7ce3" providerId="AD" clId="Web-{00000000-0000-0000-0000-000000000000}" dt="2021-04-13T12:41:30.815" v="28"/>
          <ac:spMkLst>
            <pc:docMk/>
            <pc:sldMk cId="4033773217" sldId="2134960495"/>
            <ac:spMk id="28" creationId="{C93AD3B1-1C10-184E-A918-25436AA554D3}"/>
          </ac:spMkLst>
        </pc:spChg>
        <pc:spChg chg="mod">
          <ac:chgData name="Aaron Bean" userId="S::aaron.bean@veeva.com::943e3fa2-9570-418e-984e-8925a3ac7ce3" providerId="AD" clId="Web-{00000000-0000-0000-0000-000000000000}" dt="2021-04-13T12:41:30.815" v="26"/>
          <ac:spMkLst>
            <pc:docMk/>
            <pc:sldMk cId="4033773217" sldId="2134960495"/>
            <ac:spMk id="30" creationId="{924E6F51-7D02-6044-A22B-EEAFD5C1DCA9}"/>
          </ac:spMkLst>
        </pc:spChg>
        <pc:spChg chg="mod">
          <ac:chgData name="Aaron Bean" userId="S::aaron.bean@veeva.com::943e3fa2-9570-418e-984e-8925a3ac7ce3" providerId="AD" clId="Web-{00000000-0000-0000-0000-000000000000}" dt="2021-04-13T12:41:30.815" v="25"/>
          <ac:spMkLst>
            <pc:docMk/>
            <pc:sldMk cId="4033773217" sldId="2134960495"/>
            <ac:spMk id="31" creationId="{614747EB-2111-C046-A083-AEB9E486A8CE}"/>
          </ac:spMkLst>
        </pc:spChg>
        <pc:spChg chg="mod">
          <ac:chgData name="Aaron Bean" userId="S::aaron.bean@veeva.com::943e3fa2-9570-418e-984e-8925a3ac7ce3" providerId="AD" clId="Web-{00000000-0000-0000-0000-000000000000}" dt="2021-04-13T12:41:30.815" v="24"/>
          <ac:spMkLst>
            <pc:docMk/>
            <pc:sldMk cId="4033773217" sldId="2134960495"/>
            <ac:spMk id="32" creationId="{64094861-C0C7-AA43-BA4B-F63F725E8170}"/>
          </ac:spMkLst>
        </pc:spChg>
        <pc:spChg chg="mod">
          <ac:chgData name="Aaron Bean" userId="S::aaron.bean@veeva.com::943e3fa2-9570-418e-984e-8925a3ac7ce3" providerId="AD" clId="Web-{00000000-0000-0000-0000-000000000000}" dt="2021-04-13T12:41:30.815" v="23"/>
          <ac:spMkLst>
            <pc:docMk/>
            <pc:sldMk cId="4033773217" sldId="2134960495"/>
            <ac:spMk id="33" creationId="{D8A7BE65-7C7A-9C41-BFA0-280773DE9331}"/>
          </ac:spMkLst>
        </pc:spChg>
        <pc:spChg chg="mod">
          <ac:chgData name="Aaron Bean" userId="S::aaron.bean@veeva.com::943e3fa2-9570-418e-984e-8925a3ac7ce3" providerId="AD" clId="Web-{00000000-0000-0000-0000-000000000000}" dt="2021-04-13T12:41:30.815" v="22"/>
          <ac:spMkLst>
            <pc:docMk/>
            <pc:sldMk cId="4033773217" sldId="2134960495"/>
            <ac:spMk id="34" creationId="{A744C2B0-9658-4F4E-BE2B-0519B297F8F9}"/>
          </ac:spMkLst>
        </pc:spChg>
        <pc:spChg chg="mod">
          <ac:chgData name="Aaron Bean" userId="S::aaron.bean@veeva.com::943e3fa2-9570-418e-984e-8925a3ac7ce3" providerId="AD" clId="Web-{00000000-0000-0000-0000-000000000000}" dt="2021-04-13T12:42:01.894" v="43"/>
          <ac:spMkLst>
            <pc:docMk/>
            <pc:sldMk cId="4033773217" sldId="2134960495"/>
            <ac:spMk id="35" creationId="{8F51EE95-D62A-8042-8723-7052A9BDC65B}"/>
          </ac:spMkLst>
        </pc:spChg>
        <pc:spChg chg="mod">
          <ac:chgData name="Aaron Bean" userId="S::aaron.bean@veeva.com::943e3fa2-9570-418e-984e-8925a3ac7ce3" providerId="AD" clId="Web-{00000000-0000-0000-0000-000000000000}" dt="2021-04-13T12:41:30.815" v="20"/>
          <ac:spMkLst>
            <pc:docMk/>
            <pc:sldMk cId="4033773217" sldId="2134960495"/>
            <ac:spMk id="36" creationId="{D3451BAE-1096-C845-85C6-2D640AA0D8F3}"/>
          </ac:spMkLst>
        </pc:spChg>
      </pc:sldChg>
      <pc:sldChg chg="modSp">
        <pc:chgData name="Aaron Bean" userId="S::aaron.bean@veeva.com::943e3fa2-9570-418e-984e-8925a3ac7ce3" providerId="AD" clId="Web-{00000000-0000-0000-0000-000000000000}" dt="2021-04-14T18:52:49.787" v="671" actId="20577"/>
        <pc:sldMkLst>
          <pc:docMk/>
          <pc:sldMk cId="3211802294" sldId="2141411926"/>
        </pc:sldMkLst>
        <pc:spChg chg="mod">
          <ac:chgData name="Aaron Bean" userId="S::aaron.bean@veeva.com::943e3fa2-9570-418e-984e-8925a3ac7ce3" providerId="AD" clId="Web-{00000000-0000-0000-0000-000000000000}" dt="2021-04-14T18:47:42.369" v="548" actId="1076"/>
          <ac:spMkLst>
            <pc:docMk/>
            <pc:sldMk cId="3211802294" sldId="2141411926"/>
            <ac:spMk id="2" creationId="{9A3D0843-7FC2-D543-B49A-270C050E9594}"/>
          </ac:spMkLst>
        </pc:spChg>
        <pc:spChg chg="mod">
          <ac:chgData name="Aaron Bean" userId="S::aaron.bean@veeva.com::943e3fa2-9570-418e-984e-8925a3ac7ce3" providerId="AD" clId="Web-{00000000-0000-0000-0000-000000000000}" dt="2021-04-14T18:52:49.787" v="671" actId="20577"/>
          <ac:spMkLst>
            <pc:docMk/>
            <pc:sldMk cId="3211802294" sldId="2141411926"/>
            <ac:spMk id="3" creationId="{062E7594-619F-1040-8408-33E1217F230F}"/>
          </ac:spMkLst>
        </pc:spChg>
        <pc:graphicFrameChg chg="mod modGraphic">
          <ac:chgData name="Aaron Bean" userId="S::aaron.bean@veeva.com::943e3fa2-9570-418e-984e-8925a3ac7ce3" providerId="AD" clId="Web-{00000000-0000-0000-0000-000000000000}" dt="2021-04-14T18:47:44.791" v="549" actId="1076"/>
          <ac:graphicFrameMkLst>
            <pc:docMk/>
            <pc:sldMk cId="3211802294" sldId="2141411926"/>
            <ac:graphicFrameMk id="6" creationId="{113CF842-8192-6E44-B53F-3E1E0E4A9828}"/>
          </ac:graphicFrameMkLst>
        </pc:graphicFrameChg>
      </pc:sldChg>
    </pc:docChg>
  </pc:docChgLst>
  <pc:docChgLst>
    <pc:chgData name="Abhinav Mehra" userId="141e5876-8d9e-4381-8993-c552c83e5ef4" providerId="ADAL" clId="{71E7B948-1C0B-D84E-8B97-5F95E8479D7A}"/>
    <pc:docChg chg="custSel modSld">
      <pc:chgData name="Abhinav Mehra" userId="141e5876-8d9e-4381-8993-c552c83e5ef4" providerId="ADAL" clId="{71E7B948-1C0B-D84E-8B97-5F95E8479D7A}" dt="2021-04-13T07:48:54.051" v="4" actId="478"/>
      <pc:docMkLst>
        <pc:docMk/>
      </pc:docMkLst>
      <pc:sldChg chg="delSp modSp mod">
        <pc:chgData name="Abhinav Mehra" userId="141e5876-8d9e-4381-8993-c552c83e5ef4" providerId="ADAL" clId="{71E7B948-1C0B-D84E-8B97-5F95E8479D7A}" dt="2021-04-13T07:48:54.051" v="4" actId="478"/>
        <pc:sldMkLst>
          <pc:docMk/>
          <pc:sldMk cId="3469286485" sldId="2134960260"/>
        </pc:sldMkLst>
        <pc:spChg chg="mod">
          <ac:chgData name="Abhinav Mehra" userId="141e5876-8d9e-4381-8993-c552c83e5ef4" providerId="ADAL" clId="{71E7B948-1C0B-D84E-8B97-5F95E8479D7A}" dt="2021-04-13T07:48:50.628" v="3" actId="20577"/>
          <ac:spMkLst>
            <pc:docMk/>
            <pc:sldMk cId="3469286485" sldId="2134960260"/>
            <ac:spMk id="7" creationId="{E3B50513-E11F-C540-809C-F0DAE74EC24F}"/>
          </ac:spMkLst>
        </pc:spChg>
        <pc:spChg chg="del">
          <ac:chgData name="Abhinav Mehra" userId="141e5876-8d9e-4381-8993-c552c83e5ef4" providerId="ADAL" clId="{71E7B948-1C0B-D84E-8B97-5F95E8479D7A}" dt="2021-04-13T07:48:54.051" v="4" actId="478"/>
          <ac:spMkLst>
            <pc:docMk/>
            <pc:sldMk cId="3469286485" sldId="2134960260"/>
            <ac:spMk id="14" creationId="{2AD0354C-39C4-5E49-BD23-7C5A3E24E20E}"/>
          </ac:spMkLst>
        </pc:spChg>
      </pc:sldChg>
    </pc:docChg>
  </pc:docChgLst>
  <pc:docChgLst>
    <pc:chgData name="Aaron Bean" userId="S::aaron.bean@veeva.com::943e3fa2-9570-418e-984e-8925a3ac7ce3" providerId="AD" clId="Web-{1EE09B8C-4851-9E5E-A191-06C06C9D6F00}"/>
    <pc:docChg chg="delSld modSection">
      <pc:chgData name="Aaron Bean" userId="S::aaron.bean@veeva.com::943e3fa2-9570-418e-984e-8925a3ac7ce3" providerId="AD" clId="Web-{1EE09B8C-4851-9E5E-A191-06C06C9D6F00}" dt="2021-04-13T13:30:36.677" v="0"/>
      <pc:docMkLst>
        <pc:docMk/>
      </pc:docMkLst>
      <pc:sldChg chg="del">
        <pc:chgData name="Aaron Bean" userId="S::aaron.bean@veeva.com::943e3fa2-9570-418e-984e-8925a3ac7ce3" providerId="AD" clId="Web-{1EE09B8C-4851-9E5E-A191-06C06C9D6F00}" dt="2021-04-13T13:30:36.677" v="0"/>
        <pc:sldMkLst>
          <pc:docMk/>
          <pc:sldMk cId="3691072975" sldId="2134960497"/>
        </pc:sldMkLst>
      </pc:sldChg>
    </pc:docChg>
  </pc:docChgLst>
  <pc:docChgLst>
    <pc:chgData name="Victoria Serra G" userId="7b4aef31-56b7-4e27-b65e-764fc5765ec4" providerId="ADAL" clId="{EB641A6A-5631-604E-9482-E1CF6AD842B0}"/>
    <pc:docChg chg="undo custSel addSld delSld modSld sldOrd modMainMaster delSection modSection">
      <pc:chgData name="Victoria Serra G" userId="7b4aef31-56b7-4e27-b65e-764fc5765ec4" providerId="ADAL" clId="{EB641A6A-5631-604E-9482-E1CF6AD842B0}" dt="2021-04-15T15:59:13.303" v="3824" actId="21"/>
      <pc:docMkLst>
        <pc:docMk/>
      </pc:docMkLst>
      <pc:sldChg chg="del">
        <pc:chgData name="Victoria Serra G" userId="7b4aef31-56b7-4e27-b65e-764fc5765ec4" providerId="ADAL" clId="{EB641A6A-5631-604E-9482-E1CF6AD842B0}" dt="2021-04-13T07:26:44.941" v="68" actId="2696"/>
        <pc:sldMkLst>
          <pc:docMk/>
          <pc:sldMk cId="1888876526" sldId="1064"/>
        </pc:sldMkLst>
      </pc:sldChg>
      <pc:sldChg chg="del">
        <pc:chgData name="Victoria Serra G" userId="7b4aef31-56b7-4e27-b65e-764fc5765ec4" providerId="ADAL" clId="{EB641A6A-5631-604E-9482-E1CF6AD842B0}" dt="2021-04-13T07:26:44.941" v="68" actId="2696"/>
        <pc:sldMkLst>
          <pc:docMk/>
          <pc:sldMk cId="375789729" sldId="8957"/>
        </pc:sldMkLst>
      </pc:sldChg>
      <pc:sldChg chg="modSp mod">
        <pc:chgData name="Victoria Serra G" userId="7b4aef31-56b7-4e27-b65e-764fc5765ec4" providerId="ADAL" clId="{EB641A6A-5631-604E-9482-E1CF6AD842B0}" dt="2021-04-13T14:15:50.466" v="3723" actId="20577"/>
        <pc:sldMkLst>
          <pc:docMk/>
          <pc:sldMk cId="149196871" sldId="9038"/>
        </pc:sldMkLst>
        <pc:spChg chg="mod">
          <ac:chgData name="Victoria Serra G" userId="7b4aef31-56b7-4e27-b65e-764fc5765ec4" providerId="ADAL" clId="{EB641A6A-5631-604E-9482-E1CF6AD842B0}" dt="2021-04-13T09:58:30.469" v="2844" actId="255"/>
          <ac:spMkLst>
            <pc:docMk/>
            <pc:sldMk cId="149196871" sldId="9038"/>
            <ac:spMk id="2" creationId="{A7CFD804-A5B5-5E40-903F-C807E5B7979C}"/>
          </ac:spMkLst>
        </pc:spChg>
        <pc:spChg chg="mod">
          <ac:chgData name="Victoria Serra G" userId="7b4aef31-56b7-4e27-b65e-764fc5765ec4" providerId="ADAL" clId="{EB641A6A-5631-604E-9482-E1CF6AD842B0}" dt="2021-04-13T14:15:50.466" v="3723" actId="20577"/>
          <ac:spMkLst>
            <pc:docMk/>
            <pc:sldMk cId="149196871" sldId="9038"/>
            <ac:spMk id="22" creationId="{F934385D-7FAF-664F-BC1C-D3DD8532802F}"/>
          </ac:spMkLst>
        </pc:spChg>
        <pc:spChg chg="mod">
          <ac:chgData name="Victoria Serra G" userId="7b4aef31-56b7-4e27-b65e-764fc5765ec4" providerId="ADAL" clId="{EB641A6A-5631-604E-9482-E1CF6AD842B0}" dt="2021-04-13T14:15:42.414" v="3696"/>
          <ac:spMkLst>
            <pc:docMk/>
            <pc:sldMk cId="149196871" sldId="9038"/>
            <ac:spMk id="23" creationId="{AE497C13-6756-9F4F-8A9B-C315903EEA5F}"/>
          </ac:spMkLst>
        </pc:spChg>
      </pc:sldChg>
      <pc:sldChg chg="modSp mod">
        <pc:chgData name="Victoria Serra G" userId="7b4aef31-56b7-4e27-b65e-764fc5765ec4" providerId="ADAL" clId="{EB641A6A-5631-604E-9482-E1CF6AD842B0}" dt="2021-04-13T10:59:57.532" v="2988" actId="20577"/>
        <pc:sldMkLst>
          <pc:docMk/>
          <pc:sldMk cId="1679327174" sldId="9424"/>
        </pc:sldMkLst>
        <pc:spChg chg="mod">
          <ac:chgData name="Victoria Serra G" userId="7b4aef31-56b7-4e27-b65e-764fc5765ec4" providerId="ADAL" clId="{EB641A6A-5631-604E-9482-E1CF6AD842B0}" dt="2021-04-13T10:59:57.532" v="2988" actId="20577"/>
          <ac:spMkLst>
            <pc:docMk/>
            <pc:sldMk cId="1679327174" sldId="9424"/>
            <ac:spMk id="20" creationId="{4AA4116D-5007-5448-A37B-9F7571CE3996}"/>
          </ac:spMkLst>
        </pc:spChg>
      </pc:sldChg>
      <pc:sldChg chg="modSp add mod">
        <pc:chgData name="Victoria Serra G" userId="7b4aef31-56b7-4e27-b65e-764fc5765ec4" providerId="ADAL" clId="{EB641A6A-5631-604E-9482-E1CF6AD842B0}" dt="2021-04-14T18:56:53.769" v="3822" actId="207"/>
        <pc:sldMkLst>
          <pc:docMk/>
          <pc:sldMk cId="3863951712" sldId="9426"/>
        </pc:sldMkLst>
        <pc:spChg chg="mod">
          <ac:chgData name="Victoria Serra G" userId="7b4aef31-56b7-4e27-b65e-764fc5765ec4" providerId="ADAL" clId="{EB641A6A-5631-604E-9482-E1CF6AD842B0}" dt="2021-04-14T18:56:49.296" v="3821" actId="2711"/>
          <ac:spMkLst>
            <pc:docMk/>
            <pc:sldMk cId="3863951712" sldId="9426"/>
            <ac:spMk id="4" creationId="{6CB91D48-D94E-AD42-A5FD-111310016838}"/>
          </ac:spMkLst>
        </pc:spChg>
        <pc:spChg chg="mod">
          <ac:chgData name="Victoria Serra G" userId="7b4aef31-56b7-4e27-b65e-764fc5765ec4" providerId="ADAL" clId="{EB641A6A-5631-604E-9482-E1CF6AD842B0}" dt="2021-04-14T18:56:49.296" v="3821" actId="2711"/>
          <ac:spMkLst>
            <pc:docMk/>
            <pc:sldMk cId="3863951712" sldId="9426"/>
            <ac:spMk id="6" creationId="{54D34A06-5E17-A349-AE75-7D0CB67F2829}"/>
          </ac:spMkLst>
        </pc:spChg>
        <pc:spChg chg="mod">
          <ac:chgData name="Victoria Serra G" userId="7b4aef31-56b7-4e27-b65e-764fc5765ec4" providerId="ADAL" clId="{EB641A6A-5631-604E-9482-E1CF6AD842B0}" dt="2021-04-14T18:56:49.296" v="3821" actId="2711"/>
          <ac:spMkLst>
            <pc:docMk/>
            <pc:sldMk cId="3863951712" sldId="9426"/>
            <ac:spMk id="7" creationId="{965A0244-CBD8-FA48-B453-4B33F71693EF}"/>
          </ac:spMkLst>
        </pc:spChg>
        <pc:spChg chg="mod">
          <ac:chgData name="Victoria Serra G" userId="7b4aef31-56b7-4e27-b65e-764fc5765ec4" providerId="ADAL" clId="{EB641A6A-5631-604E-9482-E1CF6AD842B0}" dt="2021-04-14T18:56:49.296" v="3821" actId="2711"/>
          <ac:spMkLst>
            <pc:docMk/>
            <pc:sldMk cId="3863951712" sldId="9426"/>
            <ac:spMk id="8" creationId="{A1EE7C23-B363-4B4C-B9E4-634CDAD3C36D}"/>
          </ac:spMkLst>
        </pc:spChg>
        <pc:spChg chg="mod">
          <ac:chgData name="Victoria Serra G" userId="7b4aef31-56b7-4e27-b65e-764fc5765ec4" providerId="ADAL" clId="{EB641A6A-5631-604E-9482-E1CF6AD842B0}" dt="2021-04-14T18:56:49.296" v="3821" actId="2711"/>
          <ac:spMkLst>
            <pc:docMk/>
            <pc:sldMk cId="3863951712" sldId="9426"/>
            <ac:spMk id="9" creationId="{2FA8DDBD-A12A-5E47-911E-4F5F8400AD99}"/>
          </ac:spMkLst>
        </pc:spChg>
        <pc:spChg chg="mod">
          <ac:chgData name="Victoria Serra G" userId="7b4aef31-56b7-4e27-b65e-764fc5765ec4" providerId="ADAL" clId="{EB641A6A-5631-604E-9482-E1CF6AD842B0}" dt="2021-04-14T18:56:49.296" v="3821" actId="2711"/>
          <ac:spMkLst>
            <pc:docMk/>
            <pc:sldMk cId="3863951712" sldId="9426"/>
            <ac:spMk id="10" creationId="{BFCBC578-C354-9444-98FA-E7038C299531}"/>
          </ac:spMkLst>
        </pc:spChg>
        <pc:spChg chg="mod">
          <ac:chgData name="Victoria Serra G" userId="7b4aef31-56b7-4e27-b65e-764fc5765ec4" providerId="ADAL" clId="{EB641A6A-5631-604E-9482-E1CF6AD842B0}" dt="2021-04-14T18:56:49.296" v="3821" actId="2711"/>
          <ac:spMkLst>
            <pc:docMk/>
            <pc:sldMk cId="3863951712" sldId="9426"/>
            <ac:spMk id="11" creationId="{D4D0EB44-4930-5C49-8C48-EE85B4199AC1}"/>
          </ac:spMkLst>
        </pc:spChg>
        <pc:spChg chg="mod">
          <ac:chgData name="Victoria Serra G" userId="7b4aef31-56b7-4e27-b65e-764fc5765ec4" providerId="ADAL" clId="{EB641A6A-5631-604E-9482-E1CF6AD842B0}" dt="2021-04-14T18:56:49.296" v="3821" actId="2711"/>
          <ac:spMkLst>
            <pc:docMk/>
            <pc:sldMk cId="3863951712" sldId="9426"/>
            <ac:spMk id="12" creationId="{E8B334BC-0830-9440-825C-2DA792454666}"/>
          </ac:spMkLst>
        </pc:spChg>
        <pc:spChg chg="mod">
          <ac:chgData name="Victoria Serra G" userId="7b4aef31-56b7-4e27-b65e-764fc5765ec4" providerId="ADAL" clId="{EB641A6A-5631-604E-9482-E1CF6AD842B0}" dt="2021-04-14T18:56:53.769" v="3822" actId="207"/>
          <ac:spMkLst>
            <pc:docMk/>
            <pc:sldMk cId="3863951712" sldId="9426"/>
            <ac:spMk id="13" creationId="{970954C0-3F98-2147-8B40-B411449957F2}"/>
          </ac:spMkLst>
        </pc:spChg>
        <pc:spChg chg="mod">
          <ac:chgData name="Victoria Serra G" userId="7b4aef31-56b7-4e27-b65e-764fc5765ec4" providerId="ADAL" clId="{EB641A6A-5631-604E-9482-E1CF6AD842B0}" dt="2021-04-14T18:56:49.296" v="3821" actId="2711"/>
          <ac:spMkLst>
            <pc:docMk/>
            <pc:sldMk cId="3863951712" sldId="9426"/>
            <ac:spMk id="21" creationId="{0275279E-C62C-E545-8C67-15D13DF77B27}"/>
          </ac:spMkLst>
        </pc:spChg>
        <pc:grpChg chg="mod">
          <ac:chgData name="Victoria Serra G" userId="7b4aef31-56b7-4e27-b65e-764fc5765ec4" providerId="ADAL" clId="{EB641A6A-5631-604E-9482-E1CF6AD842B0}" dt="2021-04-14T18:56:49.296" v="3821" actId="2711"/>
          <ac:grpSpMkLst>
            <pc:docMk/>
            <pc:sldMk cId="3863951712" sldId="9426"/>
            <ac:grpSpMk id="14" creationId="{A958504B-6A19-354C-88E6-445B6E5F69B5}"/>
          </ac:grpSpMkLst>
        </pc:grpChg>
        <pc:picChg chg="mod">
          <ac:chgData name="Victoria Serra G" userId="7b4aef31-56b7-4e27-b65e-764fc5765ec4" providerId="ADAL" clId="{EB641A6A-5631-604E-9482-E1CF6AD842B0}" dt="2021-04-14T18:56:49.296" v="3821" actId="2711"/>
          <ac:picMkLst>
            <pc:docMk/>
            <pc:sldMk cId="3863951712" sldId="9426"/>
            <ac:picMk id="5" creationId="{6BBE2257-F957-7C47-9283-772A6F925765}"/>
          </ac:picMkLst>
        </pc:picChg>
        <pc:picChg chg="mod">
          <ac:chgData name="Victoria Serra G" userId="7b4aef31-56b7-4e27-b65e-764fc5765ec4" providerId="ADAL" clId="{EB641A6A-5631-604E-9482-E1CF6AD842B0}" dt="2021-04-14T18:56:49.296" v="3821" actId="2711"/>
          <ac:picMkLst>
            <pc:docMk/>
            <pc:sldMk cId="3863951712" sldId="9426"/>
            <ac:picMk id="22" creationId="{CE66FC53-DC53-3248-8BEE-D9889FDF0887}"/>
          </ac:picMkLst>
        </pc:picChg>
        <pc:picChg chg="mod">
          <ac:chgData name="Victoria Serra G" userId="7b4aef31-56b7-4e27-b65e-764fc5765ec4" providerId="ADAL" clId="{EB641A6A-5631-604E-9482-E1CF6AD842B0}" dt="2021-04-14T18:56:49.296" v="3821" actId="2711"/>
          <ac:picMkLst>
            <pc:docMk/>
            <pc:sldMk cId="3863951712" sldId="9426"/>
            <ac:picMk id="23" creationId="{5A8BD029-8776-5448-948E-5642B566EE3E}"/>
          </ac:picMkLst>
        </pc:picChg>
        <pc:picChg chg="mod">
          <ac:chgData name="Victoria Serra G" userId="7b4aef31-56b7-4e27-b65e-764fc5765ec4" providerId="ADAL" clId="{EB641A6A-5631-604E-9482-E1CF6AD842B0}" dt="2021-04-14T18:56:49.296" v="3821" actId="2711"/>
          <ac:picMkLst>
            <pc:docMk/>
            <pc:sldMk cId="3863951712" sldId="9426"/>
            <ac:picMk id="24" creationId="{F76B83D1-26D9-E141-8567-C33C70B02B05}"/>
          </ac:picMkLst>
        </pc:picChg>
      </pc:sldChg>
      <pc:sldChg chg="addSp modSp mod">
        <pc:chgData name="Victoria Serra G" userId="7b4aef31-56b7-4e27-b65e-764fc5765ec4" providerId="ADAL" clId="{EB641A6A-5631-604E-9482-E1CF6AD842B0}" dt="2021-04-13T12:59:02.822" v="3575" actId="20577"/>
        <pc:sldMkLst>
          <pc:docMk/>
          <pc:sldMk cId="2884331996" sldId="838840327"/>
        </pc:sldMkLst>
        <pc:spChg chg="add mod">
          <ac:chgData name="Victoria Serra G" userId="7b4aef31-56b7-4e27-b65e-764fc5765ec4" providerId="ADAL" clId="{EB641A6A-5631-604E-9482-E1CF6AD842B0}" dt="2021-04-13T12:49:48.627" v="3453" actId="20577"/>
          <ac:spMkLst>
            <pc:docMk/>
            <pc:sldMk cId="2884331996" sldId="838840327"/>
            <ac:spMk id="2" creationId="{D83E03DF-103B-9D4E-A410-2C1D66667EF2}"/>
          </ac:spMkLst>
        </pc:spChg>
        <pc:spChg chg="mod">
          <ac:chgData name="Victoria Serra G" userId="7b4aef31-56b7-4e27-b65e-764fc5765ec4" providerId="ADAL" clId="{EB641A6A-5631-604E-9482-E1CF6AD842B0}" dt="2021-04-13T12:59:02.822" v="3575" actId="20577"/>
          <ac:spMkLst>
            <pc:docMk/>
            <pc:sldMk cId="2884331996" sldId="838840327"/>
            <ac:spMk id="3" creationId="{B17A06C6-4D60-E043-B067-727D999DF628}"/>
          </ac:spMkLst>
        </pc:spChg>
      </pc:sldChg>
      <pc:sldChg chg="addSp modSp mod">
        <pc:chgData name="Victoria Serra G" userId="7b4aef31-56b7-4e27-b65e-764fc5765ec4" providerId="ADAL" clId="{EB641A6A-5631-604E-9482-E1CF6AD842B0}" dt="2021-04-13T12:59:13.274" v="3584" actId="20577"/>
        <pc:sldMkLst>
          <pc:docMk/>
          <pc:sldMk cId="3484627902" sldId="838840328"/>
        </pc:sldMkLst>
        <pc:spChg chg="mod">
          <ac:chgData name="Victoria Serra G" userId="7b4aef31-56b7-4e27-b65e-764fc5765ec4" providerId="ADAL" clId="{EB641A6A-5631-604E-9482-E1CF6AD842B0}" dt="2021-04-13T12:59:13.274" v="3584" actId="20577"/>
          <ac:spMkLst>
            <pc:docMk/>
            <pc:sldMk cId="3484627902" sldId="838840328"/>
            <ac:spMk id="3" creationId="{B17A06C6-4D60-E043-B067-727D999DF628}"/>
          </ac:spMkLst>
        </pc:spChg>
        <pc:spChg chg="add mod">
          <ac:chgData name="Victoria Serra G" userId="7b4aef31-56b7-4e27-b65e-764fc5765ec4" providerId="ADAL" clId="{EB641A6A-5631-604E-9482-E1CF6AD842B0}" dt="2021-04-13T12:49:58.392" v="3456"/>
          <ac:spMkLst>
            <pc:docMk/>
            <pc:sldMk cId="3484627902" sldId="838840328"/>
            <ac:spMk id="15" creationId="{DD115BF3-A115-7E44-AFA4-E5181AAA7481}"/>
          </ac:spMkLst>
        </pc:spChg>
      </pc:sldChg>
      <pc:sldChg chg="del">
        <pc:chgData name="Victoria Serra G" userId="7b4aef31-56b7-4e27-b65e-764fc5765ec4" providerId="ADAL" clId="{EB641A6A-5631-604E-9482-E1CF6AD842B0}" dt="2021-04-13T07:26:44.941" v="68" actId="2696"/>
        <pc:sldMkLst>
          <pc:docMk/>
          <pc:sldMk cId="863632360" sldId="1993218999"/>
        </pc:sldMkLst>
      </pc:sldChg>
      <pc:sldChg chg="addSp delSp modSp mod chgLayout">
        <pc:chgData name="Victoria Serra G" userId="7b4aef31-56b7-4e27-b65e-764fc5765ec4" providerId="ADAL" clId="{EB641A6A-5631-604E-9482-E1CF6AD842B0}" dt="2021-04-13T10:02:00.899" v="2976" actId="108"/>
        <pc:sldMkLst>
          <pc:docMk/>
          <pc:sldMk cId="3771095311" sldId="2134960218"/>
        </pc:sldMkLst>
        <pc:spChg chg="add del mod">
          <ac:chgData name="Victoria Serra G" userId="7b4aef31-56b7-4e27-b65e-764fc5765ec4" providerId="ADAL" clId="{EB641A6A-5631-604E-9482-E1CF6AD842B0}" dt="2021-04-13T08:21:47.162" v="1932" actId="478"/>
          <ac:spMkLst>
            <pc:docMk/>
            <pc:sldMk cId="3771095311" sldId="2134960218"/>
            <ac:spMk id="2" creationId="{A1AD443E-4D06-4D48-BC1A-F3E3299ACD57}"/>
          </ac:spMkLst>
        </pc:spChg>
        <pc:spChg chg="mod ord">
          <ac:chgData name="Victoria Serra G" userId="7b4aef31-56b7-4e27-b65e-764fc5765ec4" providerId="ADAL" clId="{EB641A6A-5631-604E-9482-E1CF6AD842B0}" dt="2021-04-13T10:02:00.899" v="2976" actId="108"/>
          <ac:spMkLst>
            <pc:docMk/>
            <pc:sldMk cId="3771095311" sldId="2134960218"/>
            <ac:spMk id="3" creationId="{B473E39C-FE51-2C46-A562-F8FBC645A45D}"/>
          </ac:spMkLst>
        </pc:spChg>
        <pc:spChg chg="add del mod">
          <ac:chgData name="Victoria Serra G" userId="7b4aef31-56b7-4e27-b65e-764fc5765ec4" providerId="ADAL" clId="{EB641A6A-5631-604E-9482-E1CF6AD842B0}" dt="2021-04-13T09:59:09.469" v="2846" actId="478"/>
          <ac:spMkLst>
            <pc:docMk/>
            <pc:sldMk cId="3771095311" sldId="2134960218"/>
            <ac:spMk id="10" creationId="{22DA97A1-A286-9543-888B-B3F0D48288D1}"/>
          </ac:spMkLst>
        </pc:spChg>
        <pc:spChg chg="add del mod">
          <ac:chgData name="Victoria Serra G" userId="7b4aef31-56b7-4e27-b65e-764fc5765ec4" providerId="ADAL" clId="{EB641A6A-5631-604E-9482-E1CF6AD842B0}" dt="2021-04-13T08:21:47.162" v="1932" actId="478"/>
          <ac:spMkLst>
            <pc:docMk/>
            <pc:sldMk cId="3771095311" sldId="2134960218"/>
            <ac:spMk id="15" creationId="{5C99AE2F-A9FF-6346-B2FE-186BDF8E0084}"/>
          </ac:spMkLst>
        </pc:spChg>
        <pc:spChg chg="add del mod">
          <ac:chgData name="Victoria Serra G" userId="7b4aef31-56b7-4e27-b65e-764fc5765ec4" providerId="ADAL" clId="{EB641A6A-5631-604E-9482-E1CF6AD842B0}" dt="2021-04-13T08:21:03.862" v="1901" actId="478"/>
          <ac:spMkLst>
            <pc:docMk/>
            <pc:sldMk cId="3771095311" sldId="2134960218"/>
            <ac:spMk id="16" creationId="{7628F8E1-6935-F441-9EF2-F5C0E8910F57}"/>
          </ac:spMkLst>
        </pc:spChg>
        <pc:spChg chg="mod">
          <ac:chgData name="Victoria Serra G" userId="7b4aef31-56b7-4e27-b65e-764fc5765ec4" providerId="ADAL" clId="{EB641A6A-5631-604E-9482-E1CF6AD842B0}" dt="2021-04-13T10:00:53.122" v="2955" actId="552"/>
          <ac:spMkLst>
            <pc:docMk/>
            <pc:sldMk cId="3771095311" sldId="2134960218"/>
            <ac:spMk id="35" creationId="{2AFAD184-34BC-3A4F-B6A6-D13D8B3DDF09}"/>
          </ac:spMkLst>
        </pc:spChg>
        <pc:spChg chg="mod topLvl">
          <ac:chgData name="Victoria Serra G" userId="7b4aef31-56b7-4e27-b65e-764fc5765ec4" providerId="ADAL" clId="{EB641A6A-5631-604E-9482-E1CF6AD842B0}" dt="2021-04-13T10:00:58.181" v="2964" actId="1037"/>
          <ac:spMkLst>
            <pc:docMk/>
            <pc:sldMk cId="3771095311" sldId="2134960218"/>
            <ac:spMk id="36" creationId="{24A771CC-CA98-CB40-B8F9-836CF81EB7F7}"/>
          </ac:spMkLst>
        </pc:spChg>
        <pc:spChg chg="mod">
          <ac:chgData name="Victoria Serra G" userId="7b4aef31-56b7-4e27-b65e-764fc5765ec4" providerId="ADAL" clId="{EB641A6A-5631-604E-9482-E1CF6AD842B0}" dt="2021-04-13T10:00:58.181" v="2964" actId="1037"/>
          <ac:spMkLst>
            <pc:docMk/>
            <pc:sldMk cId="3771095311" sldId="2134960218"/>
            <ac:spMk id="37" creationId="{26A8871C-4EE2-D94F-948A-17B4E33D0F73}"/>
          </ac:spMkLst>
        </pc:spChg>
        <pc:spChg chg="mod topLvl">
          <ac:chgData name="Victoria Serra G" userId="7b4aef31-56b7-4e27-b65e-764fc5765ec4" providerId="ADAL" clId="{EB641A6A-5631-604E-9482-E1CF6AD842B0}" dt="2021-04-13T10:00:58.181" v="2964" actId="1037"/>
          <ac:spMkLst>
            <pc:docMk/>
            <pc:sldMk cId="3771095311" sldId="2134960218"/>
            <ac:spMk id="41" creationId="{4C86E4DB-A591-474E-903B-85C0DBCDEEBB}"/>
          </ac:spMkLst>
        </pc:spChg>
        <pc:spChg chg="mod topLvl">
          <ac:chgData name="Victoria Serra G" userId="7b4aef31-56b7-4e27-b65e-764fc5765ec4" providerId="ADAL" clId="{EB641A6A-5631-604E-9482-E1CF6AD842B0}" dt="2021-04-13T10:00:58.181" v="2964" actId="1037"/>
          <ac:spMkLst>
            <pc:docMk/>
            <pc:sldMk cId="3771095311" sldId="2134960218"/>
            <ac:spMk id="42" creationId="{ED09729C-005D-D946-A78C-B6C09FF72BF7}"/>
          </ac:spMkLst>
        </pc:spChg>
        <pc:grpChg chg="add del mod">
          <ac:chgData name="Victoria Serra G" userId="7b4aef31-56b7-4e27-b65e-764fc5765ec4" providerId="ADAL" clId="{EB641A6A-5631-604E-9482-E1CF6AD842B0}" dt="2021-04-13T10:00:38.802" v="2952" actId="165"/>
          <ac:grpSpMkLst>
            <pc:docMk/>
            <pc:sldMk cId="3771095311" sldId="2134960218"/>
            <ac:grpSpMk id="5" creationId="{FF3DBC10-6985-9548-A0BB-01E68183EDCF}"/>
          </ac:grpSpMkLst>
        </pc:grpChg>
        <pc:grpChg chg="add del mod">
          <ac:chgData name="Victoria Serra G" userId="7b4aef31-56b7-4e27-b65e-764fc5765ec4" providerId="ADAL" clId="{EB641A6A-5631-604E-9482-E1CF6AD842B0}" dt="2021-04-13T10:00:38.802" v="2952" actId="165"/>
          <ac:grpSpMkLst>
            <pc:docMk/>
            <pc:sldMk cId="3771095311" sldId="2134960218"/>
            <ac:grpSpMk id="7" creationId="{2DC12711-FFE0-C246-9573-1142458A94B9}"/>
          </ac:grpSpMkLst>
        </pc:grpChg>
        <pc:grpChg chg="add del mod">
          <ac:chgData name="Victoria Serra G" userId="7b4aef31-56b7-4e27-b65e-764fc5765ec4" providerId="ADAL" clId="{EB641A6A-5631-604E-9482-E1CF6AD842B0}" dt="2021-04-13T10:00:38.802" v="2952" actId="165"/>
          <ac:grpSpMkLst>
            <pc:docMk/>
            <pc:sldMk cId="3771095311" sldId="2134960218"/>
            <ac:grpSpMk id="9" creationId="{56F58F4D-4086-DB49-94E0-965A0FE54D80}"/>
          </ac:grpSpMkLst>
        </pc:grpChg>
        <pc:picChg chg="mod topLvl">
          <ac:chgData name="Victoria Serra G" userId="7b4aef31-56b7-4e27-b65e-764fc5765ec4" providerId="ADAL" clId="{EB641A6A-5631-604E-9482-E1CF6AD842B0}" dt="2021-04-13T10:01:10.166" v="2966" actId="14100"/>
          <ac:picMkLst>
            <pc:docMk/>
            <pc:sldMk cId="3771095311" sldId="2134960218"/>
            <ac:picMk id="4" creationId="{9591F6BB-8494-0B40-A42C-AC55AD410D83}"/>
          </ac:picMkLst>
        </pc:picChg>
        <pc:picChg chg="mod topLvl">
          <ac:chgData name="Victoria Serra G" userId="7b4aef31-56b7-4e27-b65e-764fc5765ec4" providerId="ADAL" clId="{EB641A6A-5631-604E-9482-E1CF6AD842B0}" dt="2021-04-13T10:01:32.301" v="2969" actId="14100"/>
          <ac:picMkLst>
            <pc:docMk/>
            <pc:sldMk cId="3771095311" sldId="2134960218"/>
            <ac:picMk id="6" creationId="{F900DBCE-FC13-BE43-932B-2E8CE0DFAE06}"/>
          </ac:picMkLst>
        </pc:picChg>
        <pc:picChg chg="mod topLvl">
          <ac:chgData name="Victoria Serra G" userId="7b4aef31-56b7-4e27-b65e-764fc5765ec4" providerId="ADAL" clId="{EB641A6A-5631-604E-9482-E1CF6AD842B0}" dt="2021-04-13T10:01:34.867" v="2973" actId="14100"/>
          <ac:picMkLst>
            <pc:docMk/>
            <pc:sldMk cId="3771095311" sldId="2134960218"/>
            <ac:picMk id="8" creationId="{86104ED7-A1A7-A545-A93F-EE6C234369F6}"/>
          </ac:picMkLst>
        </pc:picChg>
        <pc:picChg chg="add del mod">
          <ac:chgData name="Victoria Serra G" userId="7b4aef31-56b7-4e27-b65e-764fc5765ec4" providerId="ADAL" clId="{EB641A6A-5631-604E-9482-E1CF6AD842B0}" dt="2021-04-13T08:21:03.862" v="1901" actId="478"/>
          <ac:picMkLst>
            <pc:docMk/>
            <pc:sldMk cId="3771095311" sldId="2134960218"/>
            <ac:picMk id="17" creationId="{B9A427A4-B8DA-E042-B30B-2C6D07CA1611}"/>
          </ac:picMkLst>
        </pc:picChg>
        <pc:cxnChg chg="mod">
          <ac:chgData name="Victoria Serra G" userId="7b4aef31-56b7-4e27-b65e-764fc5765ec4" providerId="ADAL" clId="{EB641A6A-5631-604E-9482-E1CF6AD842B0}" dt="2021-04-13T10:00:58.181" v="2964" actId="1037"/>
          <ac:cxnSpMkLst>
            <pc:docMk/>
            <pc:sldMk cId="3771095311" sldId="2134960218"/>
            <ac:cxnSpMk id="31" creationId="{B34DFECB-9BDE-9642-A6A3-6008D03D3126}"/>
          </ac:cxnSpMkLst>
        </pc:cxnChg>
        <pc:cxnChg chg="mod">
          <ac:chgData name="Victoria Serra G" userId="7b4aef31-56b7-4e27-b65e-764fc5765ec4" providerId="ADAL" clId="{EB641A6A-5631-604E-9482-E1CF6AD842B0}" dt="2021-04-13T10:00:53.122" v="2955" actId="552"/>
          <ac:cxnSpMkLst>
            <pc:docMk/>
            <pc:sldMk cId="3771095311" sldId="2134960218"/>
            <ac:cxnSpMk id="40" creationId="{6EA7A6AF-5AF1-BE48-8BCE-2F8879A0798E}"/>
          </ac:cxnSpMkLst>
        </pc:cxnChg>
      </pc:sldChg>
      <pc:sldChg chg="addSp modSp mod">
        <pc:chgData name="Victoria Serra G" userId="7b4aef31-56b7-4e27-b65e-764fc5765ec4" providerId="ADAL" clId="{EB641A6A-5631-604E-9482-E1CF6AD842B0}" dt="2021-04-13T12:59:10.146" v="3581" actId="20577"/>
        <pc:sldMkLst>
          <pc:docMk/>
          <pc:sldMk cId="2568197872" sldId="2134960253"/>
        </pc:sldMkLst>
        <pc:spChg chg="mod">
          <ac:chgData name="Victoria Serra G" userId="7b4aef31-56b7-4e27-b65e-764fc5765ec4" providerId="ADAL" clId="{EB641A6A-5631-604E-9482-E1CF6AD842B0}" dt="2021-04-13T12:59:10.146" v="3581" actId="20577"/>
          <ac:spMkLst>
            <pc:docMk/>
            <pc:sldMk cId="2568197872" sldId="2134960253"/>
            <ac:spMk id="3" creationId="{B17A06C6-4D60-E043-B067-727D999DF628}"/>
          </ac:spMkLst>
        </pc:spChg>
        <pc:spChg chg="add mod">
          <ac:chgData name="Victoria Serra G" userId="7b4aef31-56b7-4e27-b65e-764fc5765ec4" providerId="ADAL" clId="{EB641A6A-5631-604E-9482-E1CF6AD842B0}" dt="2021-04-13T12:49:55.521" v="3455"/>
          <ac:spMkLst>
            <pc:docMk/>
            <pc:sldMk cId="2568197872" sldId="2134960253"/>
            <ac:spMk id="22" creationId="{B6DF5BF6-746A-454D-B7F3-F65656893B9B}"/>
          </ac:spMkLst>
        </pc:spChg>
      </pc:sldChg>
      <pc:sldChg chg="addSp modSp mod">
        <pc:chgData name="Victoria Serra G" userId="7b4aef31-56b7-4e27-b65e-764fc5765ec4" providerId="ADAL" clId="{EB641A6A-5631-604E-9482-E1CF6AD842B0}" dt="2021-04-13T12:59:16.413" v="3587" actId="20577"/>
        <pc:sldMkLst>
          <pc:docMk/>
          <pc:sldMk cId="3880691758" sldId="2134960257"/>
        </pc:sldMkLst>
        <pc:spChg chg="mod">
          <ac:chgData name="Victoria Serra G" userId="7b4aef31-56b7-4e27-b65e-764fc5765ec4" providerId="ADAL" clId="{EB641A6A-5631-604E-9482-E1CF6AD842B0}" dt="2021-04-13T12:59:16.413" v="3587" actId="20577"/>
          <ac:spMkLst>
            <pc:docMk/>
            <pc:sldMk cId="3880691758" sldId="2134960257"/>
            <ac:spMk id="3" creationId="{792AB288-BB60-4BB2-8A36-53AA5EAB0758}"/>
          </ac:spMkLst>
        </pc:spChg>
        <pc:spChg chg="add mod">
          <ac:chgData name="Victoria Serra G" userId="7b4aef31-56b7-4e27-b65e-764fc5765ec4" providerId="ADAL" clId="{EB641A6A-5631-604E-9482-E1CF6AD842B0}" dt="2021-04-13T12:50:01.478" v="3457"/>
          <ac:spMkLst>
            <pc:docMk/>
            <pc:sldMk cId="3880691758" sldId="2134960257"/>
            <ac:spMk id="16" creationId="{C6B7C889-73AC-2A45-8211-94D036E29AED}"/>
          </ac:spMkLst>
        </pc:spChg>
      </pc:sldChg>
      <pc:sldChg chg="addSp delSp modSp del mod">
        <pc:chgData name="Victoria Serra G" userId="7b4aef31-56b7-4e27-b65e-764fc5765ec4" providerId="ADAL" clId="{EB641A6A-5631-604E-9482-E1CF6AD842B0}" dt="2021-04-13T09:10:21.299" v="2730" actId="2696"/>
        <pc:sldMkLst>
          <pc:docMk/>
          <pc:sldMk cId="3469286485" sldId="2134960260"/>
        </pc:sldMkLst>
        <pc:spChg chg="add mod">
          <ac:chgData name="Victoria Serra G" userId="7b4aef31-56b7-4e27-b65e-764fc5765ec4" providerId="ADAL" clId="{EB641A6A-5631-604E-9482-E1CF6AD842B0}" dt="2021-04-13T08:42:38.578" v="2143" actId="20577"/>
          <ac:spMkLst>
            <pc:docMk/>
            <pc:sldMk cId="3469286485" sldId="2134960260"/>
            <ac:spMk id="2" creationId="{C2E9386B-1320-F24F-9ED3-CDE6327BFD5E}"/>
          </ac:spMkLst>
        </pc:spChg>
        <pc:spChg chg="mod">
          <ac:chgData name="Victoria Serra G" userId="7b4aef31-56b7-4e27-b65e-764fc5765ec4" providerId="ADAL" clId="{EB641A6A-5631-604E-9482-E1CF6AD842B0}" dt="2021-04-13T07:58:55.736" v="1610" actId="255"/>
          <ac:spMkLst>
            <pc:docMk/>
            <pc:sldMk cId="3469286485" sldId="2134960260"/>
            <ac:spMk id="3" creationId="{0F90770A-A9D7-6F45-9D6A-E11B6E44D133}"/>
          </ac:spMkLst>
        </pc:spChg>
        <pc:spChg chg="mod">
          <ac:chgData name="Victoria Serra G" userId="7b4aef31-56b7-4e27-b65e-764fc5765ec4" providerId="ADAL" clId="{EB641A6A-5631-604E-9482-E1CF6AD842B0}" dt="2021-04-13T07:58:47.212" v="1608" actId="408"/>
          <ac:spMkLst>
            <pc:docMk/>
            <pc:sldMk cId="3469286485" sldId="2134960260"/>
            <ac:spMk id="7" creationId="{E3B50513-E11F-C540-809C-F0DAE74EC24F}"/>
          </ac:spMkLst>
        </pc:spChg>
        <pc:spChg chg="mod">
          <ac:chgData name="Victoria Serra G" userId="7b4aef31-56b7-4e27-b65e-764fc5765ec4" providerId="ADAL" clId="{EB641A6A-5631-604E-9482-E1CF6AD842B0}" dt="2021-04-13T07:58:47.212" v="1608" actId="408"/>
          <ac:spMkLst>
            <pc:docMk/>
            <pc:sldMk cId="3469286485" sldId="2134960260"/>
            <ac:spMk id="9" creationId="{43C617CF-5B18-5A4C-A18F-0E52386DC274}"/>
          </ac:spMkLst>
        </pc:spChg>
        <pc:spChg chg="del">
          <ac:chgData name="Victoria Serra G" userId="7b4aef31-56b7-4e27-b65e-764fc5765ec4" providerId="ADAL" clId="{EB641A6A-5631-604E-9482-E1CF6AD842B0}" dt="2021-04-13T07:58:51.907" v="1609" actId="478"/>
          <ac:spMkLst>
            <pc:docMk/>
            <pc:sldMk cId="3469286485" sldId="2134960260"/>
            <ac:spMk id="14" creationId="{2AD0354C-39C4-5E49-BD23-7C5A3E24E20E}"/>
          </ac:spMkLst>
        </pc:spChg>
        <pc:spChg chg="mod">
          <ac:chgData name="Victoria Serra G" userId="7b4aef31-56b7-4e27-b65e-764fc5765ec4" providerId="ADAL" clId="{EB641A6A-5631-604E-9482-E1CF6AD842B0}" dt="2021-04-13T07:58:47.212" v="1608" actId="408"/>
          <ac:spMkLst>
            <pc:docMk/>
            <pc:sldMk cId="3469286485" sldId="2134960260"/>
            <ac:spMk id="22" creationId="{B02D7D86-4535-F642-8085-B7C82B6FC525}"/>
          </ac:spMkLst>
        </pc:spChg>
        <pc:spChg chg="mod">
          <ac:chgData name="Victoria Serra G" userId="7b4aef31-56b7-4e27-b65e-764fc5765ec4" providerId="ADAL" clId="{EB641A6A-5631-604E-9482-E1CF6AD842B0}" dt="2021-04-13T07:58:47.212" v="1608" actId="408"/>
          <ac:spMkLst>
            <pc:docMk/>
            <pc:sldMk cId="3469286485" sldId="2134960260"/>
            <ac:spMk id="25" creationId="{8D0D516D-0726-BF4E-BF3B-84D31921FAE3}"/>
          </ac:spMkLst>
        </pc:spChg>
        <pc:spChg chg="mod">
          <ac:chgData name="Victoria Serra G" userId="7b4aef31-56b7-4e27-b65e-764fc5765ec4" providerId="ADAL" clId="{EB641A6A-5631-604E-9482-E1CF6AD842B0}" dt="2021-04-13T07:58:14.722" v="1602" actId="1035"/>
          <ac:spMkLst>
            <pc:docMk/>
            <pc:sldMk cId="3469286485" sldId="2134960260"/>
            <ac:spMk id="33" creationId="{78077CE9-FC4C-824E-A7E6-439464F37DC2}"/>
          </ac:spMkLst>
        </pc:spChg>
        <pc:spChg chg="mod">
          <ac:chgData name="Victoria Serra G" userId="7b4aef31-56b7-4e27-b65e-764fc5765ec4" providerId="ADAL" clId="{EB641A6A-5631-604E-9482-E1CF6AD842B0}" dt="2021-04-13T07:58:14.722" v="1602" actId="1035"/>
          <ac:spMkLst>
            <pc:docMk/>
            <pc:sldMk cId="3469286485" sldId="2134960260"/>
            <ac:spMk id="34" creationId="{34FFDBB8-9E38-C04E-A4F8-AC4680E18CA3}"/>
          </ac:spMkLst>
        </pc:spChg>
        <pc:spChg chg="mod">
          <ac:chgData name="Victoria Serra G" userId="7b4aef31-56b7-4e27-b65e-764fc5765ec4" providerId="ADAL" clId="{EB641A6A-5631-604E-9482-E1CF6AD842B0}" dt="2021-04-13T07:58:14.722" v="1602" actId="1035"/>
          <ac:spMkLst>
            <pc:docMk/>
            <pc:sldMk cId="3469286485" sldId="2134960260"/>
            <ac:spMk id="37" creationId="{1C4C3C3D-C35C-3C46-8526-A3E99ED8E890}"/>
          </ac:spMkLst>
        </pc:spChg>
        <pc:spChg chg="add mod">
          <ac:chgData name="Victoria Serra G" userId="7b4aef31-56b7-4e27-b65e-764fc5765ec4" providerId="ADAL" clId="{EB641A6A-5631-604E-9482-E1CF6AD842B0}" dt="2021-04-13T08:42:55.295" v="2164" actId="20577"/>
          <ac:spMkLst>
            <pc:docMk/>
            <pc:sldMk cId="3469286485" sldId="2134960260"/>
            <ac:spMk id="39" creationId="{997DF91E-A143-A44A-93EF-BF850A1F792C}"/>
          </ac:spMkLst>
        </pc:spChg>
        <pc:spChg chg="add mod">
          <ac:chgData name="Victoria Serra G" userId="7b4aef31-56b7-4e27-b65e-764fc5765ec4" providerId="ADAL" clId="{EB641A6A-5631-604E-9482-E1CF6AD842B0}" dt="2021-04-13T08:43:03.645" v="2184" actId="20577"/>
          <ac:spMkLst>
            <pc:docMk/>
            <pc:sldMk cId="3469286485" sldId="2134960260"/>
            <ac:spMk id="40" creationId="{E3400564-93DA-1147-90A0-FA29A47A2A2A}"/>
          </ac:spMkLst>
        </pc:spChg>
        <pc:spChg chg="mod">
          <ac:chgData name="Victoria Serra G" userId="7b4aef31-56b7-4e27-b65e-764fc5765ec4" providerId="ADAL" clId="{EB641A6A-5631-604E-9482-E1CF6AD842B0}" dt="2021-04-13T07:58:14.722" v="1602" actId="1035"/>
          <ac:spMkLst>
            <pc:docMk/>
            <pc:sldMk cId="3469286485" sldId="2134960260"/>
            <ac:spMk id="58" creationId="{5CBF75C1-406A-BA4A-A4D7-F57FF31D989E}"/>
          </ac:spMkLst>
        </pc:spChg>
        <pc:spChg chg="mod">
          <ac:chgData name="Victoria Serra G" userId="7b4aef31-56b7-4e27-b65e-764fc5765ec4" providerId="ADAL" clId="{EB641A6A-5631-604E-9482-E1CF6AD842B0}" dt="2021-04-13T07:58:14.722" v="1602" actId="1035"/>
          <ac:spMkLst>
            <pc:docMk/>
            <pc:sldMk cId="3469286485" sldId="2134960260"/>
            <ac:spMk id="59" creationId="{355E9082-8699-BB4A-A478-48D718649E55}"/>
          </ac:spMkLst>
        </pc:spChg>
        <pc:spChg chg="mod">
          <ac:chgData name="Victoria Serra G" userId="7b4aef31-56b7-4e27-b65e-764fc5765ec4" providerId="ADAL" clId="{EB641A6A-5631-604E-9482-E1CF6AD842B0}" dt="2021-04-13T07:58:14.722" v="1602" actId="1035"/>
          <ac:spMkLst>
            <pc:docMk/>
            <pc:sldMk cId="3469286485" sldId="2134960260"/>
            <ac:spMk id="61" creationId="{72A00BF9-FB47-9C47-9153-E79931777662}"/>
          </ac:spMkLst>
        </pc:spChg>
        <pc:spChg chg="mod">
          <ac:chgData name="Victoria Serra G" userId="7b4aef31-56b7-4e27-b65e-764fc5765ec4" providerId="ADAL" clId="{EB641A6A-5631-604E-9482-E1CF6AD842B0}" dt="2021-04-13T07:58:14.722" v="1602" actId="1035"/>
          <ac:spMkLst>
            <pc:docMk/>
            <pc:sldMk cId="3469286485" sldId="2134960260"/>
            <ac:spMk id="62" creationId="{7E466538-99E3-8A44-BEA4-EEEB2C2599B8}"/>
          </ac:spMkLst>
        </pc:spChg>
        <pc:picChg chg="mod">
          <ac:chgData name="Victoria Serra G" userId="7b4aef31-56b7-4e27-b65e-764fc5765ec4" providerId="ADAL" clId="{EB641A6A-5631-604E-9482-E1CF6AD842B0}" dt="2021-04-13T07:58:14.722" v="1602" actId="1035"/>
          <ac:picMkLst>
            <pc:docMk/>
            <pc:sldMk cId="3469286485" sldId="2134960260"/>
            <ac:picMk id="35" creationId="{80DEAB24-E156-E14F-A83B-6ECD0EDE20D8}"/>
          </ac:picMkLst>
        </pc:picChg>
        <pc:picChg chg="mod">
          <ac:chgData name="Victoria Serra G" userId="7b4aef31-56b7-4e27-b65e-764fc5765ec4" providerId="ADAL" clId="{EB641A6A-5631-604E-9482-E1CF6AD842B0}" dt="2021-04-13T07:58:14.722" v="1602" actId="1035"/>
          <ac:picMkLst>
            <pc:docMk/>
            <pc:sldMk cId="3469286485" sldId="2134960260"/>
            <ac:picMk id="65" creationId="{1A158F0B-F0D4-C045-AF61-776B9E0DCFE4}"/>
          </ac:picMkLst>
        </pc:picChg>
        <pc:picChg chg="mod">
          <ac:chgData name="Victoria Serra G" userId="7b4aef31-56b7-4e27-b65e-764fc5765ec4" providerId="ADAL" clId="{EB641A6A-5631-604E-9482-E1CF6AD842B0}" dt="2021-04-13T07:58:14.722" v="1602" actId="1035"/>
          <ac:picMkLst>
            <pc:docMk/>
            <pc:sldMk cId="3469286485" sldId="2134960260"/>
            <ac:picMk id="67" creationId="{2CACABC6-7D7B-194E-AAA1-D5D2A151C10E}"/>
          </ac:picMkLst>
        </pc:picChg>
      </pc:sldChg>
      <pc:sldChg chg="addSp modSp mod">
        <pc:chgData name="Victoria Serra G" userId="7b4aef31-56b7-4e27-b65e-764fc5765ec4" providerId="ADAL" clId="{EB641A6A-5631-604E-9482-E1CF6AD842B0}" dt="2021-04-13T12:59:06.749" v="3578" actId="20577"/>
        <pc:sldMkLst>
          <pc:docMk/>
          <pc:sldMk cId="2341698561" sldId="2134960261"/>
        </pc:sldMkLst>
        <pc:spChg chg="mod">
          <ac:chgData name="Victoria Serra G" userId="7b4aef31-56b7-4e27-b65e-764fc5765ec4" providerId="ADAL" clId="{EB641A6A-5631-604E-9482-E1CF6AD842B0}" dt="2021-04-13T12:59:06.749" v="3578" actId="20577"/>
          <ac:spMkLst>
            <pc:docMk/>
            <pc:sldMk cId="2341698561" sldId="2134960261"/>
            <ac:spMk id="13" creationId="{BA674742-7A62-E846-B6CA-090D75CFCE9A}"/>
          </ac:spMkLst>
        </pc:spChg>
        <pc:spChg chg="add mod">
          <ac:chgData name="Victoria Serra G" userId="7b4aef31-56b7-4e27-b65e-764fc5765ec4" providerId="ADAL" clId="{EB641A6A-5631-604E-9482-E1CF6AD842B0}" dt="2021-04-13T12:49:52.209" v="3454"/>
          <ac:spMkLst>
            <pc:docMk/>
            <pc:sldMk cId="2341698561" sldId="2134960261"/>
            <ac:spMk id="14" creationId="{DF09BC33-65AC-2F41-9313-BBE71A944C48}"/>
          </ac:spMkLst>
        </pc:spChg>
      </pc:sldChg>
      <pc:sldChg chg="addSp modSp del mod">
        <pc:chgData name="Victoria Serra G" userId="7b4aef31-56b7-4e27-b65e-764fc5765ec4" providerId="ADAL" clId="{EB641A6A-5631-604E-9482-E1CF6AD842B0}" dt="2021-04-13T09:11:02.451" v="2758" actId="2696"/>
        <pc:sldMkLst>
          <pc:docMk/>
          <pc:sldMk cId="789584306" sldId="2134960281"/>
        </pc:sldMkLst>
        <pc:spChg chg="add mod">
          <ac:chgData name="Victoria Serra G" userId="7b4aef31-56b7-4e27-b65e-764fc5765ec4" providerId="ADAL" clId="{EB641A6A-5631-604E-9482-E1CF6AD842B0}" dt="2021-04-13T08:30:16.043" v="2105" actId="20577"/>
          <ac:spMkLst>
            <pc:docMk/>
            <pc:sldMk cId="789584306" sldId="2134960281"/>
            <ac:spMk id="4" creationId="{AD4A3C3B-5D51-9048-AD59-1409DAA48FDD}"/>
          </ac:spMkLst>
        </pc:spChg>
      </pc:sldChg>
      <pc:sldChg chg="del">
        <pc:chgData name="Victoria Serra G" userId="7b4aef31-56b7-4e27-b65e-764fc5765ec4" providerId="ADAL" clId="{EB641A6A-5631-604E-9482-E1CF6AD842B0}" dt="2021-04-13T07:26:44.941" v="68" actId="2696"/>
        <pc:sldMkLst>
          <pc:docMk/>
          <pc:sldMk cId="3946074799" sldId="2134960296"/>
        </pc:sldMkLst>
      </pc:sldChg>
      <pc:sldChg chg="modSp del mod modShow">
        <pc:chgData name="Victoria Serra G" userId="7b4aef31-56b7-4e27-b65e-764fc5765ec4" providerId="ADAL" clId="{EB641A6A-5631-604E-9482-E1CF6AD842B0}" dt="2021-04-13T08:07:39.103" v="1672" actId="2696"/>
        <pc:sldMkLst>
          <pc:docMk/>
          <pc:sldMk cId="1046411343" sldId="2134960301"/>
        </pc:sldMkLst>
        <pc:spChg chg="mod">
          <ac:chgData name="Victoria Serra G" userId="7b4aef31-56b7-4e27-b65e-764fc5765ec4" providerId="ADAL" clId="{EB641A6A-5631-604E-9482-E1CF6AD842B0}" dt="2021-04-13T07:33:30.932" v="251" actId="1038"/>
          <ac:spMkLst>
            <pc:docMk/>
            <pc:sldMk cId="1046411343" sldId="2134960301"/>
            <ac:spMk id="2" creationId="{698D83C4-1121-0A4A-9B91-EE41EFBA908A}"/>
          </ac:spMkLst>
        </pc:spChg>
        <pc:spChg chg="mod">
          <ac:chgData name="Victoria Serra G" userId="7b4aef31-56b7-4e27-b65e-764fc5765ec4" providerId="ADAL" clId="{EB641A6A-5631-604E-9482-E1CF6AD842B0}" dt="2021-04-13T07:33:17.238" v="227" actId="12788"/>
          <ac:spMkLst>
            <pc:docMk/>
            <pc:sldMk cId="1046411343" sldId="2134960301"/>
            <ac:spMk id="3" creationId="{FA5A8FE4-D360-5F4F-9EDC-813EC70D1B9B}"/>
          </ac:spMkLst>
        </pc:spChg>
        <pc:spChg chg="mod">
          <ac:chgData name="Victoria Serra G" userId="7b4aef31-56b7-4e27-b65e-764fc5765ec4" providerId="ADAL" clId="{EB641A6A-5631-604E-9482-E1CF6AD842B0}" dt="2021-04-13T07:33:11.759" v="225" actId="14100"/>
          <ac:spMkLst>
            <pc:docMk/>
            <pc:sldMk cId="1046411343" sldId="2134960301"/>
            <ac:spMk id="6" creationId="{E1132D6D-B2D8-DD49-8B1C-33126EE6F59B}"/>
          </ac:spMkLst>
        </pc:spChg>
        <pc:spChg chg="mod">
          <ac:chgData name="Victoria Serra G" userId="7b4aef31-56b7-4e27-b65e-764fc5765ec4" providerId="ADAL" clId="{EB641A6A-5631-604E-9482-E1CF6AD842B0}" dt="2021-04-13T07:33:30.932" v="251" actId="1038"/>
          <ac:spMkLst>
            <pc:docMk/>
            <pc:sldMk cId="1046411343" sldId="2134960301"/>
            <ac:spMk id="7" creationId="{703A07D3-ED91-AE42-AFA0-C7735E7AA239}"/>
          </ac:spMkLst>
        </pc:spChg>
        <pc:spChg chg="mod">
          <ac:chgData name="Victoria Serra G" userId="7b4aef31-56b7-4e27-b65e-764fc5765ec4" providerId="ADAL" clId="{EB641A6A-5631-604E-9482-E1CF6AD842B0}" dt="2021-04-13T07:33:30.932" v="251" actId="1038"/>
          <ac:spMkLst>
            <pc:docMk/>
            <pc:sldMk cId="1046411343" sldId="2134960301"/>
            <ac:spMk id="11" creationId="{E678BEB3-0756-D947-87B4-6F423AC39A98}"/>
          </ac:spMkLst>
        </pc:spChg>
        <pc:spChg chg="mod">
          <ac:chgData name="Victoria Serra G" userId="7b4aef31-56b7-4e27-b65e-764fc5765ec4" providerId="ADAL" clId="{EB641A6A-5631-604E-9482-E1CF6AD842B0}" dt="2021-04-13T07:33:30.932" v="251" actId="1038"/>
          <ac:spMkLst>
            <pc:docMk/>
            <pc:sldMk cId="1046411343" sldId="2134960301"/>
            <ac:spMk id="12" creationId="{C6FD0783-2E3B-A444-934A-B843AD52BFAF}"/>
          </ac:spMkLst>
        </pc:spChg>
        <pc:spChg chg="mod">
          <ac:chgData name="Victoria Serra G" userId="7b4aef31-56b7-4e27-b65e-764fc5765ec4" providerId="ADAL" clId="{EB641A6A-5631-604E-9482-E1CF6AD842B0}" dt="2021-04-13T07:33:30.932" v="251" actId="1038"/>
          <ac:spMkLst>
            <pc:docMk/>
            <pc:sldMk cId="1046411343" sldId="2134960301"/>
            <ac:spMk id="13" creationId="{13C787A2-4348-5442-89E0-53277339597B}"/>
          </ac:spMkLst>
        </pc:spChg>
        <pc:spChg chg="mod">
          <ac:chgData name="Victoria Serra G" userId="7b4aef31-56b7-4e27-b65e-764fc5765ec4" providerId="ADAL" clId="{EB641A6A-5631-604E-9482-E1CF6AD842B0}" dt="2021-04-13T07:33:30.932" v="251" actId="1038"/>
          <ac:spMkLst>
            <pc:docMk/>
            <pc:sldMk cId="1046411343" sldId="2134960301"/>
            <ac:spMk id="14" creationId="{04793B52-1E06-364D-A7F5-CE713A5C05E0}"/>
          </ac:spMkLst>
        </pc:spChg>
        <pc:spChg chg="mod">
          <ac:chgData name="Victoria Serra G" userId="7b4aef31-56b7-4e27-b65e-764fc5765ec4" providerId="ADAL" clId="{EB641A6A-5631-604E-9482-E1CF6AD842B0}" dt="2021-04-13T07:33:17.238" v="227" actId="12788"/>
          <ac:spMkLst>
            <pc:docMk/>
            <pc:sldMk cId="1046411343" sldId="2134960301"/>
            <ac:spMk id="15" creationId="{9C763CD9-C4FD-A445-87F9-73612CAECA89}"/>
          </ac:spMkLst>
        </pc:spChg>
        <pc:spChg chg="mod">
          <ac:chgData name="Victoria Serra G" userId="7b4aef31-56b7-4e27-b65e-764fc5765ec4" providerId="ADAL" clId="{EB641A6A-5631-604E-9482-E1CF6AD842B0}" dt="2021-04-13T07:33:30.932" v="251" actId="1038"/>
          <ac:spMkLst>
            <pc:docMk/>
            <pc:sldMk cId="1046411343" sldId="2134960301"/>
            <ac:spMk id="16" creationId="{24D7DAAD-2A59-4F45-93BC-6DF3DBD538F7}"/>
          </ac:spMkLst>
        </pc:spChg>
        <pc:spChg chg="mod">
          <ac:chgData name="Victoria Serra G" userId="7b4aef31-56b7-4e27-b65e-764fc5765ec4" providerId="ADAL" clId="{EB641A6A-5631-604E-9482-E1CF6AD842B0}" dt="2021-04-13T07:33:30.932" v="251" actId="1038"/>
          <ac:spMkLst>
            <pc:docMk/>
            <pc:sldMk cId="1046411343" sldId="2134960301"/>
            <ac:spMk id="18" creationId="{AA770E06-5980-B54B-9547-CF2882DD15AD}"/>
          </ac:spMkLst>
        </pc:spChg>
        <pc:spChg chg="mod">
          <ac:chgData name="Victoria Serra G" userId="7b4aef31-56b7-4e27-b65e-764fc5765ec4" providerId="ADAL" clId="{EB641A6A-5631-604E-9482-E1CF6AD842B0}" dt="2021-04-13T07:33:30.932" v="251" actId="1038"/>
          <ac:spMkLst>
            <pc:docMk/>
            <pc:sldMk cId="1046411343" sldId="2134960301"/>
            <ac:spMk id="19" creationId="{AE123F04-A6D3-DE4B-A418-3C0B706D4B4F}"/>
          </ac:spMkLst>
        </pc:spChg>
        <pc:spChg chg="mod">
          <ac:chgData name="Victoria Serra G" userId="7b4aef31-56b7-4e27-b65e-764fc5765ec4" providerId="ADAL" clId="{EB641A6A-5631-604E-9482-E1CF6AD842B0}" dt="2021-04-13T07:33:30.932" v="251" actId="1038"/>
          <ac:spMkLst>
            <pc:docMk/>
            <pc:sldMk cId="1046411343" sldId="2134960301"/>
            <ac:spMk id="20" creationId="{2069E964-1523-8645-937B-2BE5BD53EC8B}"/>
          </ac:spMkLst>
        </pc:spChg>
        <pc:spChg chg="mod">
          <ac:chgData name="Victoria Serra G" userId="7b4aef31-56b7-4e27-b65e-764fc5765ec4" providerId="ADAL" clId="{EB641A6A-5631-604E-9482-E1CF6AD842B0}" dt="2021-04-13T07:33:30.932" v="251" actId="1038"/>
          <ac:spMkLst>
            <pc:docMk/>
            <pc:sldMk cId="1046411343" sldId="2134960301"/>
            <ac:spMk id="21" creationId="{4F979FFE-8F53-4645-80B9-384AA57FDFA6}"/>
          </ac:spMkLst>
        </pc:spChg>
        <pc:spChg chg="mod">
          <ac:chgData name="Victoria Serra G" userId="7b4aef31-56b7-4e27-b65e-764fc5765ec4" providerId="ADAL" clId="{EB641A6A-5631-604E-9482-E1CF6AD842B0}" dt="2021-04-13T07:33:30.932" v="251" actId="1038"/>
          <ac:spMkLst>
            <pc:docMk/>
            <pc:sldMk cId="1046411343" sldId="2134960301"/>
            <ac:spMk id="22" creationId="{BC98F338-883F-044D-A67A-4880244B1C18}"/>
          </ac:spMkLst>
        </pc:spChg>
        <pc:spChg chg="mod">
          <ac:chgData name="Victoria Serra G" userId="7b4aef31-56b7-4e27-b65e-764fc5765ec4" providerId="ADAL" clId="{EB641A6A-5631-604E-9482-E1CF6AD842B0}" dt="2021-04-13T07:33:30.932" v="251" actId="1038"/>
          <ac:spMkLst>
            <pc:docMk/>
            <pc:sldMk cId="1046411343" sldId="2134960301"/>
            <ac:spMk id="24" creationId="{BB6AF514-3F20-1444-A878-051F3F307D71}"/>
          </ac:spMkLst>
        </pc:spChg>
        <pc:spChg chg="mod">
          <ac:chgData name="Victoria Serra G" userId="7b4aef31-56b7-4e27-b65e-764fc5765ec4" providerId="ADAL" clId="{EB641A6A-5631-604E-9482-E1CF6AD842B0}" dt="2021-04-13T07:33:30.932" v="251" actId="1038"/>
          <ac:spMkLst>
            <pc:docMk/>
            <pc:sldMk cId="1046411343" sldId="2134960301"/>
            <ac:spMk id="25" creationId="{46A62C42-EBB3-3844-9667-1D2DC817141C}"/>
          </ac:spMkLst>
        </pc:spChg>
        <pc:spChg chg="mod">
          <ac:chgData name="Victoria Serra G" userId="7b4aef31-56b7-4e27-b65e-764fc5765ec4" providerId="ADAL" clId="{EB641A6A-5631-604E-9482-E1CF6AD842B0}" dt="2021-04-13T07:33:30.932" v="251" actId="1038"/>
          <ac:spMkLst>
            <pc:docMk/>
            <pc:sldMk cId="1046411343" sldId="2134960301"/>
            <ac:spMk id="26" creationId="{C3B6941C-E46D-4E4E-9C31-FAB21374444D}"/>
          </ac:spMkLst>
        </pc:spChg>
        <pc:spChg chg="mod">
          <ac:chgData name="Victoria Serra G" userId="7b4aef31-56b7-4e27-b65e-764fc5765ec4" providerId="ADAL" clId="{EB641A6A-5631-604E-9482-E1CF6AD842B0}" dt="2021-04-13T07:33:30.932" v="251" actId="1038"/>
          <ac:spMkLst>
            <pc:docMk/>
            <pc:sldMk cId="1046411343" sldId="2134960301"/>
            <ac:spMk id="27" creationId="{3A4F59E6-885C-D141-B8CF-26D1921F50BF}"/>
          </ac:spMkLst>
        </pc:spChg>
        <pc:spChg chg="mod">
          <ac:chgData name="Victoria Serra G" userId="7b4aef31-56b7-4e27-b65e-764fc5765ec4" providerId="ADAL" clId="{EB641A6A-5631-604E-9482-E1CF6AD842B0}" dt="2021-04-13T07:33:30.932" v="251" actId="1038"/>
          <ac:spMkLst>
            <pc:docMk/>
            <pc:sldMk cId="1046411343" sldId="2134960301"/>
            <ac:spMk id="32" creationId="{5E7B1CBE-A808-1C4D-9F0E-B417B4ECECD6}"/>
          </ac:spMkLst>
        </pc:spChg>
        <pc:spChg chg="mod">
          <ac:chgData name="Victoria Serra G" userId="7b4aef31-56b7-4e27-b65e-764fc5765ec4" providerId="ADAL" clId="{EB641A6A-5631-604E-9482-E1CF6AD842B0}" dt="2021-04-13T07:33:30.932" v="251" actId="1038"/>
          <ac:spMkLst>
            <pc:docMk/>
            <pc:sldMk cId="1046411343" sldId="2134960301"/>
            <ac:spMk id="35" creationId="{3BA20CB1-3D02-4540-A803-6D2D90CE6F84}"/>
          </ac:spMkLst>
        </pc:spChg>
        <pc:spChg chg="mod">
          <ac:chgData name="Victoria Serra G" userId="7b4aef31-56b7-4e27-b65e-764fc5765ec4" providerId="ADAL" clId="{EB641A6A-5631-604E-9482-E1CF6AD842B0}" dt="2021-04-13T07:33:30.932" v="251" actId="1038"/>
          <ac:spMkLst>
            <pc:docMk/>
            <pc:sldMk cId="1046411343" sldId="2134960301"/>
            <ac:spMk id="36" creationId="{C0248492-4EF3-964B-92E9-D23C4C1A4D83}"/>
          </ac:spMkLst>
        </pc:spChg>
        <pc:spChg chg="mod">
          <ac:chgData name="Victoria Serra G" userId="7b4aef31-56b7-4e27-b65e-764fc5765ec4" providerId="ADAL" clId="{EB641A6A-5631-604E-9482-E1CF6AD842B0}" dt="2021-04-13T07:33:30.932" v="251" actId="1038"/>
          <ac:spMkLst>
            <pc:docMk/>
            <pc:sldMk cId="1046411343" sldId="2134960301"/>
            <ac:spMk id="37" creationId="{9090E54C-09CE-984D-B32B-1BC9A495F6A2}"/>
          </ac:spMkLst>
        </pc:spChg>
        <pc:spChg chg="mod">
          <ac:chgData name="Victoria Serra G" userId="7b4aef31-56b7-4e27-b65e-764fc5765ec4" providerId="ADAL" clId="{EB641A6A-5631-604E-9482-E1CF6AD842B0}" dt="2021-04-13T07:33:30.932" v="251" actId="1038"/>
          <ac:spMkLst>
            <pc:docMk/>
            <pc:sldMk cId="1046411343" sldId="2134960301"/>
            <ac:spMk id="38" creationId="{A1F860C7-5696-B948-B932-4C8EDA025028}"/>
          </ac:spMkLst>
        </pc:spChg>
        <pc:spChg chg="mod">
          <ac:chgData name="Victoria Serra G" userId="7b4aef31-56b7-4e27-b65e-764fc5765ec4" providerId="ADAL" clId="{EB641A6A-5631-604E-9482-E1CF6AD842B0}" dt="2021-04-13T07:33:30.932" v="251" actId="1038"/>
          <ac:spMkLst>
            <pc:docMk/>
            <pc:sldMk cId="1046411343" sldId="2134960301"/>
            <ac:spMk id="40" creationId="{D2A13E90-CFAD-B147-8025-C4C97B4C9538}"/>
          </ac:spMkLst>
        </pc:spChg>
        <pc:spChg chg="mod">
          <ac:chgData name="Victoria Serra G" userId="7b4aef31-56b7-4e27-b65e-764fc5765ec4" providerId="ADAL" clId="{EB641A6A-5631-604E-9482-E1CF6AD842B0}" dt="2021-04-13T07:33:30.932" v="251" actId="1038"/>
          <ac:spMkLst>
            <pc:docMk/>
            <pc:sldMk cId="1046411343" sldId="2134960301"/>
            <ac:spMk id="41" creationId="{3F237808-3CCB-CD47-9F7B-F12CC0976998}"/>
          </ac:spMkLst>
        </pc:spChg>
        <pc:spChg chg="mod">
          <ac:chgData name="Victoria Serra G" userId="7b4aef31-56b7-4e27-b65e-764fc5765ec4" providerId="ADAL" clId="{EB641A6A-5631-604E-9482-E1CF6AD842B0}" dt="2021-04-13T07:33:30.932" v="251" actId="1038"/>
          <ac:spMkLst>
            <pc:docMk/>
            <pc:sldMk cId="1046411343" sldId="2134960301"/>
            <ac:spMk id="42" creationId="{038F5EA1-38C7-F647-8CD6-A0C8507BA212}"/>
          </ac:spMkLst>
        </pc:spChg>
        <pc:picChg chg="mod">
          <ac:chgData name="Victoria Serra G" userId="7b4aef31-56b7-4e27-b65e-764fc5765ec4" providerId="ADAL" clId="{EB641A6A-5631-604E-9482-E1CF6AD842B0}" dt="2021-04-13T07:33:30.932" v="251" actId="1038"/>
          <ac:picMkLst>
            <pc:docMk/>
            <pc:sldMk cId="1046411343" sldId="2134960301"/>
            <ac:picMk id="8" creationId="{172F1AE0-BB8E-0740-B17B-33A2FB2F3A7E}"/>
          </ac:picMkLst>
        </pc:picChg>
        <pc:picChg chg="mod">
          <ac:chgData name="Victoria Serra G" userId="7b4aef31-56b7-4e27-b65e-764fc5765ec4" providerId="ADAL" clId="{EB641A6A-5631-604E-9482-E1CF6AD842B0}" dt="2021-04-13T07:33:30.932" v="251" actId="1038"/>
          <ac:picMkLst>
            <pc:docMk/>
            <pc:sldMk cId="1046411343" sldId="2134960301"/>
            <ac:picMk id="23" creationId="{CBE5417E-4CC6-3145-A7EE-ABA669EDA31C}"/>
          </ac:picMkLst>
        </pc:picChg>
        <pc:picChg chg="mod">
          <ac:chgData name="Victoria Serra G" userId="7b4aef31-56b7-4e27-b65e-764fc5765ec4" providerId="ADAL" clId="{EB641A6A-5631-604E-9482-E1CF6AD842B0}" dt="2021-04-13T07:33:30.932" v="251" actId="1038"/>
          <ac:picMkLst>
            <pc:docMk/>
            <pc:sldMk cId="1046411343" sldId="2134960301"/>
            <ac:picMk id="39" creationId="{35E0878F-8768-1541-B836-26BAEF9891D4}"/>
          </ac:picMkLst>
        </pc:picChg>
      </pc:sldChg>
      <pc:sldChg chg="del">
        <pc:chgData name="Victoria Serra G" userId="7b4aef31-56b7-4e27-b65e-764fc5765ec4" providerId="ADAL" clId="{EB641A6A-5631-604E-9482-E1CF6AD842B0}" dt="2021-04-13T07:26:44.941" v="68" actId="2696"/>
        <pc:sldMkLst>
          <pc:docMk/>
          <pc:sldMk cId="4239356134" sldId="2134960326"/>
        </pc:sldMkLst>
      </pc:sldChg>
      <pc:sldChg chg="del">
        <pc:chgData name="Victoria Serra G" userId="7b4aef31-56b7-4e27-b65e-764fc5765ec4" providerId="ADAL" clId="{EB641A6A-5631-604E-9482-E1CF6AD842B0}" dt="2021-04-13T07:26:44.941" v="68" actId="2696"/>
        <pc:sldMkLst>
          <pc:docMk/>
          <pc:sldMk cId="2359092996" sldId="2134960355"/>
        </pc:sldMkLst>
      </pc:sldChg>
      <pc:sldChg chg="del">
        <pc:chgData name="Victoria Serra G" userId="7b4aef31-56b7-4e27-b65e-764fc5765ec4" providerId="ADAL" clId="{EB641A6A-5631-604E-9482-E1CF6AD842B0}" dt="2021-04-13T07:26:44.941" v="68" actId="2696"/>
        <pc:sldMkLst>
          <pc:docMk/>
          <pc:sldMk cId="3025877589" sldId="2134960372"/>
        </pc:sldMkLst>
      </pc:sldChg>
      <pc:sldChg chg="del">
        <pc:chgData name="Victoria Serra G" userId="7b4aef31-56b7-4e27-b65e-764fc5765ec4" providerId="ADAL" clId="{EB641A6A-5631-604E-9482-E1CF6AD842B0}" dt="2021-04-13T07:26:44.941" v="68" actId="2696"/>
        <pc:sldMkLst>
          <pc:docMk/>
          <pc:sldMk cId="40094800" sldId="2134960387"/>
        </pc:sldMkLst>
      </pc:sldChg>
      <pc:sldChg chg="del">
        <pc:chgData name="Victoria Serra G" userId="7b4aef31-56b7-4e27-b65e-764fc5765ec4" providerId="ADAL" clId="{EB641A6A-5631-604E-9482-E1CF6AD842B0}" dt="2021-04-13T07:26:44.941" v="68" actId="2696"/>
        <pc:sldMkLst>
          <pc:docMk/>
          <pc:sldMk cId="1271592161" sldId="2134960389"/>
        </pc:sldMkLst>
      </pc:sldChg>
      <pc:sldChg chg="del">
        <pc:chgData name="Victoria Serra G" userId="7b4aef31-56b7-4e27-b65e-764fc5765ec4" providerId="ADAL" clId="{EB641A6A-5631-604E-9482-E1CF6AD842B0}" dt="2021-04-13T07:26:44.941" v="68" actId="2696"/>
        <pc:sldMkLst>
          <pc:docMk/>
          <pc:sldMk cId="3929356254" sldId="2134960391"/>
        </pc:sldMkLst>
      </pc:sldChg>
      <pc:sldChg chg="del">
        <pc:chgData name="Victoria Serra G" userId="7b4aef31-56b7-4e27-b65e-764fc5765ec4" providerId="ADAL" clId="{EB641A6A-5631-604E-9482-E1CF6AD842B0}" dt="2021-04-13T07:26:44.941" v="68" actId="2696"/>
        <pc:sldMkLst>
          <pc:docMk/>
          <pc:sldMk cId="1542456025" sldId="2134960392"/>
        </pc:sldMkLst>
      </pc:sldChg>
      <pc:sldChg chg="del">
        <pc:chgData name="Victoria Serra G" userId="7b4aef31-56b7-4e27-b65e-764fc5765ec4" providerId="ADAL" clId="{EB641A6A-5631-604E-9482-E1CF6AD842B0}" dt="2021-04-13T07:26:44.941" v="68" actId="2696"/>
        <pc:sldMkLst>
          <pc:docMk/>
          <pc:sldMk cId="2886948898" sldId="2134960393"/>
        </pc:sldMkLst>
      </pc:sldChg>
      <pc:sldChg chg="del">
        <pc:chgData name="Victoria Serra G" userId="7b4aef31-56b7-4e27-b65e-764fc5765ec4" providerId="ADAL" clId="{EB641A6A-5631-604E-9482-E1CF6AD842B0}" dt="2021-04-13T07:26:44.941" v="68" actId="2696"/>
        <pc:sldMkLst>
          <pc:docMk/>
          <pc:sldMk cId="2322360936" sldId="2134960394"/>
        </pc:sldMkLst>
      </pc:sldChg>
      <pc:sldChg chg="del">
        <pc:chgData name="Victoria Serra G" userId="7b4aef31-56b7-4e27-b65e-764fc5765ec4" providerId="ADAL" clId="{EB641A6A-5631-604E-9482-E1CF6AD842B0}" dt="2021-04-13T07:26:44.941" v="68" actId="2696"/>
        <pc:sldMkLst>
          <pc:docMk/>
          <pc:sldMk cId="2791252094" sldId="2134960395"/>
        </pc:sldMkLst>
      </pc:sldChg>
      <pc:sldChg chg="del">
        <pc:chgData name="Victoria Serra G" userId="7b4aef31-56b7-4e27-b65e-764fc5765ec4" providerId="ADAL" clId="{EB641A6A-5631-604E-9482-E1CF6AD842B0}" dt="2021-04-13T07:26:44.941" v="68" actId="2696"/>
        <pc:sldMkLst>
          <pc:docMk/>
          <pc:sldMk cId="2054149299" sldId="2134960396"/>
        </pc:sldMkLst>
      </pc:sldChg>
      <pc:sldChg chg="del">
        <pc:chgData name="Victoria Serra G" userId="7b4aef31-56b7-4e27-b65e-764fc5765ec4" providerId="ADAL" clId="{EB641A6A-5631-604E-9482-E1CF6AD842B0}" dt="2021-04-13T07:26:44.941" v="68" actId="2696"/>
        <pc:sldMkLst>
          <pc:docMk/>
          <pc:sldMk cId="1701241721" sldId="2134960397"/>
        </pc:sldMkLst>
      </pc:sldChg>
      <pc:sldChg chg="del">
        <pc:chgData name="Victoria Serra G" userId="7b4aef31-56b7-4e27-b65e-764fc5765ec4" providerId="ADAL" clId="{EB641A6A-5631-604E-9482-E1CF6AD842B0}" dt="2021-04-13T07:26:44.941" v="68" actId="2696"/>
        <pc:sldMkLst>
          <pc:docMk/>
          <pc:sldMk cId="2992377591" sldId="2134960398"/>
        </pc:sldMkLst>
      </pc:sldChg>
      <pc:sldChg chg="del">
        <pc:chgData name="Victoria Serra G" userId="7b4aef31-56b7-4e27-b65e-764fc5765ec4" providerId="ADAL" clId="{EB641A6A-5631-604E-9482-E1CF6AD842B0}" dt="2021-04-13T07:26:44.941" v="68" actId="2696"/>
        <pc:sldMkLst>
          <pc:docMk/>
          <pc:sldMk cId="2985572642" sldId="2134960404"/>
        </pc:sldMkLst>
      </pc:sldChg>
      <pc:sldChg chg="del">
        <pc:chgData name="Victoria Serra G" userId="7b4aef31-56b7-4e27-b65e-764fc5765ec4" providerId="ADAL" clId="{EB641A6A-5631-604E-9482-E1CF6AD842B0}" dt="2021-04-13T07:26:44.941" v="68" actId="2696"/>
        <pc:sldMkLst>
          <pc:docMk/>
          <pc:sldMk cId="2969079124" sldId="2134960407"/>
        </pc:sldMkLst>
      </pc:sldChg>
      <pc:sldChg chg="del">
        <pc:chgData name="Victoria Serra G" userId="7b4aef31-56b7-4e27-b65e-764fc5765ec4" providerId="ADAL" clId="{EB641A6A-5631-604E-9482-E1CF6AD842B0}" dt="2021-04-13T07:26:44.941" v="68" actId="2696"/>
        <pc:sldMkLst>
          <pc:docMk/>
          <pc:sldMk cId="3901287738" sldId="2134960408"/>
        </pc:sldMkLst>
      </pc:sldChg>
      <pc:sldChg chg="del">
        <pc:chgData name="Victoria Serra G" userId="7b4aef31-56b7-4e27-b65e-764fc5765ec4" providerId="ADAL" clId="{EB641A6A-5631-604E-9482-E1CF6AD842B0}" dt="2021-04-13T07:26:44.941" v="68" actId="2696"/>
        <pc:sldMkLst>
          <pc:docMk/>
          <pc:sldMk cId="1442281987" sldId="2134960409"/>
        </pc:sldMkLst>
      </pc:sldChg>
      <pc:sldChg chg="addSp delSp modSp del mod">
        <pc:chgData name="Victoria Serra G" userId="7b4aef31-56b7-4e27-b65e-764fc5765ec4" providerId="ADAL" clId="{EB641A6A-5631-604E-9482-E1CF6AD842B0}" dt="2021-04-13T08:22:50.126" v="1946" actId="2696"/>
        <pc:sldMkLst>
          <pc:docMk/>
          <pc:sldMk cId="2318825677" sldId="2134960414"/>
        </pc:sldMkLst>
        <pc:spChg chg="mod">
          <ac:chgData name="Victoria Serra G" userId="7b4aef31-56b7-4e27-b65e-764fc5765ec4" providerId="ADAL" clId="{EB641A6A-5631-604E-9482-E1CF6AD842B0}" dt="2021-04-13T07:26:05.934" v="63" actId="20577"/>
          <ac:spMkLst>
            <pc:docMk/>
            <pc:sldMk cId="2318825677" sldId="2134960414"/>
            <ac:spMk id="2" creationId="{DA768352-33A1-4349-88D5-30EF2DE9D911}"/>
          </ac:spMkLst>
        </pc:spChg>
        <pc:spChg chg="mod">
          <ac:chgData name="Victoria Serra G" userId="7b4aef31-56b7-4e27-b65e-764fc5765ec4" providerId="ADAL" clId="{EB641A6A-5631-604E-9482-E1CF6AD842B0}" dt="2021-04-13T07:25:12.931" v="1" actId="164"/>
          <ac:spMkLst>
            <pc:docMk/>
            <pc:sldMk cId="2318825677" sldId="2134960414"/>
            <ac:spMk id="4" creationId="{014F595D-AFA7-4EA4-98F4-F12697477C29}"/>
          </ac:spMkLst>
        </pc:spChg>
        <pc:spChg chg="mod">
          <ac:chgData name="Victoria Serra G" userId="7b4aef31-56b7-4e27-b65e-764fc5765ec4" providerId="ADAL" clId="{EB641A6A-5631-604E-9482-E1CF6AD842B0}" dt="2021-04-13T07:25:12.931" v="1" actId="164"/>
          <ac:spMkLst>
            <pc:docMk/>
            <pc:sldMk cId="2318825677" sldId="2134960414"/>
            <ac:spMk id="5" creationId="{521D3288-B276-46D0-9521-751CA01BF10C}"/>
          </ac:spMkLst>
        </pc:spChg>
        <pc:spChg chg="mod">
          <ac:chgData name="Victoria Serra G" userId="7b4aef31-56b7-4e27-b65e-764fc5765ec4" providerId="ADAL" clId="{EB641A6A-5631-604E-9482-E1CF6AD842B0}" dt="2021-04-13T07:33:56.733" v="252" actId="255"/>
          <ac:spMkLst>
            <pc:docMk/>
            <pc:sldMk cId="2318825677" sldId="2134960414"/>
            <ac:spMk id="6" creationId="{2E84CDFB-0027-4E1A-874B-899115247505}"/>
          </ac:spMkLst>
        </pc:spChg>
        <pc:spChg chg="mod">
          <ac:chgData name="Victoria Serra G" userId="7b4aef31-56b7-4e27-b65e-764fc5765ec4" providerId="ADAL" clId="{EB641A6A-5631-604E-9482-E1CF6AD842B0}" dt="2021-04-13T07:25:12.931" v="1" actId="164"/>
          <ac:spMkLst>
            <pc:docMk/>
            <pc:sldMk cId="2318825677" sldId="2134960414"/>
            <ac:spMk id="7" creationId="{80ADCF4F-5D3F-486B-8A10-A1EA1B82B960}"/>
          </ac:spMkLst>
        </pc:spChg>
        <pc:spChg chg="add del">
          <ac:chgData name="Victoria Serra G" userId="7b4aef31-56b7-4e27-b65e-764fc5765ec4" providerId="ADAL" clId="{EB641A6A-5631-604E-9482-E1CF6AD842B0}" dt="2021-04-13T07:26:15.094" v="66" actId="478"/>
          <ac:spMkLst>
            <pc:docMk/>
            <pc:sldMk cId="2318825677" sldId="2134960414"/>
            <ac:spMk id="8" creationId="{801C3D06-6CDC-EC45-90EC-85B0FD2C6393}"/>
          </ac:spMkLst>
        </pc:spChg>
        <pc:spChg chg="del">
          <ac:chgData name="Victoria Serra G" userId="7b4aef31-56b7-4e27-b65e-764fc5765ec4" providerId="ADAL" clId="{EB641A6A-5631-604E-9482-E1CF6AD842B0}" dt="2021-04-13T07:25:07.638" v="0" actId="478"/>
          <ac:spMkLst>
            <pc:docMk/>
            <pc:sldMk cId="2318825677" sldId="2134960414"/>
            <ac:spMk id="14" creationId="{A9878A8E-4AEA-9A4C-B440-8E7B6C494A32}"/>
          </ac:spMkLst>
        </pc:spChg>
        <pc:spChg chg="del">
          <ac:chgData name="Victoria Serra G" userId="7b4aef31-56b7-4e27-b65e-764fc5765ec4" providerId="ADAL" clId="{EB641A6A-5631-604E-9482-E1CF6AD842B0}" dt="2021-04-13T07:25:07.638" v="0" actId="478"/>
          <ac:spMkLst>
            <pc:docMk/>
            <pc:sldMk cId="2318825677" sldId="2134960414"/>
            <ac:spMk id="15" creationId="{E0A38432-86F0-AB43-A727-498EC6283332}"/>
          </ac:spMkLst>
        </pc:spChg>
        <pc:spChg chg="mod">
          <ac:chgData name="Victoria Serra G" userId="7b4aef31-56b7-4e27-b65e-764fc5765ec4" providerId="ADAL" clId="{EB641A6A-5631-604E-9482-E1CF6AD842B0}" dt="2021-04-13T07:25:12.931" v="1" actId="164"/>
          <ac:spMkLst>
            <pc:docMk/>
            <pc:sldMk cId="2318825677" sldId="2134960414"/>
            <ac:spMk id="23" creationId="{587F4799-2F0F-42CF-9312-FEEC0DB25999}"/>
          </ac:spMkLst>
        </pc:spChg>
        <pc:spChg chg="mod">
          <ac:chgData name="Victoria Serra G" userId="7b4aef31-56b7-4e27-b65e-764fc5765ec4" providerId="ADAL" clId="{EB641A6A-5631-604E-9482-E1CF6AD842B0}" dt="2021-04-13T07:25:12.931" v="1" actId="164"/>
          <ac:spMkLst>
            <pc:docMk/>
            <pc:sldMk cId="2318825677" sldId="2134960414"/>
            <ac:spMk id="27" creationId="{F5B4A19C-3DEE-468F-ABBA-87E279A8C468}"/>
          </ac:spMkLst>
        </pc:spChg>
        <pc:spChg chg="mod">
          <ac:chgData name="Victoria Serra G" userId="7b4aef31-56b7-4e27-b65e-764fc5765ec4" providerId="ADAL" clId="{EB641A6A-5631-604E-9482-E1CF6AD842B0}" dt="2021-04-13T07:25:12.931" v="1" actId="164"/>
          <ac:spMkLst>
            <pc:docMk/>
            <pc:sldMk cId="2318825677" sldId="2134960414"/>
            <ac:spMk id="29" creationId="{3DD1367C-0462-4D28-8A07-480EC98BAEFA}"/>
          </ac:spMkLst>
        </pc:spChg>
        <pc:spChg chg="mod">
          <ac:chgData name="Victoria Serra G" userId="7b4aef31-56b7-4e27-b65e-764fc5765ec4" providerId="ADAL" clId="{EB641A6A-5631-604E-9482-E1CF6AD842B0}" dt="2021-04-13T07:25:12.931" v="1" actId="164"/>
          <ac:spMkLst>
            <pc:docMk/>
            <pc:sldMk cId="2318825677" sldId="2134960414"/>
            <ac:spMk id="31" creationId="{61D8F445-C181-42AA-BBE1-3C93EAC96DC0}"/>
          </ac:spMkLst>
        </pc:spChg>
        <pc:grpChg chg="add mod">
          <ac:chgData name="Victoria Serra G" userId="7b4aef31-56b7-4e27-b65e-764fc5765ec4" providerId="ADAL" clId="{EB641A6A-5631-604E-9482-E1CF6AD842B0}" dt="2021-04-13T07:26:12.170" v="65" actId="14100"/>
          <ac:grpSpMkLst>
            <pc:docMk/>
            <pc:sldMk cId="2318825677" sldId="2134960414"/>
            <ac:grpSpMk id="3" creationId="{75C0F369-439D-8749-9878-4AF30B1D3CC5}"/>
          </ac:grpSpMkLst>
        </pc:grpChg>
      </pc:sldChg>
      <pc:sldChg chg="add ord">
        <pc:chgData name="Victoria Serra G" userId="7b4aef31-56b7-4e27-b65e-764fc5765ec4" providerId="ADAL" clId="{EB641A6A-5631-604E-9482-E1CF6AD842B0}" dt="2021-04-13T08:27:05.794" v="2035" actId="20578"/>
        <pc:sldMkLst>
          <pc:docMk/>
          <pc:sldMk cId="2681206609" sldId="2134960414"/>
        </pc:sldMkLst>
      </pc:sldChg>
      <pc:sldChg chg="addSp modSp mod">
        <pc:chgData name="Victoria Serra G" userId="7b4aef31-56b7-4e27-b65e-764fc5765ec4" providerId="ADAL" clId="{EB641A6A-5631-604E-9482-E1CF6AD842B0}" dt="2021-04-13T14:15:56.161" v="3725"/>
        <pc:sldMkLst>
          <pc:docMk/>
          <pc:sldMk cId="3292677876" sldId="2134960422"/>
        </pc:sldMkLst>
        <pc:spChg chg="mod">
          <ac:chgData name="Victoria Serra G" userId="7b4aef31-56b7-4e27-b65e-764fc5765ec4" providerId="ADAL" clId="{EB641A6A-5631-604E-9482-E1CF6AD842B0}" dt="2021-04-13T14:15:56.161" v="3725"/>
          <ac:spMkLst>
            <pc:docMk/>
            <pc:sldMk cId="3292677876" sldId="2134960422"/>
            <ac:spMk id="25" creationId="{5029AD69-2467-3A46-AABE-702F33533DF8}"/>
          </ac:spMkLst>
        </pc:spChg>
        <pc:spChg chg="mod">
          <ac:chgData name="Victoria Serra G" userId="7b4aef31-56b7-4e27-b65e-764fc5765ec4" providerId="ADAL" clId="{EB641A6A-5631-604E-9482-E1CF6AD842B0}" dt="2021-04-13T14:15:38.679" v="3695"/>
          <ac:spMkLst>
            <pc:docMk/>
            <pc:sldMk cId="3292677876" sldId="2134960422"/>
            <ac:spMk id="39" creationId="{5161621C-605E-4F4E-8120-99767F177DE2}"/>
          </ac:spMkLst>
        </pc:spChg>
        <pc:spChg chg="add mod">
          <ac:chgData name="Victoria Serra G" userId="7b4aef31-56b7-4e27-b65e-764fc5765ec4" providerId="ADAL" clId="{EB641A6A-5631-604E-9482-E1CF6AD842B0}" dt="2021-04-13T08:01:50.959" v="1612" actId="255"/>
          <ac:spMkLst>
            <pc:docMk/>
            <pc:sldMk cId="3292677876" sldId="2134960422"/>
            <ac:spMk id="43" creationId="{0A13CAA7-4548-9145-9559-FC9D617E184D}"/>
          </ac:spMkLst>
        </pc:spChg>
      </pc:sldChg>
      <pc:sldChg chg="addSp modSp mod">
        <pc:chgData name="Victoria Serra G" userId="7b4aef31-56b7-4e27-b65e-764fc5765ec4" providerId="ADAL" clId="{EB641A6A-5631-604E-9482-E1CF6AD842B0}" dt="2021-04-13T08:01:41.798" v="1611" actId="255"/>
        <pc:sldMkLst>
          <pc:docMk/>
          <pc:sldMk cId="2109258609" sldId="2134960423"/>
        </pc:sldMkLst>
        <pc:spChg chg="add mod">
          <ac:chgData name="Victoria Serra G" userId="7b4aef31-56b7-4e27-b65e-764fc5765ec4" providerId="ADAL" clId="{EB641A6A-5631-604E-9482-E1CF6AD842B0}" dt="2021-04-13T08:01:41.798" v="1611" actId="255"/>
          <ac:spMkLst>
            <pc:docMk/>
            <pc:sldMk cId="2109258609" sldId="2134960423"/>
            <ac:spMk id="43" creationId="{0635F290-B2D1-FB40-BBAE-12EAF4DF653E}"/>
          </ac:spMkLst>
        </pc:spChg>
      </pc:sldChg>
      <pc:sldChg chg="addSp modSp mod">
        <pc:chgData name="Victoria Serra G" userId="7b4aef31-56b7-4e27-b65e-764fc5765ec4" providerId="ADAL" clId="{EB641A6A-5631-604E-9482-E1CF6AD842B0}" dt="2021-04-13T14:16:17.669" v="3729" actId="207"/>
        <pc:sldMkLst>
          <pc:docMk/>
          <pc:sldMk cId="579390619" sldId="2134960424"/>
        </pc:sldMkLst>
        <pc:spChg chg="mod">
          <ac:chgData name="Victoria Serra G" userId="7b4aef31-56b7-4e27-b65e-764fc5765ec4" providerId="ADAL" clId="{EB641A6A-5631-604E-9482-E1CF6AD842B0}" dt="2021-04-13T14:16:17.669" v="3729" actId="207"/>
          <ac:spMkLst>
            <pc:docMk/>
            <pc:sldMk cId="579390619" sldId="2134960424"/>
            <ac:spMk id="23" creationId="{DD31908D-B318-1A44-8263-8E6A2AC48D5F}"/>
          </ac:spMkLst>
        </pc:spChg>
        <pc:spChg chg="mod">
          <ac:chgData name="Victoria Serra G" userId="7b4aef31-56b7-4e27-b65e-764fc5765ec4" providerId="ADAL" clId="{EB641A6A-5631-604E-9482-E1CF6AD842B0}" dt="2021-04-13T14:16:17.669" v="3729" actId="207"/>
          <ac:spMkLst>
            <pc:docMk/>
            <pc:sldMk cId="579390619" sldId="2134960424"/>
            <ac:spMk id="25" creationId="{6B0FCC59-CA5F-2C4C-9E51-F9F00A2258CA}"/>
          </ac:spMkLst>
        </pc:spChg>
        <pc:spChg chg="mod">
          <ac:chgData name="Victoria Serra G" userId="7b4aef31-56b7-4e27-b65e-764fc5765ec4" providerId="ADAL" clId="{EB641A6A-5631-604E-9482-E1CF6AD842B0}" dt="2021-04-13T14:16:17.669" v="3729" actId="207"/>
          <ac:spMkLst>
            <pc:docMk/>
            <pc:sldMk cId="579390619" sldId="2134960424"/>
            <ac:spMk id="39" creationId="{386DBAB6-34AB-764A-B6B7-A464E5B79893}"/>
          </ac:spMkLst>
        </pc:spChg>
        <pc:spChg chg="add mod">
          <ac:chgData name="Victoria Serra G" userId="7b4aef31-56b7-4e27-b65e-764fc5765ec4" providerId="ADAL" clId="{EB641A6A-5631-604E-9482-E1CF6AD842B0}" dt="2021-04-13T08:01:57.367" v="1613" actId="255"/>
          <ac:spMkLst>
            <pc:docMk/>
            <pc:sldMk cId="579390619" sldId="2134960424"/>
            <ac:spMk id="43" creationId="{AD91F152-2193-1543-82A7-2237D2A9F1C7}"/>
          </ac:spMkLst>
        </pc:spChg>
      </pc:sldChg>
      <pc:sldChg chg="modSp mod">
        <pc:chgData name="Victoria Serra G" userId="7b4aef31-56b7-4e27-b65e-764fc5765ec4" providerId="ADAL" clId="{EB641A6A-5631-604E-9482-E1CF6AD842B0}" dt="2021-04-13T14:16:57.427" v="3816" actId="20577"/>
        <pc:sldMkLst>
          <pc:docMk/>
          <pc:sldMk cId="3252817120" sldId="2134960425"/>
        </pc:sldMkLst>
        <pc:spChg chg="mod">
          <ac:chgData name="Victoria Serra G" userId="7b4aef31-56b7-4e27-b65e-764fc5765ec4" providerId="ADAL" clId="{EB641A6A-5631-604E-9482-E1CF6AD842B0}" dt="2021-04-13T09:12:06.419" v="2794" actId="255"/>
          <ac:spMkLst>
            <pc:docMk/>
            <pc:sldMk cId="3252817120" sldId="2134960425"/>
            <ac:spMk id="2" creationId="{A7CFD804-A5B5-5E40-903F-C807E5B7979C}"/>
          </ac:spMkLst>
        </pc:spChg>
        <pc:spChg chg="mod">
          <ac:chgData name="Victoria Serra G" userId="7b4aef31-56b7-4e27-b65e-764fc5765ec4" providerId="ADAL" clId="{EB641A6A-5631-604E-9482-E1CF6AD842B0}" dt="2021-04-13T14:16:57.427" v="3816" actId="20577"/>
          <ac:spMkLst>
            <pc:docMk/>
            <pc:sldMk cId="3252817120" sldId="2134960425"/>
            <ac:spMk id="26" creationId="{6B30B172-6DF1-3A4D-88C4-3343F61351B5}"/>
          </ac:spMkLst>
        </pc:spChg>
        <pc:spChg chg="mod">
          <ac:chgData name="Victoria Serra G" userId="7b4aef31-56b7-4e27-b65e-764fc5765ec4" providerId="ADAL" clId="{EB641A6A-5631-604E-9482-E1CF6AD842B0}" dt="2021-04-13T14:15:21.723" v="3691" actId="20577"/>
          <ac:spMkLst>
            <pc:docMk/>
            <pc:sldMk cId="3252817120" sldId="2134960425"/>
            <ac:spMk id="40" creationId="{20D506A7-95B6-9343-810B-3A2D9215FB6A}"/>
          </ac:spMkLst>
        </pc:spChg>
      </pc:sldChg>
      <pc:sldChg chg="del">
        <pc:chgData name="Victoria Serra G" userId="7b4aef31-56b7-4e27-b65e-764fc5765ec4" providerId="ADAL" clId="{EB641A6A-5631-604E-9482-E1CF6AD842B0}" dt="2021-04-13T08:22:35.719" v="1945" actId="2696"/>
        <pc:sldMkLst>
          <pc:docMk/>
          <pc:sldMk cId="2844750141" sldId="2134960426"/>
        </pc:sldMkLst>
      </pc:sldChg>
      <pc:sldChg chg="del">
        <pc:chgData name="Victoria Serra G" userId="7b4aef31-56b7-4e27-b65e-764fc5765ec4" providerId="ADAL" clId="{EB641A6A-5631-604E-9482-E1CF6AD842B0}" dt="2021-04-13T07:26:44.941" v="68" actId="2696"/>
        <pc:sldMkLst>
          <pc:docMk/>
          <pc:sldMk cId="1881035074" sldId="2134960427"/>
        </pc:sldMkLst>
      </pc:sldChg>
      <pc:sldChg chg="del">
        <pc:chgData name="Victoria Serra G" userId="7b4aef31-56b7-4e27-b65e-764fc5765ec4" providerId="ADAL" clId="{EB641A6A-5631-604E-9482-E1CF6AD842B0}" dt="2021-04-13T07:26:44.941" v="68" actId="2696"/>
        <pc:sldMkLst>
          <pc:docMk/>
          <pc:sldMk cId="4230572068" sldId="2134960431"/>
        </pc:sldMkLst>
      </pc:sldChg>
      <pc:sldChg chg="del">
        <pc:chgData name="Victoria Serra G" userId="7b4aef31-56b7-4e27-b65e-764fc5765ec4" providerId="ADAL" clId="{EB641A6A-5631-604E-9482-E1CF6AD842B0}" dt="2021-04-13T07:26:44.941" v="68" actId="2696"/>
        <pc:sldMkLst>
          <pc:docMk/>
          <pc:sldMk cId="2495180841" sldId="2134960432"/>
        </pc:sldMkLst>
      </pc:sldChg>
      <pc:sldChg chg="del">
        <pc:chgData name="Victoria Serra G" userId="7b4aef31-56b7-4e27-b65e-764fc5765ec4" providerId="ADAL" clId="{EB641A6A-5631-604E-9482-E1CF6AD842B0}" dt="2021-04-13T07:26:44.941" v="68" actId="2696"/>
        <pc:sldMkLst>
          <pc:docMk/>
          <pc:sldMk cId="668911675" sldId="2134960434"/>
        </pc:sldMkLst>
      </pc:sldChg>
      <pc:sldChg chg="addSp delSp modSp del mod">
        <pc:chgData name="Victoria Serra G" userId="7b4aef31-56b7-4e27-b65e-764fc5765ec4" providerId="ADAL" clId="{EB641A6A-5631-604E-9482-E1CF6AD842B0}" dt="2021-04-13T08:24:12.294" v="1955" actId="2696"/>
        <pc:sldMkLst>
          <pc:docMk/>
          <pc:sldMk cId="1931097301" sldId="2134960439"/>
        </pc:sldMkLst>
        <pc:spChg chg="add mod">
          <ac:chgData name="Victoria Serra G" userId="7b4aef31-56b7-4e27-b65e-764fc5765ec4" providerId="ADAL" clId="{EB641A6A-5631-604E-9482-E1CF6AD842B0}" dt="2021-04-13T07:30:28.990" v="111" actId="164"/>
          <ac:spMkLst>
            <pc:docMk/>
            <pc:sldMk cId="1931097301" sldId="2134960439"/>
            <ac:spMk id="2" creationId="{6A7A1AF4-E70E-934F-9C5B-3DB36CC7671C}"/>
          </ac:spMkLst>
        </pc:spChg>
        <pc:spChg chg="mod">
          <ac:chgData name="Victoria Serra G" userId="7b4aef31-56b7-4e27-b65e-764fc5765ec4" providerId="ADAL" clId="{EB641A6A-5631-604E-9482-E1CF6AD842B0}" dt="2021-04-13T07:34:17.191" v="265" actId="20577"/>
          <ac:spMkLst>
            <pc:docMk/>
            <pc:sldMk cId="1931097301" sldId="2134960439"/>
            <ac:spMk id="3" creationId="{27745BC4-48FB-E346-A080-59BF8E54D1A9}"/>
          </ac:spMkLst>
        </pc:spChg>
        <pc:spChg chg="mod">
          <ac:chgData name="Victoria Serra G" userId="7b4aef31-56b7-4e27-b65e-764fc5765ec4" providerId="ADAL" clId="{EB641A6A-5631-604E-9482-E1CF6AD842B0}" dt="2021-04-13T07:32:23.314" v="220" actId="179"/>
          <ac:spMkLst>
            <pc:docMk/>
            <pc:sldMk cId="1931097301" sldId="2134960439"/>
            <ac:spMk id="4" creationId="{62255291-A0E6-B04E-B401-A1F914908662}"/>
          </ac:spMkLst>
        </pc:spChg>
        <pc:spChg chg="add mod">
          <ac:chgData name="Victoria Serra G" userId="7b4aef31-56b7-4e27-b65e-764fc5765ec4" providerId="ADAL" clId="{EB641A6A-5631-604E-9482-E1CF6AD842B0}" dt="2021-04-13T07:30:28.990" v="111" actId="164"/>
          <ac:spMkLst>
            <pc:docMk/>
            <pc:sldMk cId="1931097301" sldId="2134960439"/>
            <ac:spMk id="5" creationId="{BEF859A6-4BD7-6940-8D17-23F4801708C3}"/>
          </ac:spMkLst>
        </pc:spChg>
        <pc:spChg chg="add del">
          <ac:chgData name="Victoria Serra G" userId="7b4aef31-56b7-4e27-b65e-764fc5765ec4" providerId="ADAL" clId="{EB641A6A-5631-604E-9482-E1CF6AD842B0}" dt="2021-04-13T08:23:51.789" v="1954" actId="478"/>
          <ac:spMkLst>
            <pc:docMk/>
            <pc:sldMk cId="1931097301" sldId="2134960439"/>
            <ac:spMk id="7" creationId="{40346FD6-FBFE-264C-9A7F-371E0620A284}"/>
          </ac:spMkLst>
        </pc:spChg>
        <pc:spChg chg="add del mod">
          <ac:chgData name="Victoria Serra G" userId="7b4aef31-56b7-4e27-b65e-764fc5765ec4" providerId="ADAL" clId="{EB641A6A-5631-604E-9482-E1CF6AD842B0}" dt="2021-04-13T07:30:59.629" v="156" actId="478"/>
          <ac:spMkLst>
            <pc:docMk/>
            <pc:sldMk cId="1931097301" sldId="2134960439"/>
            <ac:spMk id="8" creationId="{64931EEF-4ED8-D942-8BB9-0E354EC20ED1}"/>
          </ac:spMkLst>
        </pc:spChg>
        <pc:spChg chg="add mod">
          <ac:chgData name="Victoria Serra G" userId="7b4aef31-56b7-4e27-b65e-764fc5765ec4" providerId="ADAL" clId="{EB641A6A-5631-604E-9482-E1CF6AD842B0}" dt="2021-04-13T07:32:12.561" v="213" actId="164"/>
          <ac:spMkLst>
            <pc:docMk/>
            <pc:sldMk cId="1931097301" sldId="2134960439"/>
            <ac:spMk id="9" creationId="{23A69347-A22C-A645-83DC-0386EBD83A8C}"/>
          </ac:spMkLst>
        </pc:spChg>
        <pc:grpChg chg="add del mod">
          <ac:chgData name="Victoria Serra G" userId="7b4aef31-56b7-4e27-b65e-764fc5765ec4" providerId="ADAL" clId="{EB641A6A-5631-604E-9482-E1CF6AD842B0}" dt="2021-04-13T07:32:12.561" v="213" actId="164"/>
          <ac:grpSpMkLst>
            <pc:docMk/>
            <pc:sldMk cId="1931097301" sldId="2134960439"/>
            <ac:grpSpMk id="6" creationId="{4BA4FCD6-889B-B342-9673-C47A11564D52}"/>
          </ac:grpSpMkLst>
        </pc:grpChg>
        <pc:grpChg chg="add del mod">
          <ac:chgData name="Victoria Serra G" userId="7b4aef31-56b7-4e27-b65e-764fc5765ec4" providerId="ADAL" clId="{EB641A6A-5631-604E-9482-E1CF6AD842B0}" dt="2021-04-13T08:23:34.824" v="1949" actId="478"/>
          <ac:grpSpMkLst>
            <pc:docMk/>
            <pc:sldMk cId="1931097301" sldId="2134960439"/>
            <ac:grpSpMk id="10" creationId="{37E35DD1-7943-F741-BE6C-7FBB02E8DB5D}"/>
          </ac:grpSpMkLst>
        </pc:grpChg>
        <pc:grpChg chg="mod">
          <ac:chgData name="Victoria Serra G" userId="7b4aef31-56b7-4e27-b65e-764fc5765ec4" providerId="ADAL" clId="{EB641A6A-5631-604E-9482-E1CF6AD842B0}" dt="2021-04-13T08:23:44.739" v="1952" actId="14100"/>
          <ac:grpSpMkLst>
            <pc:docMk/>
            <pc:sldMk cId="1931097301" sldId="2134960439"/>
            <ac:grpSpMk id="14" creationId="{71103DB2-F98B-BF45-B9D6-6DCE01B66147}"/>
          </ac:grpSpMkLst>
        </pc:grpChg>
        <pc:picChg chg="add del">
          <ac:chgData name="Victoria Serra G" userId="7b4aef31-56b7-4e27-b65e-764fc5765ec4" providerId="ADAL" clId="{EB641A6A-5631-604E-9482-E1CF6AD842B0}" dt="2021-04-13T08:23:51.789" v="1954" actId="478"/>
          <ac:picMkLst>
            <pc:docMk/>
            <pc:sldMk cId="1931097301" sldId="2134960439"/>
            <ac:picMk id="11" creationId="{03E092F4-BE17-5448-984B-91466DFF338E}"/>
          </ac:picMkLst>
        </pc:picChg>
        <pc:picChg chg="add del mod">
          <ac:chgData name="Victoria Serra G" userId="7b4aef31-56b7-4e27-b65e-764fc5765ec4" providerId="ADAL" clId="{EB641A6A-5631-604E-9482-E1CF6AD842B0}" dt="2021-04-13T07:27:12.863" v="74" actId="478"/>
          <ac:picMkLst>
            <pc:docMk/>
            <pc:sldMk cId="1931097301" sldId="2134960439"/>
            <ac:picMk id="41" creationId="{4F716F13-F858-4A4E-A0FE-43402C8EF7BB}"/>
          </ac:picMkLst>
        </pc:picChg>
        <pc:picChg chg="add del mod">
          <ac:chgData name="Victoria Serra G" userId="7b4aef31-56b7-4e27-b65e-764fc5765ec4" providerId="ADAL" clId="{EB641A6A-5631-604E-9482-E1CF6AD842B0}" dt="2021-04-13T07:28:29.488" v="76" actId="478"/>
          <ac:picMkLst>
            <pc:docMk/>
            <pc:sldMk cId="1931097301" sldId="2134960439"/>
            <ac:picMk id="42" creationId="{65725297-B8B1-714E-A5E7-1FEDE18A37A1}"/>
          </ac:picMkLst>
        </pc:picChg>
      </pc:sldChg>
      <pc:sldChg chg="add">
        <pc:chgData name="Victoria Serra G" userId="7b4aef31-56b7-4e27-b65e-764fc5765ec4" providerId="ADAL" clId="{EB641A6A-5631-604E-9482-E1CF6AD842B0}" dt="2021-04-13T08:24:17.859" v="1956"/>
        <pc:sldMkLst>
          <pc:docMk/>
          <pc:sldMk cId="3641650267" sldId="2134960439"/>
        </pc:sldMkLst>
      </pc:sldChg>
      <pc:sldChg chg="addSp delSp modSp mod ord modClrScheme delCm chgLayout">
        <pc:chgData name="Victoria Serra G" userId="7b4aef31-56b7-4e27-b65e-764fc5765ec4" providerId="ADAL" clId="{EB641A6A-5631-604E-9482-E1CF6AD842B0}" dt="2021-04-13T08:22:57.323" v="1948" actId="20578"/>
        <pc:sldMkLst>
          <pc:docMk/>
          <pc:sldMk cId="3071882890" sldId="2134960440"/>
        </pc:sldMkLst>
        <pc:spChg chg="del">
          <ac:chgData name="Victoria Serra G" userId="7b4aef31-56b7-4e27-b65e-764fc5765ec4" providerId="ADAL" clId="{EB641A6A-5631-604E-9482-E1CF6AD842B0}" dt="2021-04-13T07:38:01.112" v="439" actId="478"/>
          <ac:spMkLst>
            <pc:docMk/>
            <pc:sldMk cId="3071882890" sldId="2134960440"/>
            <ac:spMk id="2" creationId="{FF8EFC28-44B0-8344-BD47-64D1A518EAC2}"/>
          </ac:spMkLst>
        </pc:spChg>
        <pc:spChg chg="add del mod ord">
          <ac:chgData name="Victoria Serra G" userId="7b4aef31-56b7-4e27-b65e-764fc5765ec4" providerId="ADAL" clId="{EB641A6A-5631-604E-9482-E1CF6AD842B0}" dt="2021-04-13T07:42:48.767" v="1067" actId="478"/>
          <ac:spMkLst>
            <pc:docMk/>
            <pc:sldMk cId="3071882890" sldId="2134960440"/>
            <ac:spMk id="3" creationId="{E3E33E49-9EAD-E14D-8FA7-CDE6DC3E0650}"/>
          </ac:spMkLst>
        </pc:spChg>
        <pc:spChg chg="mod ord">
          <ac:chgData name="Victoria Serra G" userId="7b4aef31-56b7-4e27-b65e-764fc5765ec4" providerId="ADAL" clId="{EB641A6A-5631-604E-9482-E1CF6AD842B0}" dt="2021-04-13T07:42:41.554" v="1063" actId="403"/>
          <ac:spMkLst>
            <pc:docMk/>
            <pc:sldMk cId="3071882890" sldId="2134960440"/>
            <ac:spMk id="4" creationId="{67174CB1-3547-9D48-BDCC-FDB551830A1C}"/>
          </ac:spMkLst>
        </pc:spChg>
        <pc:spChg chg="mod">
          <ac:chgData name="Victoria Serra G" userId="7b4aef31-56b7-4e27-b65e-764fc5765ec4" providerId="ADAL" clId="{EB641A6A-5631-604E-9482-E1CF6AD842B0}" dt="2021-04-13T07:45:30.371" v="1384" actId="14100"/>
          <ac:spMkLst>
            <pc:docMk/>
            <pc:sldMk cId="3071882890" sldId="2134960440"/>
            <ac:spMk id="5" creationId="{C19DA7CB-8237-B446-A611-7ABFDEA7D56D}"/>
          </ac:spMkLst>
        </pc:spChg>
      </pc:sldChg>
      <pc:sldChg chg="del">
        <pc:chgData name="Victoria Serra G" userId="7b4aef31-56b7-4e27-b65e-764fc5765ec4" providerId="ADAL" clId="{EB641A6A-5631-604E-9482-E1CF6AD842B0}" dt="2021-04-13T07:26:44.941" v="68" actId="2696"/>
        <pc:sldMkLst>
          <pc:docMk/>
          <pc:sldMk cId="824927127" sldId="2134960447"/>
        </pc:sldMkLst>
      </pc:sldChg>
      <pc:sldChg chg="addSp delSp modSp mod">
        <pc:chgData name="Victoria Serra G" userId="7b4aef31-56b7-4e27-b65e-764fc5765ec4" providerId="ADAL" clId="{EB641A6A-5631-604E-9482-E1CF6AD842B0}" dt="2021-04-13T09:12:14.891" v="2795" actId="478"/>
        <pc:sldMkLst>
          <pc:docMk/>
          <pc:sldMk cId="619147758" sldId="2134960463"/>
        </pc:sldMkLst>
        <pc:spChg chg="mod">
          <ac:chgData name="Victoria Serra G" userId="7b4aef31-56b7-4e27-b65e-764fc5765ec4" providerId="ADAL" clId="{EB641A6A-5631-604E-9482-E1CF6AD842B0}" dt="2021-04-13T07:57:05.070" v="1582" actId="255"/>
          <ac:spMkLst>
            <pc:docMk/>
            <pc:sldMk cId="619147758" sldId="2134960463"/>
            <ac:spMk id="2" creationId="{F0343857-B3D4-EE4B-B145-594D864007C9}"/>
          </ac:spMkLst>
        </pc:spChg>
        <pc:spChg chg="mod">
          <ac:chgData name="Victoria Serra G" userId="7b4aef31-56b7-4e27-b65e-764fc5765ec4" providerId="ADAL" clId="{EB641A6A-5631-604E-9482-E1CF6AD842B0}" dt="2021-04-13T07:56:51.519" v="1579" actId="14100"/>
          <ac:spMkLst>
            <pc:docMk/>
            <pc:sldMk cId="619147758" sldId="2134960463"/>
            <ac:spMk id="3" creationId="{AD4A8093-39C8-FB4B-A914-1502ADF096F9}"/>
          </ac:spMkLst>
        </pc:spChg>
        <pc:spChg chg="add del mod">
          <ac:chgData name="Victoria Serra G" userId="7b4aef31-56b7-4e27-b65e-764fc5765ec4" providerId="ADAL" clId="{EB641A6A-5631-604E-9482-E1CF6AD842B0}" dt="2021-04-13T07:52:56.973" v="1490"/>
          <ac:spMkLst>
            <pc:docMk/>
            <pc:sldMk cId="619147758" sldId="2134960463"/>
            <ac:spMk id="18" creationId="{C077F835-177E-D240-800C-A66879768C79}"/>
          </ac:spMkLst>
        </pc:spChg>
        <pc:spChg chg="add del mod">
          <ac:chgData name="Victoria Serra G" userId="7b4aef31-56b7-4e27-b65e-764fc5765ec4" providerId="ADAL" clId="{EB641A6A-5631-604E-9482-E1CF6AD842B0}" dt="2021-04-13T07:52:56.973" v="1490"/>
          <ac:spMkLst>
            <pc:docMk/>
            <pc:sldMk cId="619147758" sldId="2134960463"/>
            <ac:spMk id="19" creationId="{5BFFE794-70CF-0F46-84D8-88BEEF120D31}"/>
          </ac:spMkLst>
        </pc:spChg>
        <pc:spChg chg="add del mod">
          <ac:chgData name="Victoria Serra G" userId="7b4aef31-56b7-4e27-b65e-764fc5765ec4" providerId="ADAL" clId="{EB641A6A-5631-604E-9482-E1CF6AD842B0}" dt="2021-04-13T07:52:56.973" v="1490"/>
          <ac:spMkLst>
            <pc:docMk/>
            <pc:sldMk cId="619147758" sldId="2134960463"/>
            <ac:spMk id="20" creationId="{38BFA309-CFF1-114A-A2BA-6E15CAED7862}"/>
          </ac:spMkLst>
        </pc:spChg>
        <pc:spChg chg="add del mod">
          <ac:chgData name="Victoria Serra G" userId="7b4aef31-56b7-4e27-b65e-764fc5765ec4" providerId="ADAL" clId="{EB641A6A-5631-604E-9482-E1CF6AD842B0}" dt="2021-04-13T07:52:56.973" v="1490"/>
          <ac:spMkLst>
            <pc:docMk/>
            <pc:sldMk cId="619147758" sldId="2134960463"/>
            <ac:spMk id="21" creationId="{9C06366C-9FC5-F048-B52E-532DF809622E}"/>
          </ac:spMkLst>
        </pc:spChg>
        <pc:spChg chg="add del mod">
          <ac:chgData name="Victoria Serra G" userId="7b4aef31-56b7-4e27-b65e-764fc5765ec4" providerId="ADAL" clId="{EB641A6A-5631-604E-9482-E1CF6AD842B0}" dt="2021-04-13T07:52:56.973" v="1490"/>
          <ac:spMkLst>
            <pc:docMk/>
            <pc:sldMk cId="619147758" sldId="2134960463"/>
            <ac:spMk id="22" creationId="{9BCB61A0-662D-9943-82D5-9966DF4B8835}"/>
          </ac:spMkLst>
        </pc:spChg>
        <pc:spChg chg="add del mod">
          <ac:chgData name="Victoria Serra G" userId="7b4aef31-56b7-4e27-b65e-764fc5765ec4" providerId="ADAL" clId="{EB641A6A-5631-604E-9482-E1CF6AD842B0}" dt="2021-04-13T07:52:56.973" v="1490"/>
          <ac:spMkLst>
            <pc:docMk/>
            <pc:sldMk cId="619147758" sldId="2134960463"/>
            <ac:spMk id="23" creationId="{82FEA719-4959-9943-96B6-FCE10E5335F1}"/>
          </ac:spMkLst>
        </pc:spChg>
        <pc:spChg chg="add mod">
          <ac:chgData name="Victoria Serra G" userId="7b4aef31-56b7-4e27-b65e-764fc5765ec4" providerId="ADAL" clId="{EB641A6A-5631-604E-9482-E1CF6AD842B0}" dt="2021-04-13T07:54:24.494" v="1555" actId="207"/>
          <ac:spMkLst>
            <pc:docMk/>
            <pc:sldMk cId="619147758" sldId="2134960463"/>
            <ac:spMk id="24" creationId="{A00A47D7-1922-084E-85F4-46966588576D}"/>
          </ac:spMkLst>
        </pc:spChg>
        <pc:spChg chg="add mod">
          <ac:chgData name="Victoria Serra G" userId="7b4aef31-56b7-4e27-b65e-764fc5765ec4" providerId="ADAL" clId="{EB641A6A-5631-604E-9482-E1CF6AD842B0}" dt="2021-04-13T07:53:55.668" v="1548" actId="207"/>
          <ac:spMkLst>
            <pc:docMk/>
            <pc:sldMk cId="619147758" sldId="2134960463"/>
            <ac:spMk id="25" creationId="{A6346002-A429-304F-B173-3057DA9948E6}"/>
          </ac:spMkLst>
        </pc:spChg>
        <pc:spChg chg="add mod">
          <ac:chgData name="Victoria Serra G" userId="7b4aef31-56b7-4e27-b65e-764fc5765ec4" providerId="ADAL" clId="{EB641A6A-5631-604E-9482-E1CF6AD842B0}" dt="2021-04-13T07:53:55.668" v="1548" actId="207"/>
          <ac:spMkLst>
            <pc:docMk/>
            <pc:sldMk cId="619147758" sldId="2134960463"/>
            <ac:spMk id="26" creationId="{2D4B9ACE-A0BD-8844-A3EB-1959B3987966}"/>
          </ac:spMkLst>
        </pc:spChg>
        <pc:spChg chg="add mod">
          <ac:chgData name="Victoria Serra G" userId="7b4aef31-56b7-4e27-b65e-764fc5765ec4" providerId="ADAL" clId="{EB641A6A-5631-604E-9482-E1CF6AD842B0}" dt="2021-04-13T07:53:55.668" v="1548" actId="207"/>
          <ac:spMkLst>
            <pc:docMk/>
            <pc:sldMk cId="619147758" sldId="2134960463"/>
            <ac:spMk id="27" creationId="{FAEBC3B3-0BEE-B146-937A-7FE90209A3DE}"/>
          </ac:spMkLst>
        </pc:spChg>
        <pc:spChg chg="add mod">
          <ac:chgData name="Victoria Serra G" userId="7b4aef31-56b7-4e27-b65e-764fc5765ec4" providerId="ADAL" clId="{EB641A6A-5631-604E-9482-E1CF6AD842B0}" dt="2021-04-13T07:53:55.668" v="1548" actId="207"/>
          <ac:spMkLst>
            <pc:docMk/>
            <pc:sldMk cId="619147758" sldId="2134960463"/>
            <ac:spMk id="28" creationId="{1A36F89E-DBDD-334A-8A38-27113E03BC2E}"/>
          </ac:spMkLst>
        </pc:spChg>
        <pc:spChg chg="add mod">
          <ac:chgData name="Victoria Serra G" userId="7b4aef31-56b7-4e27-b65e-764fc5765ec4" providerId="ADAL" clId="{EB641A6A-5631-604E-9482-E1CF6AD842B0}" dt="2021-04-13T07:54:20.309" v="1554" actId="207"/>
          <ac:spMkLst>
            <pc:docMk/>
            <pc:sldMk cId="619147758" sldId="2134960463"/>
            <ac:spMk id="29" creationId="{435193AD-B208-C84A-9170-4C42CB429AB6}"/>
          </ac:spMkLst>
        </pc:spChg>
        <pc:spChg chg="add mod">
          <ac:chgData name="Victoria Serra G" userId="7b4aef31-56b7-4e27-b65e-764fc5765ec4" providerId="ADAL" clId="{EB641A6A-5631-604E-9482-E1CF6AD842B0}" dt="2021-04-13T07:54:20.309" v="1554" actId="207"/>
          <ac:spMkLst>
            <pc:docMk/>
            <pc:sldMk cId="619147758" sldId="2134960463"/>
            <ac:spMk id="30" creationId="{AFFECA6C-96CB-644E-80FF-8E3A05BBC217}"/>
          </ac:spMkLst>
        </pc:spChg>
        <pc:grpChg chg="add del mod">
          <ac:chgData name="Victoria Serra G" userId="7b4aef31-56b7-4e27-b65e-764fc5765ec4" providerId="ADAL" clId="{EB641A6A-5631-604E-9482-E1CF6AD842B0}" dt="2021-04-13T09:12:14.891" v="2795" actId="478"/>
          <ac:grpSpMkLst>
            <pc:docMk/>
            <pc:sldMk cId="619147758" sldId="2134960463"/>
            <ac:grpSpMk id="4" creationId="{0DF5A874-C538-CE4D-8791-A85531392628}"/>
          </ac:grpSpMkLst>
        </pc:grpChg>
      </pc:sldChg>
      <pc:sldChg chg="addSp delSp modSp mod">
        <pc:chgData name="Victoria Serra G" userId="7b4aef31-56b7-4e27-b65e-764fc5765ec4" providerId="ADAL" clId="{EB641A6A-5631-604E-9482-E1CF6AD842B0}" dt="2021-04-13T09:12:25.999" v="2799" actId="478"/>
        <pc:sldMkLst>
          <pc:docMk/>
          <pc:sldMk cId="2499681722" sldId="2134960464"/>
        </pc:sldMkLst>
        <pc:spChg chg="mod">
          <ac:chgData name="Victoria Serra G" userId="7b4aef31-56b7-4e27-b65e-764fc5765ec4" providerId="ADAL" clId="{EB641A6A-5631-604E-9482-E1CF6AD842B0}" dt="2021-04-13T07:57:13.393" v="1584" actId="255"/>
          <ac:spMkLst>
            <pc:docMk/>
            <pc:sldMk cId="2499681722" sldId="2134960464"/>
            <ac:spMk id="2" creationId="{F0343857-B3D4-EE4B-B145-594D864007C9}"/>
          </ac:spMkLst>
        </pc:spChg>
        <pc:spChg chg="mod">
          <ac:chgData name="Victoria Serra G" userId="7b4aef31-56b7-4e27-b65e-764fc5765ec4" providerId="ADAL" clId="{EB641A6A-5631-604E-9482-E1CF6AD842B0}" dt="2021-04-13T07:55:20.545" v="1559" actId="255"/>
          <ac:spMkLst>
            <pc:docMk/>
            <pc:sldMk cId="2499681722" sldId="2134960464"/>
            <ac:spMk id="3" creationId="{AD4A8093-39C8-FB4B-A914-1502ADF096F9}"/>
          </ac:spMkLst>
        </pc:spChg>
        <pc:spChg chg="mod">
          <ac:chgData name="Victoria Serra G" userId="7b4aef31-56b7-4e27-b65e-764fc5765ec4" providerId="ADAL" clId="{EB641A6A-5631-604E-9482-E1CF6AD842B0}" dt="2021-04-13T07:55:17.671" v="1558"/>
          <ac:spMkLst>
            <pc:docMk/>
            <pc:sldMk cId="2499681722" sldId="2134960464"/>
            <ac:spMk id="20" creationId="{0E5E57C7-7347-DB4E-AF64-9A1AA3AB84E9}"/>
          </ac:spMkLst>
        </pc:spChg>
        <pc:spChg chg="mod">
          <ac:chgData name="Victoria Serra G" userId="7b4aef31-56b7-4e27-b65e-764fc5765ec4" providerId="ADAL" clId="{EB641A6A-5631-604E-9482-E1CF6AD842B0}" dt="2021-04-13T07:55:17.671" v="1558"/>
          <ac:spMkLst>
            <pc:docMk/>
            <pc:sldMk cId="2499681722" sldId="2134960464"/>
            <ac:spMk id="22" creationId="{209CEC26-1636-9945-BBF7-4B2FC8747B92}"/>
          </ac:spMkLst>
        </pc:spChg>
        <pc:spChg chg="mod">
          <ac:chgData name="Victoria Serra G" userId="7b4aef31-56b7-4e27-b65e-764fc5765ec4" providerId="ADAL" clId="{EB641A6A-5631-604E-9482-E1CF6AD842B0}" dt="2021-04-13T07:55:17.671" v="1558"/>
          <ac:spMkLst>
            <pc:docMk/>
            <pc:sldMk cId="2499681722" sldId="2134960464"/>
            <ac:spMk id="23" creationId="{594DF59A-05A0-CC44-ADB7-DAB9F267F167}"/>
          </ac:spMkLst>
        </pc:spChg>
        <pc:spChg chg="mod">
          <ac:chgData name="Victoria Serra G" userId="7b4aef31-56b7-4e27-b65e-764fc5765ec4" providerId="ADAL" clId="{EB641A6A-5631-604E-9482-E1CF6AD842B0}" dt="2021-04-13T07:55:17.671" v="1558"/>
          <ac:spMkLst>
            <pc:docMk/>
            <pc:sldMk cId="2499681722" sldId="2134960464"/>
            <ac:spMk id="24" creationId="{C7A2F486-D5B7-A34B-874E-8702C74A35F0}"/>
          </ac:spMkLst>
        </pc:spChg>
        <pc:spChg chg="mod">
          <ac:chgData name="Victoria Serra G" userId="7b4aef31-56b7-4e27-b65e-764fc5765ec4" providerId="ADAL" clId="{EB641A6A-5631-604E-9482-E1CF6AD842B0}" dt="2021-04-13T07:55:17.671" v="1558"/>
          <ac:spMkLst>
            <pc:docMk/>
            <pc:sldMk cId="2499681722" sldId="2134960464"/>
            <ac:spMk id="25" creationId="{3814AE2A-6402-C049-99B0-D85B8BE0C55E}"/>
          </ac:spMkLst>
        </pc:spChg>
        <pc:spChg chg="mod">
          <ac:chgData name="Victoria Serra G" userId="7b4aef31-56b7-4e27-b65e-764fc5765ec4" providerId="ADAL" clId="{EB641A6A-5631-604E-9482-E1CF6AD842B0}" dt="2021-04-13T07:55:17.671" v="1558"/>
          <ac:spMkLst>
            <pc:docMk/>
            <pc:sldMk cId="2499681722" sldId="2134960464"/>
            <ac:spMk id="26" creationId="{23F497E0-4058-444D-A322-A679B8F53882}"/>
          </ac:spMkLst>
        </pc:spChg>
        <pc:spChg chg="mod">
          <ac:chgData name="Victoria Serra G" userId="7b4aef31-56b7-4e27-b65e-764fc5765ec4" providerId="ADAL" clId="{EB641A6A-5631-604E-9482-E1CF6AD842B0}" dt="2021-04-13T07:55:17.671" v="1558"/>
          <ac:spMkLst>
            <pc:docMk/>
            <pc:sldMk cId="2499681722" sldId="2134960464"/>
            <ac:spMk id="27" creationId="{B1D8F312-F217-FE4D-A54C-B1E8B5F3B7CF}"/>
          </ac:spMkLst>
        </pc:spChg>
        <pc:spChg chg="mod">
          <ac:chgData name="Victoria Serra G" userId="7b4aef31-56b7-4e27-b65e-764fc5765ec4" providerId="ADAL" clId="{EB641A6A-5631-604E-9482-E1CF6AD842B0}" dt="2021-04-13T09:12:24.336" v="2798" actId="1076"/>
          <ac:spMkLst>
            <pc:docMk/>
            <pc:sldMk cId="2499681722" sldId="2134960464"/>
            <ac:spMk id="33" creationId="{D016DD58-F957-1346-8429-B6924E6E0577}"/>
          </ac:spMkLst>
        </pc:spChg>
        <pc:grpChg chg="add del mod">
          <ac:chgData name="Victoria Serra G" userId="7b4aef31-56b7-4e27-b65e-764fc5765ec4" providerId="ADAL" clId="{EB641A6A-5631-604E-9482-E1CF6AD842B0}" dt="2021-04-13T09:12:25.999" v="2799" actId="478"/>
          <ac:grpSpMkLst>
            <pc:docMk/>
            <pc:sldMk cId="2499681722" sldId="2134960464"/>
            <ac:grpSpMk id="17" creationId="{F2203DC6-A016-7F42-BF93-EA4A2EBBB808}"/>
          </ac:grpSpMkLst>
        </pc:grpChg>
      </pc:sldChg>
      <pc:sldChg chg="addSp delSp modSp mod">
        <pc:chgData name="Victoria Serra G" userId="7b4aef31-56b7-4e27-b65e-764fc5765ec4" providerId="ADAL" clId="{EB641A6A-5631-604E-9482-E1CF6AD842B0}" dt="2021-04-13T09:12:19.246" v="2796" actId="478"/>
        <pc:sldMkLst>
          <pc:docMk/>
          <pc:sldMk cId="2537832717" sldId="2134960465"/>
        </pc:sldMkLst>
        <pc:spChg chg="mod">
          <ac:chgData name="Victoria Serra G" userId="7b4aef31-56b7-4e27-b65e-764fc5765ec4" providerId="ADAL" clId="{EB641A6A-5631-604E-9482-E1CF6AD842B0}" dt="2021-04-13T07:57:09.187" v="1583" actId="255"/>
          <ac:spMkLst>
            <pc:docMk/>
            <pc:sldMk cId="2537832717" sldId="2134960465"/>
            <ac:spMk id="2" creationId="{F0343857-B3D4-EE4B-B145-594D864007C9}"/>
          </ac:spMkLst>
        </pc:spChg>
        <pc:spChg chg="mod">
          <ac:chgData name="Victoria Serra G" userId="7b4aef31-56b7-4e27-b65e-764fc5765ec4" providerId="ADAL" clId="{EB641A6A-5631-604E-9482-E1CF6AD842B0}" dt="2021-04-13T07:54:35.533" v="1557" actId="255"/>
          <ac:spMkLst>
            <pc:docMk/>
            <pc:sldMk cId="2537832717" sldId="2134960465"/>
            <ac:spMk id="3" creationId="{AD4A8093-39C8-FB4B-A914-1502ADF096F9}"/>
          </ac:spMkLst>
        </pc:spChg>
        <pc:spChg chg="mod">
          <ac:chgData name="Victoria Serra G" userId="7b4aef31-56b7-4e27-b65e-764fc5765ec4" providerId="ADAL" clId="{EB641A6A-5631-604E-9482-E1CF6AD842B0}" dt="2021-04-13T07:54:31.464" v="1556"/>
          <ac:spMkLst>
            <pc:docMk/>
            <pc:sldMk cId="2537832717" sldId="2134960465"/>
            <ac:spMk id="32" creationId="{872F7197-3FA6-1248-8D41-F6D7B333AFAA}"/>
          </ac:spMkLst>
        </pc:spChg>
        <pc:spChg chg="mod">
          <ac:chgData name="Victoria Serra G" userId="7b4aef31-56b7-4e27-b65e-764fc5765ec4" providerId="ADAL" clId="{EB641A6A-5631-604E-9482-E1CF6AD842B0}" dt="2021-04-13T07:54:31.464" v="1556"/>
          <ac:spMkLst>
            <pc:docMk/>
            <pc:sldMk cId="2537832717" sldId="2134960465"/>
            <ac:spMk id="34" creationId="{EAAD1053-CD65-9946-B54F-E3EE6757EA8A}"/>
          </ac:spMkLst>
        </pc:spChg>
        <pc:spChg chg="mod">
          <ac:chgData name="Victoria Serra G" userId="7b4aef31-56b7-4e27-b65e-764fc5765ec4" providerId="ADAL" clId="{EB641A6A-5631-604E-9482-E1CF6AD842B0}" dt="2021-04-13T07:54:31.464" v="1556"/>
          <ac:spMkLst>
            <pc:docMk/>
            <pc:sldMk cId="2537832717" sldId="2134960465"/>
            <ac:spMk id="37" creationId="{D2CB8736-EBB2-9044-81ED-A8BAE1D701E6}"/>
          </ac:spMkLst>
        </pc:spChg>
        <pc:spChg chg="mod">
          <ac:chgData name="Victoria Serra G" userId="7b4aef31-56b7-4e27-b65e-764fc5765ec4" providerId="ADAL" clId="{EB641A6A-5631-604E-9482-E1CF6AD842B0}" dt="2021-04-13T07:54:31.464" v="1556"/>
          <ac:spMkLst>
            <pc:docMk/>
            <pc:sldMk cId="2537832717" sldId="2134960465"/>
            <ac:spMk id="40" creationId="{FB171E6A-E9BE-6E44-AB22-3C09F71FD4E2}"/>
          </ac:spMkLst>
        </pc:spChg>
        <pc:spChg chg="mod">
          <ac:chgData name="Victoria Serra G" userId="7b4aef31-56b7-4e27-b65e-764fc5765ec4" providerId="ADAL" clId="{EB641A6A-5631-604E-9482-E1CF6AD842B0}" dt="2021-04-13T07:54:31.464" v="1556"/>
          <ac:spMkLst>
            <pc:docMk/>
            <pc:sldMk cId="2537832717" sldId="2134960465"/>
            <ac:spMk id="42" creationId="{9C4DF3D5-E32B-1344-82E4-E4EA983B2C1C}"/>
          </ac:spMkLst>
        </pc:spChg>
        <pc:spChg chg="mod">
          <ac:chgData name="Victoria Serra G" userId="7b4aef31-56b7-4e27-b65e-764fc5765ec4" providerId="ADAL" clId="{EB641A6A-5631-604E-9482-E1CF6AD842B0}" dt="2021-04-13T07:54:31.464" v="1556"/>
          <ac:spMkLst>
            <pc:docMk/>
            <pc:sldMk cId="2537832717" sldId="2134960465"/>
            <ac:spMk id="43" creationId="{497271EE-51FF-A24D-A6A9-B9C5A866DA46}"/>
          </ac:spMkLst>
        </pc:spChg>
        <pc:spChg chg="mod">
          <ac:chgData name="Victoria Serra G" userId="7b4aef31-56b7-4e27-b65e-764fc5765ec4" providerId="ADAL" clId="{EB641A6A-5631-604E-9482-E1CF6AD842B0}" dt="2021-04-13T07:54:31.464" v="1556"/>
          <ac:spMkLst>
            <pc:docMk/>
            <pc:sldMk cId="2537832717" sldId="2134960465"/>
            <ac:spMk id="44" creationId="{AD828924-61C3-C443-8C41-6FAFE4216E37}"/>
          </ac:spMkLst>
        </pc:spChg>
        <pc:grpChg chg="add del mod">
          <ac:chgData name="Victoria Serra G" userId="7b4aef31-56b7-4e27-b65e-764fc5765ec4" providerId="ADAL" clId="{EB641A6A-5631-604E-9482-E1CF6AD842B0}" dt="2021-04-13T09:12:19.246" v="2796" actId="478"/>
          <ac:grpSpMkLst>
            <pc:docMk/>
            <pc:sldMk cId="2537832717" sldId="2134960465"/>
            <ac:grpSpMk id="31" creationId="{F3B59677-A466-A74C-B367-6F2DB9072331}"/>
          </ac:grpSpMkLst>
        </pc:grpChg>
      </pc:sldChg>
      <pc:sldChg chg="addSp delSp modSp mod">
        <pc:chgData name="Victoria Serra G" userId="7b4aef31-56b7-4e27-b65e-764fc5765ec4" providerId="ADAL" clId="{EB641A6A-5631-604E-9482-E1CF6AD842B0}" dt="2021-04-13T13:59:49.553" v="3668" actId="20577"/>
        <pc:sldMkLst>
          <pc:docMk/>
          <pc:sldMk cId="606866120" sldId="2134960466"/>
        </pc:sldMkLst>
        <pc:spChg chg="mod">
          <ac:chgData name="Victoria Serra G" userId="7b4aef31-56b7-4e27-b65e-764fc5765ec4" providerId="ADAL" clId="{EB641A6A-5631-604E-9482-E1CF6AD842B0}" dt="2021-04-13T13:59:49.553" v="3668" actId="20577"/>
          <ac:spMkLst>
            <pc:docMk/>
            <pc:sldMk cId="606866120" sldId="2134960466"/>
            <ac:spMk id="2" creationId="{F0343857-B3D4-EE4B-B145-594D864007C9}"/>
          </ac:spMkLst>
        </pc:spChg>
        <pc:spChg chg="mod">
          <ac:chgData name="Victoria Serra G" userId="7b4aef31-56b7-4e27-b65e-764fc5765ec4" providerId="ADAL" clId="{EB641A6A-5631-604E-9482-E1CF6AD842B0}" dt="2021-04-13T09:12:36.285" v="2802" actId="20577"/>
          <ac:spMkLst>
            <pc:docMk/>
            <pc:sldMk cId="606866120" sldId="2134960466"/>
            <ac:spMk id="3" creationId="{AD4A8093-39C8-FB4B-A914-1502ADF096F9}"/>
          </ac:spMkLst>
        </pc:spChg>
        <pc:spChg chg="mod">
          <ac:chgData name="Victoria Serra G" userId="7b4aef31-56b7-4e27-b65e-764fc5765ec4" providerId="ADAL" clId="{EB641A6A-5631-604E-9482-E1CF6AD842B0}" dt="2021-04-13T07:55:39.478" v="1566" actId="207"/>
          <ac:spMkLst>
            <pc:docMk/>
            <pc:sldMk cId="606866120" sldId="2134960466"/>
            <ac:spMk id="14" creationId="{CB25FD13-418A-7F4B-ACEB-CB7C11AA2FAB}"/>
          </ac:spMkLst>
        </pc:spChg>
        <pc:spChg chg="mod">
          <ac:chgData name="Victoria Serra G" userId="7b4aef31-56b7-4e27-b65e-764fc5765ec4" providerId="ADAL" clId="{EB641A6A-5631-604E-9482-E1CF6AD842B0}" dt="2021-04-13T07:55:35.651" v="1565"/>
          <ac:spMkLst>
            <pc:docMk/>
            <pc:sldMk cId="606866120" sldId="2134960466"/>
            <ac:spMk id="15" creationId="{CA0FD130-39EC-6E4A-8FE0-DBB13207A617}"/>
          </ac:spMkLst>
        </pc:spChg>
        <pc:spChg chg="mod">
          <ac:chgData name="Victoria Serra G" userId="7b4aef31-56b7-4e27-b65e-764fc5765ec4" providerId="ADAL" clId="{EB641A6A-5631-604E-9482-E1CF6AD842B0}" dt="2021-04-13T07:55:35.651" v="1565"/>
          <ac:spMkLst>
            <pc:docMk/>
            <pc:sldMk cId="606866120" sldId="2134960466"/>
            <ac:spMk id="16" creationId="{DB7FA2F2-8F0E-DC49-A073-52279C62518E}"/>
          </ac:spMkLst>
        </pc:spChg>
        <pc:spChg chg="mod">
          <ac:chgData name="Victoria Serra G" userId="7b4aef31-56b7-4e27-b65e-764fc5765ec4" providerId="ADAL" clId="{EB641A6A-5631-604E-9482-E1CF6AD842B0}" dt="2021-04-13T07:55:44.403" v="1567" actId="207"/>
          <ac:spMkLst>
            <pc:docMk/>
            <pc:sldMk cId="606866120" sldId="2134960466"/>
            <ac:spMk id="18" creationId="{BCB02594-2CFC-3446-8C45-3D7DD052B84D}"/>
          </ac:spMkLst>
        </pc:spChg>
        <pc:spChg chg="mod">
          <ac:chgData name="Victoria Serra G" userId="7b4aef31-56b7-4e27-b65e-764fc5765ec4" providerId="ADAL" clId="{EB641A6A-5631-604E-9482-E1CF6AD842B0}" dt="2021-04-13T07:55:35.651" v="1565"/>
          <ac:spMkLst>
            <pc:docMk/>
            <pc:sldMk cId="606866120" sldId="2134960466"/>
            <ac:spMk id="19" creationId="{038981DA-D198-304F-B558-D4977B4AFFE2}"/>
          </ac:spMkLst>
        </pc:spChg>
        <pc:spChg chg="mod">
          <ac:chgData name="Victoria Serra G" userId="7b4aef31-56b7-4e27-b65e-764fc5765ec4" providerId="ADAL" clId="{EB641A6A-5631-604E-9482-E1CF6AD842B0}" dt="2021-04-13T07:55:35.651" v="1565"/>
          <ac:spMkLst>
            <pc:docMk/>
            <pc:sldMk cId="606866120" sldId="2134960466"/>
            <ac:spMk id="21" creationId="{DD09899B-A76F-9749-B3DD-D26CA78E8DE7}"/>
          </ac:spMkLst>
        </pc:spChg>
        <pc:spChg chg="mod">
          <ac:chgData name="Victoria Serra G" userId="7b4aef31-56b7-4e27-b65e-764fc5765ec4" providerId="ADAL" clId="{EB641A6A-5631-604E-9482-E1CF6AD842B0}" dt="2021-04-13T07:55:35.651" v="1565"/>
          <ac:spMkLst>
            <pc:docMk/>
            <pc:sldMk cId="606866120" sldId="2134960466"/>
            <ac:spMk id="22" creationId="{77D5469B-4EB8-C94E-89E5-7896ACECC6A4}"/>
          </ac:spMkLst>
        </pc:spChg>
        <pc:spChg chg="mod">
          <ac:chgData name="Victoria Serra G" userId="7b4aef31-56b7-4e27-b65e-764fc5765ec4" providerId="ADAL" clId="{EB641A6A-5631-604E-9482-E1CF6AD842B0}" dt="2021-04-13T13:59:46.647" v="3663" actId="1076"/>
          <ac:spMkLst>
            <pc:docMk/>
            <pc:sldMk cId="606866120" sldId="2134960466"/>
            <ac:spMk id="33" creationId="{D016DD58-F957-1346-8429-B6924E6E0577}"/>
          </ac:spMkLst>
        </pc:spChg>
        <pc:spChg chg="mod">
          <ac:chgData name="Victoria Serra G" userId="7b4aef31-56b7-4e27-b65e-764fc5765ec4" providerId="ADAL" clId="{EB641A6A-5631-604E-9482-E1CF6AD842B0}" dt="2021-04-13T09:12:43.234" v="2805" actId="207"/>
          <ac:spMkLst>
            <pc:docMk/>
            <pc:sldMk cId="606866120" sldId="2134960466"/>
            <ac:spMk id="35" creationId="{610A673C-FC63-3F4C-9716-0668BFC2367D}"/>
          </ac:spMkLst>
        </pc:spChg>
        <pc:grpChg chg="add del mod">
          <ac:chgData name="Victoria Serra G" userId="7b4aef31-56b7-4e27-b65e-764fc5765ec4" providerId="ADAL" clId="{EB641A6A-5631-604E-9482-E1CF6AD842B0}" dt="2021-04-13T09:12:44.790" v="2806" actId="478"/>
          <ac:grpSpMkLst>
            <pc:docMk/>
            <pc:sldMk cId="606866120" sldId="2134960466"/>
            <ac:grpSpMk id="12" creationId="{68B0190C-AF3E-6841-A395-D9A49542ADAB}"/>
          </ac:grpSpMkLst>
        </pc:grpChg>
      </pc:sldChg>
      <pc:sldChg chg="addSp delSp modSp mod">
        <pc:chgData name="Victoria Serra G" userId="7b4aef31-56b7-4e27-b65e-764fc5765ec4" providerId="ADAL" clId="{EB641A6A-5631-604E-9482-E1CF6AD842B0}" dt="2021-04-13T12:50:22.918" v="3465" actId="1035"/>
        <pc:sldMkLst>
          <pc:docMk/>
          <pc:sldMk cId="567354418" sldId="2134960467"/>
        </pc:sldMkLst>
        <pc:spChg chg="mod">
          <ac:chgData name="Victoria Serra G" userId="7b4aef31-56b7-4e27-b65e-764fc5765ec4" providerId="ADAL" clId="{EB641A6A-5631-604E-9482-E1CF6AD842B0}" dt="2021-04-13T07:57:27.480" v="1587" actId="255"/>
          <ac:spMkLst>
            <pc:docMk/>
            <pc:sldMk cId="567354418" sldId="2134960467"/>
            <ac:spMk id="2" creationId="{F0343857-B3D4-EE4B-B145-594D864007C9}"/>
          </ac:spMkLst>
        </pc:spChg>
        <pc:spChg chg="mod">
          <ac:chgData name="Victoria Serra G" userId="7b4aef31-56b7-4e27-b65e-764fc5765ec4" providerId="ADAL" clId="{EB641A6A-5631-604E-9482-E1CF6AD842B0}" dt="2021-04-13T12:50:20.515" v="3461" actId="20577"/>
          <ac:spMkLst>
            <pc:docMk/>
            <pc:sldMk cId="567354418" sldId="2134960467"/>
            <ac:spMk id="3" creationId="{AD4A8093-39C8-FB4B-A914-1502ADF096F9}"/>
          </ac:spMkLst>
        </pc:spChg>
        <pc:spChg chg="mod">
          <ac:chgData name="Victoria Serra G" userId="7b4aef31-56b7-4e27-b65e-764fc5765ec4" providerId="ADAL" clId="{EB641A6A-5631-604E-9482-E1CF6AD842B0}" dt="2021-04-13T07:55:47.794" v="1568"/>
          <ac:spMkLst>
            <pc:docMk/>
            <pc:sldMk cId="567354418" sldId="2134960467"/>
            <ac:spMk id="19" creationId="{6BDFC035-DB3D-C641-A087-61E97731CC4F}"/>
          </ac:spMkLst>
        </pc:spChg>
        <pc:spChg chg="mod">
          <ac:chgData name="Victoria Serra G" userId="7b4aef31-56b7-4e27-b65e-764fc5765ec4" providerId="ADAL" clId="{EB641A6A-5631-604E-9482-E1CF6AD842B0}" dt="2021-04-13T07:55:47.794" v="1568"/>
          <ac:spMkLst>
            <pc:docMk/>
            <pc:sldMk cId="567354418" sldId="2134960467"/>
            <ac:spMk id="20" creationId="{6EB1CD67-C4D9-2B4C-B483-D2514AF2B4BD}"/>
          </ac:spMkLst>
        </pc:spChg>
        <pc:spChg chg="mod">
          <ac:chgData name="Victoria Serra G" userId="7b4aef31-56b7-4e27-b65e-764fc5765ec4" providerId="ADAL" clId="{EB641A6A-5631-604E-9482-E1CF6AD842B0}" dt="2021-04-13T07:55:47.794" v="1568"/>
          <ac:spMkLst>
            <pc:docMk/>
            <pc:sldMk cId="567354418" sldId="2134960467"/>
            <ac:spMk id="21" creationId="{EA0E8717-C6FB-4243-A7DA-925D7E805EDD}"/>
          </ac:spMkLst>
        </pc:spChg>
        <pc:spChg chg="mod">
          <ac:chgData name="Victoria Serra G" userId="7b4aef31-56b7-4e27-b65e-764fc5765ec4" providerId="ADAL" clId="{EB641A6A-5631-604E-9482-E1CF6AD842B0}" dt="2021-04-13T07:55:47.794" v="1568"/>
          <ac:spMkLst>
            <pc:docMk/>
            <pc:sldMk cId="567354418" sldId="2134960467"/>
            <ac:spMk id="22" creationId="{644595FE-FC87-3F40-848A-5AC8CE43CF0C}"/>
          </ac:spMkLst>
        </pc:spChg>
        <pc:spChg chg="mod">
          <ac:chgData name="Victoria Serra G" userId="7b4aef31-56b7-4e27-b65e-764fc5765ec4" providerId="ADAL" clId="{EB641A6A-5631-604E-9482-E1CF6AD842B0}" dt="2021-04-13T07:55:47.794" v="1568"/>
          <ac:spMkLst>
            <pc:docMk/>
            <pc:sldMk cId="567354418" sldId="2134960467"/>
            <ac:spMk id="23" creationId="{8C30EF63-FF08-B345-835F-F97D47C0FD24}"/>
          </ac:spMkLst>
        </pc:spChg>
        <pc:spChg chg="mod">
          <ac:chgData name="Victoria Serra G" userId="7b4aef31-56b7-4e27-b65e-764fc5765ec4" providerId="ADAL" clId="{EB641A6A-5631-604E-9482-E1CF6AD842B0}" dt="2021-04-13T07:55:47.794" v="1568"/>
          <ac:spMkLst>
            <pc:docMk/>
            <pc:sldMk cId="567354418" sldId="2134960467"/>
            <ac:spMk id="24" creationId="{29D97DF3-A880-3648-9F7D-33EA10C750F4}"/>
          </ac:spMkLst>
        </pc:spChg>
        <pc:spChg chg="mod">
          <ac:chgData name="Victoria Serra G" userId="7b4aef31-56b7-4e27-b65e-764fc5765ec4" providerId="ADAL" clId="{EB641A6A-5631-604E-9482-E1CF6AD842B0}" dt="2021-04-13T07:55:47.794" v="1568"/>
          <ac:spMkLst>
            <pc:docMk/>
            <pc:sldMk cId="567354418" sldId="2134960467"/>
            <ac:spMk id="25" creationId="{F94FE679-D2D8-4A48-8F3E-4475C86D307E}"/>
          </ac:spMkLst>
        </pc:spChg>
        <pc:spChg chg="mod">
          <ac:chgData name="Victoria Serra G" userId="7b4aef31-56b7-4e27-b65e-764fc5765ec4" providerId="ADAL" clId="{EB641A6A-5631-604E-9482-E1CF6AD842B0}" dt="2021-04-13T12:50:22.918" v="3465" actId="1035"/>
          <ac:spMkLst>
            <pc:docMk/>
            <pc:sldMk cId="567354418" sldId="2134960467"/>
            <ac:spMk id="33" creationId="{D016DD58-F957-1346-8429-B6924E6E0577}"/>
          </ac:spMkLst>
        </pc:spChg>
        <pc:grpChg chg="add del mod">
          <ac:chgData name="Victoria Serra G" userId="7b4aef31-56b7-4e27-b65e-764fc5765ec4" providerId="ADAL" clId="{EB641A6A-5631-604E-9482-E1CF6AD842B0}" dt="2021-04-13T09:13:10.153" v="2816" actId="478"/>
          <ac:grpSpMkLst>
            <pc:docMk/>
            <pc:sldMk cId="567354418" sldId="2134960467"/>
            <ac:grpSpMk id="18" creationId="{CD547D24-4493-E744-8D2B-E9FDE823146F}"/>
          </ac:grpSpMkLst>
        </pc:grpChg>
      </pc:sldChg>
      <pc:sldChg chg="addSp delSp modSp mod">
        <pc:chgData name="Victoria Serra G" userId="7b4aef31-56b7-4e27-b65e-764fc5765ec4" providerId="ADAL" clId="{EB641A6A-5631-604E-9482-E1CF6AD842B0}" dt="2021-04-13T09:13:42.961" v="2832" actId="207"/>
        <pc:sldMkLst>
          <pc:docMk/>
          <pc:sldMk cId="1674517828" sldId="2134960468"/>
        </pc:sldMkLst>
        <pc:spChg chg="mod">
          <ac:chgData name="Victoria Serra G" userId="7b4aef31-56b7-4e27-b65e-764fc5765ec4" providerId="ADAL" clId="{EB641A6A-5631-604E-9482-E1CF6AD842B0}" dt="2021-04-13T07:57:32.744" v="1588" actId="255"/>
          <ac:spMkLst>
            <pc:docMk/>
            <pc:sldMk cId="1674517828" sldId="2134960468"/>
            <ac:spMk id="2" creationId="{F0343857-B3D4-EE4B-B145-594D864007C9}"/>
          </ac:spMkLst>
        </pc:spChg>
        <pc:spChg chg="mod">
          <ac:chgData name="Victoria Serra G" userId="7b4aef31-56b7-4e27-b65e-764fc5765ec4" providerId="ADAL" clId="{EB641A6A-5631-604E-9482-E1CF6AD842B0}" dt="2021-04-13T09:13:23.343" v="2824" actId="20577"/>
          <ac:spMkLst>
            <pc:docMk/>
            <pc:sldMk cId="1674517828" sldId="2134960468"/>
            <ac:spMk id="3" creationId="{AD4A8093-39C8-FB4B-A914-1502ADF096F9}"/>
          </ac:spMkLst>
        </pc:spChg>
        <pc:spChg chg="mod">
          <ac:chgData name="Victoria Serra G" userId="7b4aef31-56b7-4e27-b65e-764fc5765ec4" providerId="ADAL" clId="{EB641A6A-5631-604E-9482-E1CF6AD842B0}" dt="2021-04-13T07:55:50.565" v="1569"/>
          <ac:spMkLst>
            <pc:docMk/>
            <pc:sldMk cId="1674517828" sldId="2134960468"/>
            <ac:spMk id="17" creationId="{71C84305-1F0C-6D42-B370-AF6F3874D73F}"/>
          </ac:spMkLst>
        </pc:spChg>
        <pc:spChg chg="mod">
          <ac:chgData name="Victoria Serra G" userId="7b4aef31-56b7-4e27-b65e-764fc5765ec4" providerId="ADAL" clId="{EB641A6A-5631-604E-9482-E1CF6AD842B0}" dt="2021-04-13T07:55:50.565" v="1569"/>
          <ac:spMkLst>
            <pc:docMk/>
            <pc:sldMk cId="1674517828" sldId="2134960468"/>
            <ac:spMk id="18" creationId="{E20D4C25-6721-9E44-99A7-FF54BFBA56B3}"/>
          </ac:spMkLst>
        </pc:spChg>
        <pc:spChg chg="mod">
          <ac:chgData name="Victoria Serra G" userId="7b4aef31-56b7-4e27-b65e-764fc5765ec4" providerId="ADAL" clId="{EB641A6A-5631-604E-9482-E1CF6AD842B0}" dt="2021-04-13T07:55:50.565" v="1569"/>
          <ac:spMkLst>
            <pc:docMk/>
            <pc:sldMk cId="1674517828" sldId="2134960468"/>
            <ac:spMk id="20" creationId="{AE8E9EE5-9377-A640-B3B0-E2231E00C8B3}"/>
          </ac:spMkLst>
        </pc:spChg>
        <pc:spChg chg="mod">
          <ac:chgData name="Victoria Serra G" userId="7b4aef31-56b7-4e27-b65e-764fc5765ec4" providerId="ADAL" clId="{EB641A6A-5631-604E-9482-E1CF6AD842B0}" dt="2021-04-13T07:56:20.118" v="1573" actId="207"/>
          <ac:spMkLst>
            <pc:docMk/>
            <pc:sldMk cId="1674517828" sldId="2134960468"/>
            <ac:spMk id="21" creationId="{6E865941-DB93-4144-B93C-59B774C27576}"/>
          </ac:spMkLst>
        </pc:spChg>
        <pc:spChg chg="mod">
          <ac:chgData name="Victoria Serra G" userId="7b4aef31-56b7-4e27-b65e-764fc5765ec4" providerId="ADAL" clId="{EB641A6A-5631-604E-9482-E1CF6AD842B0}" dt="2021-04-13T07:56:22.859" v="1574" actId="207"/>
          <ac:spMkLst>
            <pc:docMk/>
            <pc:sldMk cId="1674517828" sldId="2134960468"/>
            <ac:spMk id="22" creationId="{A295B117-C04A-6544-977D-083C229F3234}"/>
          </ac:spMkLst>
        </pc:spChg>
        <pc:spChg chg="mod">
          <ac:chgData name="Victoria Serra G" userId="7b4aef31-56b7-4e27-b65e-764fc5765ec4" providerId="ADAL" clId="{EB641A6A-5631-604E-9482-E1CF6AD842B0}" dt="2021-04-13T07:55:50.565" v="1569"/>
          <ac:spMkLst>
            <pc:docMk/>
            <pc:sldMk cId="1674517828" sldId="2134960468"/>
            <ac:spMk id="24" creationId="{49902702-B786-6D43-9DD1-33389A066B37}"/>
          </ac:spMkLst>
        </pc:spChg>
        <pc:spChg chg="mod">
          <ac:chgData name="Victoria Serra G" userId="7b4aef31-56b7-4e27-b65e-764fc5765ec4" providerId="ADAL" clId="{EB641A6A-5631-604E-9482-E1CF6AD842B0}" dt="2021-04-13T07:55:50.565" v="1569"/>
          <ac:spMkLst>
            <pc:docMk/>
            <pc:sldMk cId="1674517828" sldId="2134960468"/>
            <ac:spMk id="25" creationId="{653120F7-F9EF-6147-B8DA-1FA9BB2CB485}"/>
          </ac:spMkLst>
        </pc:spChg>
        <pc:spChg chg="mod">
          <ac:chgData name="Victoria Serra G" userId="7b4aef31-56b7-4e27-b65e-764fc5765ec4" providerId="ADAL" clId="{EB641A6A-5631-604E-9482-E1CF6AD842B0}" dt="2021-04-13T09:13:26.218" v="2825" actId="1035"/>
          <ac:spMkLst>
            <pc:docMk/>
            <pc:sldMk cId="1674517828" sldId="2134960468"/>
            <ac:spMk id="33" creationId="{D016DD58-F957-1346-8429-B6924E6E0577}"/>
          </ac:spMkLst>
        </pc:spChg>
        <pc:spChg chg="mod">
          <ac:chgData name="Victoria Serra G" userId="7b4aef31-56b7-4e27-b65e-764fc5765ec4" providerId="ADAL" clId="{EB641A6A-5631-604E-9482-E1CF6AD842B0}" dt="2021-04-13T09:13:42.961" v="2832" actId="207"/>
          <ac:spMkLst>
            <pc:docMk/>
            <pc:sldMk cId="1674517828" sldId="2134960468"/>
            <ac:spMk id="35" creationId="{610A673C-FC63-3F4C-9716-0668BFC2367D}"/>
          </ac:spMkLst>
        </pc:spChg>
        <pc:grpChg chg="add del mod">
          <ac:chgData name="Victoria Serra G" userId="7b4aef31-56b7-4e27-b65e-764fc5765ec4" providerId="ADAL" clId="{EB641A6A-5631-604E-9482-E1CF6AD842B0}" dt="2021-04-13T09:13:16.842" v="2819" actId="478"/>
          <ac:grpSpMkLst>
            <pc:docMk/>
            <pc:sldMk cId="1674517828" sldId="2134960468"/>
            <ac:grpSpMk id="16" creationId="{A88510CD-1CF9-4242-BBA9-14618A75F639}"/>
          </ac:grpSpMkLst>
        </pc:grpChg>
      </pc:sldChg>
      <pc:sldChg chg="addSp delSp modSp mod">
        <pc:chgData name="Victoria Serra G" userId="7b4aef31-56b7-4e27-b65e-764fc5765ec4" providerId="ADAL" clId="{EB641A6A-5631-604E-9482-E1CF6AD842B0}" dt="2021-04-13T12:50:31.002" v="3466" actId="20577"/>
        <pc:sldMkLst>
          <pc:docMk/>
          <pc:sldMk cId="2239297938" sldId="2134960469"/>
        </pc:sldMkLst>
        <pc:spChg chg="mod">
          <ac:chgData name="Victoria Serra G" userId="7b4aef31-56b7-4e27-b65e-764fc5765ec4" providerId="ADAL" clId="{EB641A6A-5631-604E-9482-E1CF6AD842B0}" dt="2021-04-13T07:57:40.784" v="1590" actId="255"/>
          <ac:spMkLst>
            <pc:docMk/>
            <pc:sldMk cId="2239297938" sldId="2134960469"/>
            <ac:spMk id="2" creationId="{F0343857-B3D4-EE4B-B145-594D864007C9}"/>
          </ac:spMkLst>
        </pc:spChg>
        <pc:spChg chg="mod">
          <ac:chgData name="Victoria Serra G" userId="7b4aef31-56b7-4e27-b65e-764fc5765ec4" providerId="ADAL" clId="{EB641A6A-5631-604E-9482-E1CF6AD842B0}" dt="2021-04-13T12:50:31.002" v="3466" actId="20577"/>
          <ac:spMkLst>
            <pc:docMk/>
            <pc:sldMk cId="2239297938" sldId="2134960469"/>
            <ac:spMk id="3" creationId="{AD4A8093-39C8-FB4B-A914-1502ADF096F9}"/>
          </ac:spMkLst>
        </pc:spChg>
        <pc:spChg chg="mod">
          <ac:chgData name="Victoria Serra G" userId="7b4aef31-56b7-4e27-b65e-764fc5765ec4" providerId="ADAL" clId="{EB641A6A-5631-604E-9482-E1CF6AD842B0}" dt="2021-04-13T07:56:32.663" v="1575"/>
          <ac:spMkLst>
            <pc:docMk/>
            <pc:sldMk cId="2239297938" sldId="2134960469"/>
            <ac:spMk id="25" creationId="{3E06461C-9A40-9349-B31D-0159FF75EDEF}"/>
          </ac:spMkLst>
        </pc:spChg>
        <pc:spChg chg="mod">
          <ac:chgData name="Victoria Serra G" userId="7b4aef31-56b7-4e27-b65e-764fc5765ec4" providerId="ADAL" clId="{EB641A6A-5631-604E-9482-E1CF6AD842B0}" dt="2021-04-13T07:56:32.663" v="1575"/>
          <ac:spMkLst>
            <pc:docMk/>
            <pc:sldMk cId="2239297938" sldId="2134960469"/>
            <ac:spMk id="26" creationId="{1F51381E-A10D-784A-A25C-CD159E3E5F8E}"/>
          </ac:spMkLst>
        </pc:spChg>
        <pc:spChg chg="mod">
          <ac:chgData name="Victoria Serra G" userId="7b4aef31-56b7-4e27-b65e-764fc5765ec4" providerId="ADAL" clId="{EB641A6A-5631-604E-9482-E1CF6AD842B0}" dt="2021-04-13T07:56:32.663" v="1575"/>
          <ac:spMkLst>
            <pc:docMk/>
            <pc:sldMk cId="2239297938" sldId="2134960469"/>
            <ac:spMk id="27" creationId="{884B8BFF-9656-B443-9C4A-4E54E869AB32}"/>
          </ac:spMkLst>
        </pc:spChg>
        <pc:spChg chg="mod">
          <ac:chgData name="Victoria Serra G" userId="7b4aef31-56b7-4e27-b65e-764fc5765ec4" providerId="ADAL" clId="{EB641A6A-5631-604E-9482-E1CF6AD842B0}" dt="2021-04-13T07:56:32.663" v="1575"/>
          <ac:spMkLst>
            <pc:docMk/>
            <pc:sldMk cId="2239297938" sldId="2134960469"/>
            <ac:spMk id="28" creationId="{5C0F928C-4E72-864D-A9EB-B2E850011774}"/>
          </ac:spMkLst>
        </pc:spChg>
        <pc:spChg chg="mod">
          <ac:chgData name="Victoria Serra G" userId="7b4aef31-56b7-4e27-b65e-764fc5765ec4" providerId="ADAL" clId="{EB641A6A-5631-604E-9482-E1CF6AD842B0}" dt="2021-04-13T07:56:32.663" v="1575"/>
          <ac:spMkLst>
            <pc:docMk/>
            <pc:sldMk cId="2239297938" sldId="2134960469"/>
            <ac:spMk id="29" creationId="{6F7FDF6C-9913-B44D-A788-E513711E9273}"/>
          </ac:spMkLst>
        </pc:spChg>
        <pc:spChg chg="mod">
          <ac:chgData name="Victoria Serra G" userId="7b4aef31-56b7-4e27-b65e-764fc5765ec4" providerId="ADAL" clId="{EB641A6A-5631-604E-9482-E1CF6AD842B0}" dt="2021-04-13T07:56:32.663" v="1575"/>
          <ac:spMkLst>
            <pc:docMk/>
            <pc:sldMk cId="2239297938" sldId="2134960469"/>
            <ac:spMk id="30" creationId="{3E6C43A0-95F9-F147-891A-87EB4164E920}"/>
          </ac:spMkLst>
        </pc:spChg>
        <pc:spChg chg="mod">
          <ac:chgData name="Victoria Serra G" userId="7b4aef31-56b7-4e27-b65e-764fc5765ec4" providerId="ADAL" clId="{EB641A6A-5631-604E-9482-E1CF6AD842B0}" dt="2021-04-13T07:56:32.663" v="1575"/>
          <ac:spMkLst>
            <pc:docMk/>
            <pc:sldMk cId="2239297938" sldId="2134960469"/>
            <ac:spMk id="31" creationId="{BAD0B696-5865-354D-85E0-51275B099802}"/>
          </ac:spMkLst>
        </pc:spChg>
        <pc:spChg chg="mod">
          <ac:chgData name="Victoria Serra G" userId="7b4aef31-56b7-4e27-b65e-764fc5765ec4" providerId="ADAL" clId="{EB641A6A-5631-604E-9482-E1CF6AD842B0}" dt="2021-04-13T09:13:33.410" v="2829" actId="207"/>
          <ac:spMkLst>
            <pc:docMk/>
            <pc:sldMk cId="2239297938" sldId="2134960469"/>
            <ac:spMk id="33" creationId="{D016DD58-F957-1346-8429-B6924E6E0577}"/>
          </ac:spMkLst>
        </pc:spChg>
        <pc:spChg chg="mod">
          <ac:chgData name="Victoria Serra G" userId="7b4aef31-56b7-4e27-b65e-764fc5765ec4" providerId="ADAL" clId="{EB641A6A-5631-604E-9482-E1CF6AD842B0}" dt="2021-04-13T09:13:38.439" v="2831" actId="207"/>
          <ac:spMkLst>
            <pc:docMk/>
            <pc:sldMk cId="2239297938" sldId="2134960469"/>
            <ac:spMk id="35" creationId="{610A673C-FC63-3F4C-9716-0668BFC2367D}"/>
          </ac:spMkLst>
        </pc:spChg>
        <pc:grpChg chg="add del mod">
          <ac:chgData name="Victoria Serra G" userId="7b4aef31-56b7-4e27-b65e-764fc5765ec4" providerId="ADAL" clId="{EB641A6A-5631-604E-9482-E1CF6AD842B0}" dt="2021-04-13T09:13:35.015" v="2830" actId="478"/>
          <ac:grpSpMkLst>
            <pc:docMk/>
            <pc:sldMk cId="2239297938" sldId="2134960469"/>
            <ac:grpSpMk id="24" creationId="{FE51FD89-074F-4344-B778-C7C2CB9F3437}"/>
          </ac:grpSpMkLst>
        </pc:grpChg>
      </pc:sldChg>
      <pc:sldChg chg="addSp delSp modSp mod">
        <pc:chgData name="Victoria Serra G" userId="7b4aef31-56b7-4e27-b65e-764fc5765ec4" providerId="ADAL" clId="{EB641A6A-5631-604E-9482-E1CF6AD842B0}" dt="2021-04-13T09:13:53.708" v="2835" actId="478"/>
        <pc:sldMkLst>
          <pc:docMk/>
          <pc:sldMk cId="2075307051" sldId="2134960471"/>
        </pc:sldMkLst>
        <pc:spChg chg="mod">
          <ac:chgData name="Victoria Serra G" userId="7b4aef31-56b7-4e27-b65e-764fc5765ec4" providerId="ADAL" clId="{EB641A6A-5631-604E-9482-E1CF6AD842B0}" dt="2021-04-13T07:57:48.244" v="1592" actId="255"/>
          <ac:spMkLst>
            <pc:docMk/>
            <pc:sldMk cId="2075307051" sldId="2134960471"/>
            <ac:spMk id="2" creationId="{F0343857-B3D4-EE4B-B145-594D864007C9}"/>
          </ac:spMkLst>
        </pc:spChg>
        <pc:spChg chg="mod">
          <ac:chgData name="Victoria Serra G" userId="7b4aef31-56b7-4e27-b65e-764fc5765ec4" providerId="ADAL" clId="{EB641A6A-5631-604E-9482-E1CF6AD842B0}" dt="2021-04-13T09:13:52.022" v="2833" actId="20577"/>
          <ac:spMkLst>
            <pc:docMk/>
            <pc:sldMk cId="2075307051" sldId="2134960471"/>
            <ac:spMk id="3" creationId="{AD4A8093-39C8-FB4B-A914-1502ADF096F9}"/>
          </ac:spMkLst>
        </pc:spChg>
        <pc:spChg chg="mod">
          <ac:chgData name="Victoria Serra G" userId="7b4aef31-56b7-4e27-b65e-764fc5765ec4" providerId="ADAL" clId="{EB641A6A-5631-604E-9482-E1CF6AD842B0}" dt="2021-04-13T07:56:36.079" v="1576"/>
          <ac:spMkLst>
            <pc:docMk/>
            <pc:sldMk cId="2075307051" sldId="2134960471"/>
            <ac:spMk id="17" creationId="{3D8415C7-254B-0648-B061-BD7DC1E7C171}"/>
          </ac:spMkLst>
        </pc:spChg>
        <pc:spChg chg="mod">
          <ac:chgData name="Victoria Serra G" userId="7b4aef31-56b7-4e27-b65e-764fc5765ec4" providerId="ADAL" clId="{EB641A6A-5631-604E-9482-E1CF6AD842B0}" dt="2021-04-13T07:56:42.706" v="1578" actId="207"/>
          <ac:spMkLst>
            <pc:docMk/>
            <pc:sldMk cId="2075307051" sldId="2134960471"/>
            <ac:spMk id="18" creationId="{A7C6DA37-DE58-5D4C-B363-A880B5E2EBD8}"/>
          </ac:spMkLst>
        </pc:spChg>
        <pc:spChg chg="mod">
          <ac:chgData name="Victoria Serra G" userId="7b4aef31-56b7-4e27-b65e-764fc5765ec4" providerId="ADAL" clId="{EB641A6A-5631-604E-9482-E1CF6AD842B0}" dt="2021-04-13T07:56:36.079" v="1576"/>
          <ac:spMkLst>
            <pc:docMk/>
            <pc:sldMk cId="2075307051" sldId="2134960471"/>
            <ac:spMk id="19" creationId="{956291EF-07E8-4446-A4CF-80627EB3720B}"/>
          </ac:spMkLst>
        </pc:spChg>
        <pc:spChg chg="mod">
          <ac:chgData name="Victoria Serra G" userId="7b4aef31-56b7-4e27-b65e-764fc5765ec4" providerId="ADAL" clId="{EB641A6A-5631-604E-9482-E1CF6AD842B0}" dt="2021-04-13T07:56:36.079" v="1576"/>
          <ac:spMkLst>
            <pc:docMk/>
            <pc:sldMk cId="2075307051" sldId="2134960471"/>
            <ac:spMk id="20" creationId="{12A7E462-5E93-9F45-A63A-22DF652F3F39}"/>
          </ac:spMkLst>
        </pc:spChg>
        <pc:spChg chg="mod">
          <ac:chgData name="Victoria Serra G" userId="7b4aef31-56b7-4e27-b65e-764fc5765ec4" providerId="ADAL" clId="{EB641A6A-5631-604E-9482-E1CF6AD842B0}" dt="2021-04-13T07:56:40.199" v="1577" actId="207"/>
          <ac:spMkLst>
            <pc:docMk/>
            <pc:sldMk cId="2075307051" sldId="2134960471"/>
            <ac:spMk id="21" creationId="{D8325C68-0795-C14A-A5BF-973DD616E7E0}"/>
          </ac:spMkLst>
        </pc:spChg>
        <pc:spChg chg="mod">
          <ac:chgData name="Victoria Serra G" userId="7b4aef31-56b7-4e27-b65e-764fc5765ec4" providerId="ADAL" clId="{EB641A6A-5631-604E-9482-E1CF6AD842B0}" dt="2021-04-13T07:56:36.079" v="1576"/>
          <ac:spMkLst>
            <pc:docMk/>
            <pc:sldMk cId="2075307051" sldId="2134960471"/>
            <ac:spMk id="22" creationId="{ABB37F8D-A62E-AC46-A102-4DB12069E3E8}"/>
          </ac:spMkLst>
        </pc:spChg>
        <pc:spChg chg="mod">
          <ac:chgData name="Victoria Serra G" userId="7b4aef31-56b7-4e27-b65e-764fc5765ec4" providerId="ADAL" clId="{EB641A6A-5631-604E-9482-E1CF6AD842B0}" dt="2021-04-13T07:56:36.079" v="1576"/>
          <ac:spMkLst>
            <pc:docMk/>
            <pc:sldMk cId="2075307051" sldId="2134960471"/>
            <ac:spMk id="23" creationId="{94D8A002-5358-2E4F-8C2E-CB2AFAFA5DAF}"/>
          </ac:spMkLst>
        </pc:spChg>
        <pc:grpChg chg="add del mod">
          <ac:chgData name="Victoria Serra G" userId="7b4aef31-56b7-4e27-b65e-764fc5765ec4" providerId="ADAL" clId="{EB641A6A-5631-604E-9482-E1CF6AD842B0}" dt="2021-04-13T09:13:53.708" v="2835" actId="478"/>
          <ac:grpSpMkLst>
            <pc:docMk/>
            <pc:sldMk cId="2075307051" sldId="2134960471"/>
            <ac:grpSpMk id="16" creationId="{95FC1039-BA80-5749-9452-F425AF58B018}"/>
          </ac:grpSpMkLst>
        </pc:grpChg>
      </pc:sldChg>
      <pc:sldChg chg="addSp delSp modSp mod">
        <pc:chgData name="Victoria Serra G" userId="7b4aef31-56b7-4e27-b65e-764fc5765ec4" providerId="ADAL" clId="{EB641A6A-5631-604E-9482-E1CF6AD842B0}" dt="2021-04-13T09:12:28.420" v="2800" actId="478"/>
        <pc:sldMkLst>
          <pc:docMk/>
          <pc:sldMk cId="1999916471" sldId="2134960472"/>
        </pc:sldMkLst>
        <pc:spChg chg="mod">
          <ac:chgData name="Victoria Serra G" userId="7b4aef31-56b7-4e27-b65e-764fc5765ec4" providerId="ADAL" clId="{EB641A6A-5631-604E-9482-E1CF6AD842B0}" dt="2021-04-13T07:57:17.600" v="1585" actId="255"/>
          <ac:spMkLst>
            <pc:docMk/>
            <pc:sldMk cId="1999916471" sldId="2134960472"/>
            <ac:spMk id="2" creationId="{F0343857-B3D4-EE4B-B145-594D864007C9}"/>
          </ac:spMkLst>
        </pc:spChg>
        <pc:spChg chg="mod">
          <ac:chgData name="Victoria Serra G" userId="7b4aef31-56b7-4e27-b65e-764fc5765ec4" providerId="ADAL" clId="{EB641A6A-5631-604E-9482-E1CF6AD842B0}" dt="2021-04-13T07:55:26.248" v="1561" actId="255"/>
          <ac:spMkLst>
            <pc:docMk/>
            <pc:sldMk cId="1999916471" sldId="2134960472"/>
            <ac:spMk id="3" creationId="{AD4A8093-39C8-FB4B-A914-1502ADF096F9}"/>
          </ac:spMkLst>
        </pc:spChg>
        <pc:spChg chg="mod">
          <ac:chgData name="Victoria Serra G" userId="7b4aef31-56b7-4e27-b65e-764fc5765ec4" providerId="ADAL" clId="{EB641A6A-5631-604E-9482-E1CF6AD842B0}" dt="2021-04-13T07:55:23.735" v="1560"/>
          <ac:spMkLst>
            <pc:docMk/>
            <pc:sldMk cId="1999916471" sldId="2134960472"/>
            <ac:spMk id="50" creationId="{C190D442-53C7-E045-9F38-46F7E2C625FF}"/>
          </ac:spMkLst>
        </pc:spChg>
        <pc:spChg chg="mod">
          <ac:chgData name="Victoria Serra G" userId="7b4aef31-56b7-4e27-b65e-764fc5765ec4" providerId="ADAL" clId="{EB641A6A-5631-604E-9482-E1CF6AD842B0}" dt="2021-04-13T07:55:23.735" v="1560"/>
          <ac:spMkLst>
            <pc:docMk/>
            <pc:sldMk cId="1999916471" sldId="2134960472"/>
            <ac:spMk id="51" creationId="{84EC22F0-BBE1-7F48-957E-0DBA89DA85B0}"/>
          </ac:spMkLst>
        </pc:spChg>
        <pc:spChg chg="mod">
          <ac:chgData name="Victoria Serra G" userId="7b4aef31-56b7-4e27-b65e-764fc5765ec4" providerId="ADAL" clId="{EB641A6A-5631-604E-9482-E1CF6AD842B0}" dt="2021-04-13T07:55:23.735" v="1560"/>
          <ac:spMkLst>
            <pc:docMk/>
            <pc:sldMk cId="1999916471" sldId="2134960472"/>
            <ac:spMk id="52" creationId="{EA249E26-A452-4F4F-BC2D-D0265D8EF0E3}"/>
          </ac:spMkLst>
        </pc:spChg>
        <pc:spChg chg="mod">
          <ac:chgData name="Victoria Serra G" userId="7b4aef31-56b7-4e27-b65e-764fc5765ec4" providerId="ADAL" clId="{EB641A6A-5631-604E-9482-E1CF6AD842B0}" dt="2021-04-13T07:55:23.735" v="1560"/>
          <ac:spMkLst>
            <pc:docMk/>
            <pc:sldMk cId="1999916471" sldId="2134960472"/>
            <ac:spMk id="53" creationId="{8EDE3408-1617-FC4A-8D07-3FCC8954864C}"/>
          </ac:spMkLst>
        </pc:spChg>
        <pc:spChg chg="mod">
          <ac:chgData name="Victoria Serra G" userId="7b4aef31-56b7-4e27-b65e-764fc5765ec4" providerId="ADAL" clId="{EB641A6A-5631-604E-9482-E1CF6AD842B0}" dt="2021-04-13T07:55:23.735" v="1560"/>
          <ac:spMkLst>
            <pc:docMk/>
            <pc:sldMk cId="1999916471" sldId="2134960472"/>
            <ac:spMk id="54" creationId="{07C15958-1F0A-884A-95D5-CCBB8FAA1F1C}"/>
          </ac:spMkLst>
        </pc:spChg>
        <pc:spChg chg="mod">
          <ac:chgData name="Victoria Serra G" userId="7b4aef31-56b7-4e27-b65e-764fc5765ec4" providerId="ADAL" clId="{EB641A6A-5631-604E-9482-E1CF6AD842B0}" dt="2021-04-13T07:55:23.735" v="1560"/>
          <ac:spMkLst>
            <pc:docMk/>
            <pc:sldMk cId="1999916471" sldId="2134960472"/>
            <ac:spMk id="55" creationId="{3BF195CB-B525-BB4F-93D2-5B4D667872D5}"/>
          </ac:spMkLst>
        </pc:spChg>
        <pc:spChg chg="mod">
          <ac:chgData name="Victoria Serra G" userId="7b4aef31-56b7-4e27-b65e-764fc5765ec4" providerId="ADAL" clId="{EB641A6A-5631-604E-9482-E1CF6AD842B0}" dt="2021-04-13T07:55:23.735" v="1560"/>
          <ac:spMkLst>
            <pc:docMk/>
            <pc:sldMk cId="1999916471" sldId="2134960472"/>
            <ac:spMk id="56" creationId="{C67116FC-A589-214B-91C7-9ADA378C3533}"/>
          </ac:spMkLst>
        </pc:spChg>
        <pc:spChg chg="mod">
          <ac:chgData name="Victoria Serra G" userId="7b4aef31-56b7-4e27-b65e-764fc5765ec4" providerId="ADAL" clId="{EB641A6A-5631-604E-9482-E1CF6AD842B0}" dt="2021-04-13T07:55:27.979" v="1562"/>
          <ac:spMkLst>
            <pc:docMk/>
            <pc:sldMk cId="1999916471" sldId="2134960472"/>
            <ac:spMk id="58" creationId="{E9FFD630-4BFC-7C47-81D0-B2C4418C5B6C}"/>
          </ac:spMkLst>
        </pc:spChg>
        <pc:spChg chg="mod">
          <ac:chgData name="Victoria Serra G" userId="7b4aef31-56b7-4e27-b65e-764fc5765ec4" providerId="ADAL" clId="{EB641A6A-5631-604E-9482-E1CF6AD842B0}" dt="2021-04-13T07:55:27.979" v="1562"/>
          <ac:spMkLst>
            <pc:docMk/>
            <pc:sldMk cId="1999916471" sldId="2134960472"/>
            <ac:spMk id="59" creationId="{5481D477-59BD-C242-AEE3-37DD11443DCC}"/>
          </ac:spMkLst>
        </pc:spChg>
        <pc:spChg chg="mod">
          <ac:chgData name="Victoria Serra G" userId="7b4aef31-56b7-4e27-b65e-764fc5765ec4" providerId="ADAL" clId="{EB641A6A-5631-604E-9482-E1CF6AD842B0}" dt="2021-04-13T07:55:27.979" v="1562"/>
          <ac:spMkLst>
            <pc:docMk/>
            <pc:sldMk cId="1999916471" sldId="2134960472"/>
            <ac:spMk id="60" creationId="{F7181787-8F65-AC4A-9AD9-3CEFC6ED443D}"/>
          </ac:spMkLst>
        </pc:spChg>
        <pc:spChg chg="mod">
          <ac:chgData name="Victoria Serra G" userId="7b4aef31-56b7-4e27-b65e-764fc5765ec4" providerId="ADAL" clId="{EB641A6A-5631-604E-9482-E1CF6AD842B0}" dt="2021-04-13T07:55:27.979" v="1562"/>
          <ac:spMkLst>
            <pc:docMk/>
            <pc:sldMk cId="1999916471" sldId="2134960472"/>
            <ac:spMk id="61" creationId="{FB5607B7-4FFA-7346-873C-07091D965135}"/>
          </ac:spMkLst>
        </pc:spChg>
        <pc:spChg chg="mod">
          <ac:chgData name="Victoria Serra G" userId="7b4aef31-56b7-4e27-b65e-764fc5765ec4" providerId="ADAL" clId="{EB641A6A-5631-604E-9482-E1CF6AD842B0}" dt="2021-04-13T07:55:27.979" v="1562"/>
          <ac:spMkLst>
            <pc:docMk/>
            <pc:sldMk cId="1999916471" sldId="2134960472"/>
            <ac:spMk id="62" creationId="{78F7C669-8B99-D446-B387-14BFF393779F}"/>
          </ac:spMkLst>
        </pc:spChg>
        <pc:spChg chg="mod">
          <ac:chgData name="Victoria Serra G" userId="7b4aef31-56b7-4e27-b65e-764fc5765ec4" providerId="ADAL" clId="{EB641A6A-5631-604E-9482-E1CF6AD842B0}" dt="2021-04-13T07:55:27.979" v="1562"/>
          <ac:spMkLst>
            <pc:docMk/>
            <pc:sldMk cId="1999916471" sldId="2134960472"/>
            <ac:spMk id="63" creationId="{F6C2F1D7-8DF6-DF49-8482-4AF43171D03E}"/>
          </ac:spMkLst>
        </pc:spChg>
        <pc:spChg chg="mod">
          <ac:chgData name="Victoria Serra G" userId="7b4aef31-56b7-4e27-b65e-764fc5765ec4" providerId="ADAL" clId="{EB641A6A-5631-604E-9482-E1CF6AD842B0}" dt="2021-04-13T07:55:27.979" v="1562"/>
          <ac:spMkLst>
            <pc:docMk/>
            <pc:sldMk cId="1999916471" sldId="2134960472"/>
            <ac:spMk id="64" creationId="{107873B3-8259-1741-BC3A-B4FFDDB84E29}"/>
          </ac:spMkLst>
        </pc:spChg>
        <pc:grpChg chg="add del mod">
          <ac:chgData name="Victoria Serra G" userId="7b4aef31-56b7-4e27-b65e-764fc5765ec4" providerId="ADAL" clId="{EB641A6A-5631-604E-9482-E1CF6AD842B0}" dt="2021-04-13T09:12:28.420" v="2800" actId="478"/>
          <ac:grpSpMkLst>
            <pc:docMk/>
            <pc:sldMk cId="1999916471" sldId="2134960472"/>
            <ac:grpSpMk id="49" creationId="{A5FD29C1-3E8C-5B44-9612-A3A52A393FAC}"/>
          </ac:grpSpMkLst>
        </pc:grpChg>
        <pc:grpChg chg="add del mod">
          <ac:chgData name="Victoria Serra G" userId="7b4aef31-56b7-4e27-b65e-764fc5765ec4" providerId="ADAL" clId="{EB641A6A-5631-604E-9482-E1CF6AD842B0}" dt="2021-04-13T07:55:28.820" v="1563"/>
          <ac:grpSpMkLst>
            <pc:docMk/>
            <pc:sldMk cId="1999916471" sldId="2134960472"/>
            <ac:grpSpMk id="57" creationId="{1E8C5DA6-C0CE-6546-B794-C3A89F572B71}"/>
          </ac:grpSpMkLst>
        </pc:grpChg>
      </pc:sldChg>
      <pc:sldChg chg="del">
        <pc:chgData name="Victoria Serra G" userId="7b4aef31-56b7-4e27-b65e-764fc5765ec4" providerId="ADAL" clId="{EB641A6A-5631-604E-9482-E1CF6AD842B0}" dt="2021-04-13T07:26:44.941" v="68" actId="2696"/>
        <pc:sldMkLst>
          <pc:docMk/>
          <pc:sldMk cId="1832413993" sldId="2134960478"/>
        </pc:sldMkLst>
      </pc:sldChg>
      <pc:sldChg chg="modSp mod">
        <pc:chgData name="Victoria Serra G" userId="7b4aef31-56b7-4e27-b65e-764fc5765ec4" providerId="ADAL" clId="{EB641A6A-5631-604E-9482-E1CF6AD842B0}" dt="2021-04-13T14:16:45.446" v="3779" actId="207"/>
        <pc:sldMkLst>
          <pc:docMk/>
          <pc:sldMk cId="2248928284" sldId="2134960481"/>
        </pc:sldMkLst>
        <pc:spChg chg="mod">
          <ac:chgData name="Victoria Serra G" userId="7b4aef31-56b7-4e27-b65e-764fc5765ec4" providerId="ADAL" clId="{EB641A6A-5631-604E-9482-E1CF6AD842B0}" dt="2021-04-13T14:16:43.012" v="3778" actId="20577"/>
          <ac:spMkLst>
            <pc:docMk/>
            <pc:sldMk cId="2248928284" sldId="2134960481"/>
            <ac:spMk id="22" creationId="{F934385D-7FAF-664F-BC1C-D3DD8532802F}"/>
          </ac:spMkLst>
        </pc:spChg>
        <pc:spChg chg="mod">
          <ac:chgData name="Victoria Serra G" userId="7b4aef31-56b7-4e27-b65e-764fc5765ec4" providerId="ADAL" clId="{EB641A6A-5631-604E-9482-E1CF6AD842B0}" dt="2021-04-13T14:16:45.446" v="3779" actId="207"/>
          <ac:spMkLst>
            <pc:docMk/>
            <pc:sldMk cId="2248928284" sldId="2134960481"/>
            <ac:spMk id="23" creationId="{AE497C13-6756-9F4F-8A9B-C315903EEA5F}"/>
          </ac:spMkLst>
        </pc:spChg>
      </pc:sldChg>
      <pc:sldChg chg="modSp mod delCm">
        <pc:chgData name="Victoria Serra G" userId="7b4aef31-56b7-4e27-b65e-764fc5765ec4" providerId="ADAL" clId="{EB641A6A-5631-604E-9482-E1CF6AD842B0}" dt="2021-04-13T13:49:11.836" v="3659" actId="255"/>
        <pc:sldMkLst>
          <pc:docMk/>
          <pc:sldMk cId="3856446980" sldId="2134960482"/>
        </pc:sldMkLst>
        <pc:spChg chg="mod">
          <ac:chgData name="Victoria Serra G" userId="7b4aef31-56b7-4e27-b65e-764fc5765ec4" providerId="ADAL" clId="{EB641A6A-5631-604E-9482-E1CF6AD842B0}" dt="2021-04-13T13:49:11.836" v="3659" actId="255"/>
          <ac:spMkLst>
            <pc:docMk/>
            <pc:sldMk cId="3856446980" sldId="2134960482"/>
            <ac:spMk id="3" creationId="{15A749A0-AD32-C342-9AFB-4E714C050C4C}"/>
          </ac:spMkLst>
        </pc:spChg>
      </pc:sldChg>
      <pc:sldChg chg="addSp delSp modSp mod">
        <pc:chgData name="Victoria Serra G" userId="7b4aef31-56b7-4e27-b65e-764fc5765ec4" providerId="ADAL" clId="{EB641A6A-5631-604E-9482-E1CF6AD842B0}" dt="2021-04-13T13:46:06.718" v="3658" actId="20577"/>
        <pc:sldMkLst>
          <pc:docMk/>
          <pc:sldMk cId="2228155413" sldId="2134960484"/>
        </pc:sldMkLst>
        <pc:spChg chg="add del mod">
          <ac:chgData name="Victoria Serra G" userId="7b4aef31-56b7-4e27-b65e-764fc5765ec4" providerId="ADAL" clId="{EB641A6A-5631-604E-9482-E1CF6AD842B0}" dt="2021-04-13T13:45:38.876" v="3640" actId="478"/>
          <ac:spMkLst>
            <pc:docMk/>
            <pc:sldMk cId="2228155413" sldId="2134960484"/>
            <ac:spMk id="2" creationId="{4AF0DE54-803A-1A40-B0C5-B057106CC522}"/>
          </ac:spMkLst>
        </pc:spChg>
        <pc:spChg chg="mod">
          <ac:chgData name="Victoria Serra G" userId="7b4aef31-56b7-4e27-b65e-764fc5765ec4" providerId="ADAL" clId="{EB641A6A-5631-604E-9482-E1CF6AD842B0}" dt="2021-04-13T13:46:06.718" v="3658" actId="20577"/>
          <ac:spMkLst>
            <pc:docMk/>
            <pc:sldMk cId="2228155413" sldId="2134960484"/>
            <ac:spMk id="3" creationId="{15C3942F-1347-2E43-8434-3C91D2DDFE07}"/>
          </ac:spMkLst>
        </pc:spChg>
        <pc:spChg chg="mod">
          <ac:chgData name="Victoria Serra G" userId="7b4aef31-56b7-4e27-b65e-764fc5765ec4" providerId="ADAL" clId="{EB641A6A-5631-604E-9482-E1CF6AD842B0}" dt="2021-04-13T07:36:49.864" v="425" actId="20577"/>
          <ac:spMkLst>
            <pc:docMk/>
            <pc:sldMk cId="2228155413" sldId="2134960484"/>
            <ac:spMk id="6" creationId="{5000113E-7F82-404F-BBDF-9119DC699654}"/>
          </ac:spMkLst>
        </pc:spChg>
        <pc:spChg chg="mod">
          <ac:chgData name="Victoria Serra G" userId="7b4aef31-56b7-4e27-b65e-764fc5765ec4" providerId="ADAL" clId="{EB641A6A-5631-604E-9482-E1CF6AD842B0}" dt="2021-04-13T08:58:16.326" v="2305" actId="20577"/>
          <ac:spMkLst>
            <pc:docMk/>
            <pc:sldMk cId="2228155413" sldId="2134960484"/>
            <ac:spMk id="7" creationId="{DAA43542-EDCF-B745-AD42-96F64CC688A2}"/>
          </ac:spMkLst>
        </pc:spChg>
        <pc:spChg chg="mod">
          <ac:chgData name="Victoria Serra G" userId="7b4aef31-56b7-4e27-b65e-764fc5765ec4" providerId="ADAL" clId="{EB641A6A-5631-604E-9482-E1CF6AD842B0}" dt="2021-04-13T08:58:12.129" v="2303" actId="20577"/>
          <ac:spMkLst>
            <pc:docMk/>
            <pc:sldMk cId="2228155413" sldId="2134960484"/>
            <ac:spMk id="8" creationId="{B9597157-722F-9143-B986-58BEF4799132}"/>
          </ac:spMkLst>
        </pc:spChg>
        <pc:spChg chg="mod">
          <ac:chgData name="Victoria Serra G" userId="7b4aef31-56b7-4e27-b65e-764fc5765ec4" providerId="ADAL" clId="{EB641A6A-5631-604E-9482-E1CF6AD842B0}" dt="2021-04-13T09:11:44.022" v="2793" actId="20577"/>
          <ac:spMkLst>
            <pc:docMk/>
            <pc:sldMk cId="2228155413" sldId="2134960484"/>
            <ac:spMk id="9" creationId="{AE66CAFA-6BEB-364E-A4D6-78EE96935E1D}"/>
          </ac:spMkLst>
        </pc:spChg>
        <pc:spChg chg="mod">
          <ac:chgData name="Victoria Serra G" userId="7b4aef31-56b7-4e27-b65e-764fc5765ec4" providerId="ADAL" clId="{EB641A6A-5631-604E-9482-E1CF6AD842B0}" dt="2021-04-13T08:58:23.415" v="2307" actId="207"/>
          <ac:spMkLst>
            <pc:docMk/>
            <pc:sldMk cId="2228155413" sldId="2134960484"/>
            <ac:spMk id="10" creationId="{75A14410-BD13-FC46-9CA6-BC98540E3367}"/>
          </ac:spMkLst>
        </pc:spChg>
        <pc:spChg chg="mod">
          <ac:chgData name="Victoria Serra G" userId="7b4aef31-56b7-4e27-b65e-764fc5765ec4" providerId="ADAL" clId="{EB641A6A-5631-604E-9482-E1CF6AD842B0}" dt="2021-04-13T13:45:43.828" v="3656" actId="1038"/>
          <ac:spMkLst>
            <pc:docMk/>
            <pc:sldMk cId="2228155413" sldId="2134960484"/>
            <ac:spMk id="12" creationId="{392C9C96-19C7-464F-8C66-C399087E90DB}"/>
          </ac:spMkLst>
        </pc:spChg>
        <pc:spChg chg="mod">
          <ac:chgData name="Victoria Serra G" userId="7b4aef31-56b7-4e27-b65e-764fc5765ec4" providerId="ADAL" clId="{EB641A6A-5631-604E-9482-E1CF6AD842B0}" dt="2021-04-13T13:45:26.776" v="3634" actId="1038"/>
          <ac:spMkLst>
            <pc:docMk/>
            <pc:sldMk cId="2228155413" sldId="2134960484"/>
            <ac:spMk id="20" creationId="{47F20359-6702-974F-BD21-EA3B73BAF1FF}"/>
          </ac:spMkLst>
        </pc:spChg>
        <pc:spChg chg="mod">
          <ac:chgData name="Victoria Serra G" userId="7b4aef31-56b7-4e27-b65e-764fc5765ec4" providerId="ADAL" clId="{EB641A6A-5631-604E-9482-E1CF6AD842B0}" dt="2021-04-13T08:02:52.164" v="1648" actId="20577"/>
          <ac:spMkLst>
            <pc:docMk/>
            <pc:sldMk cId="2228155413" sldId="2134960484"/>
            <ac:spMk id="21" creationId="{7616BC85-03A4-7240-A035-A3311402FF92}"/>
          </ac:spMkLst>
        </pc:spChg>
        <pc:spChg chg="mod">
          <ac:chgData name="Victoria Serra G" userId="7b4aef31-56b7-4e27-b65e-764fc5765ec4" providerId="ADAL" clId="{EB641A6A-5631-604E-9482-E1CF6AD842B0}" dt="2021-04-13T07:37:18.703" v="437" actId="20577"/>
          <ac:spMkLst>
            <pc:docMk/>
            <pc:sldMk cId="2228155413" sldId="2134960484"/>
            <ac:spMk id="32" creationId="{57E09229-E96E-494A-8840-A7DC4BA8B134}"/>
          </ac:spMkLst>
        </pc:spChg>
        <pc:spChg chg="mod">
          <ac:chgData name="Victoria Serra G" userId="7b4aef31-56b7-4e27-b65e-764fc5765ec4" providerId="ADAL" clId="{EB641A6A-5631-604E-9482-E1CF6AD842B0}" dt="2021-04-13T08:58:23.415" v="2307" actId="207"/>
          <ac:spMkLst>
            <pc:docMk/>
            <pc:sldMk cId="2228155413" sldId="2134960484"/>
            <ac:spMk id="43" creationId="{ED948800-03A2-5D40-B05D-25A8CFF63191}"/>
          </ac:spMkLst>
        </pc:spChg>
        <pc:spChg chg="mod">
          <ac:chgData name="Victoria Serra G" userId="7b4aef31-56b7-4e27-b65e-764fc5765ec4" providerId="ADAL" clId="{EB641A6A-5631-604E-9482-E1CF6AD842B0}" dt="2021-04-13T13:45:43.828" v="3656" actId="1038"/>
          <ac:spMkLst>
            <pc:docMk/>
            <pc:sldMk cId="2228155413" sldId="2134960484"/>
            <ac:spMk id="53" creationId="{0116AB11-AD5E-3E42-8527-04033919DFA5}"/>
          </ac:spMkLst>
        </pc:spChg>
        <pc:spChg chg="mod">
          <ac:chgData name="Victoria Serra G" userId="7b4aef31-56b7-4e27-b65e-764fc5765ec4" providerId="ADAL" clId="{EB641A6A-5631-604E-9482-E1CF6AD842B0}" dt="2021-04-13T13:45:43.828" v="3656" actId="1038"/>
          <ac:spMkLst>
            <pc:docMk/>
            <pc:sldMk cId="2228155413" sldId="2134960484"/>
            <ac:spMk id="56" creationId="{1FA7E359-BBE3-FA4D-9760-20E5AD1E751D}"/>
          </ac:spMkLst>
        </pc:spChg>
        <pc:spChg chg="mod">
          <ac:chgData name="Victoria Serra G" userId="7b4aef31-56b7-4e27-b65e-764fc5765ec4" providerId="ADAL" clId="{EB641A6A-5631-604E-9482-E1CF6AD842B0}" dt="2021-04-13T08:02:43.475" v="1631" actId="20577"/>
          <ac:spMkLst>
            <pc:docMk/>
            <pc:sldMk cId="2228155413" sldId="2134960484"/>
            <ac:spMk id="60" creationId="{D57B631D-6A77-F74E-B396-65C7C6EA480B}"/>
          </ac:spMkLst>
        </pc:spChg>
        <pc:spChg chg="mod">
          <ac:chgData name="Victoria Serra G" userId="7b4aef31-56b7-4e27-b65e-764fc5765ec4" providerId="ADAL" clId="{EB641A6A-5631-604E-9482-E1CF6AD842B0}" dt="2021-04-13T13:45:36.179" v="3638" actId="14100"/>
          <ac:spMkLst>
            <pc:docMk/>
            <pc:sldMk cId="2228155413" sldId="2134960484"/>
            <ac:spMk id="67" creationId="{FE785D09-5E4D-A343-A73B-1AF682FDC2FA}"/>
          </ac:spMkLst>
        </pc:spChg>
        <pc:spChg chg="mod">
          <ac:chgData name="Victoria Serra G" userId="7b4aef31-56b7-4e27-b65e-764fc5765ec4" providerId="ADAL" clId="{EB641A6A-5631-604E-9482-E1CF6AD842B0}" dt="2021-04-13T13:45:43.828" v="3656" actId="1038"/>
          <ac:spMkLst>
            <pc:docMk/>
            <pc:sldMk cId="2228155413" sldId="2134960484"/>
            <ac:spMk id="72" creationId="{526C9DCD-3D8E-F64B-BAD1-EB56A83A8E43}"/>
          </ac:spMkLst>
        </pc:spChg>
        <pc:spChg chg="mod">
          <ac:chgData name="Victoria Serra G" userId="7b4aef31-56b7-4e27-b65e-764fc5765ec4" providerId="ADAL" clId="{EB641A6A-5631-604E-9482-E1CF6AD842B0}" dt="2021-04-13T13:45:30.783" v="3635" actId="14100"/>
          <ac:spMkLst>
            <pc:docMk/>
            <pc:sldMk cId="2228155413" sldId="2134960484"/>
            <ac:spMk id="73" creationId="{8BF67AEB-B1EE-234F-9E99-64D0AF0BEE8F}"/>
          </ac:spMkLst>
        </pc:spChg>
        <pc:spChg chg="mod">
          <ac:chgData name="Victoria Serra G" userId="7b4aef31-56b7-4e27-b65e-764fc5765ec4" providerId="ADAL" clId="{EB641A6A-5631-604E-9482-E1CF6AD842B0}" dt="2021-04-13T13:45:43.828" v="3656" actId="1038"/>
          <ac:spMkLst>
            <pc:docMk/>
            <pc:sldMk cId="2228155413" sldId="2134960484"/>
            <ac:spMk id="74" creationId="{F71C7354-4A36-D24D-9616-F3DF7C4A2E4D}"/>
          </ac:spMkLst>
        </pc:spChg>
        <pc:spChg chg="mod">
          <ac:chgData name="Victoria Serra G" userId="7b4aef31-56b7-4e27-b65e-764fc5765ec4" providerId="ADAL" clId="{EB641A6A-5631-604E-9482-E1CF6AD842B0}" dt="2021-04-13T08:58:23.415" v="2307" actId="207"/>
          <ac:spMkLst>
            <pc:docMk/>
            <pc:sldMk cId="2228155413" sldId="2134960484"/>
            <ac:spMk id="75" creationId="{242BDB82-B190-D642-B84D-8BF4F35A3EF4}"/>
          </ac:spMkLst>
        </pc:spChg>
        <pc:graphicFrameChg chg="mod modGraphic">
          <ac:chgData name="Victoria Serra G" userId="7b4aef31-56b7-4e27-b65e-764fc5765ec4" providerId="ADAL" clId="{EB641A6A-5631-604E-9482-E1CF6AD842B0}" dt="2021-04-13T13:45:14.327" v="3598" actId="14100"/>
          <ac:graphicFrameMkLst>
            <pc:docMk/>
            <pc:sldMk cId="2228155413" sldId="2134960484"/>
            <ac:graphicFrameMk id="4" creationId="{91A09B56-DD76-A746-9A26-CA8BA2860427}"/>
          </ac:graphicFrameMkLst>
        </pc:graphicFrameChg>
      </pc:sldChg>
      <pc:sldChg chg="addSp delSp modSp mod">
        <pc:chgData name="Victoria Serra G" userId="7b4aef31-56b7-4e27-b65e-764fc5765ec4" providerId="ADAL" clId="{EB641A6A-5631-604E-9482-E1CF6AD842B0}" dt="2021-04-13T08:55:13.669" v="2210" actId="20577"/>
        <pc:sldMkLst>
          <pc:docMk/>
          <pc:sldMk cId="4134446585" sldId="2134960485"/>
        </pc:sldMkLst>
        <pc:spChg chg="mod">
          <ac:chgData name="Victoria Serra G" userId="7b4aef31-56b7-4e27-b65e-764fc5765ec4" providerId="ADAL" clId="{EB641A6A-5631-604E-9482-E1CF6AD842B0}" dt="2021-04-13T07:34:33.369" v="267" actId="20577"/>
          <ac:spMkLst>
            <pc:docMk/>
            <pc:sldMk cId="4134446585" sldId="2134960485"/>
            <ac:spMk id="24" creationId="{88723359-4E84-534A-95FA-2AEAA61E949C}"/>
          </ac:spMkLst>
        </pc:spChg>
        <pc:spChg chg="mod">
          <ac:chgData name="Victoria Serra G" userId="7b4aef31-56b7-4e27-b65e-764fc5765ec4" providerId="ADAL" clId="{EB641A6A-5631-604E-9482-E1CF6AD842B0}" dt="2021-04-13T08:53:26.894" v="2207" actId="207"/>
          <ac:spMkLst>
            <pc:docMk/>
            <pc:sldMk cId="4134446585" sldId="2134960485"/>
            <ac:spMk id="35" creationId="{9F39C407-4355-954B-BAD5-E70AC2BE8F3D}"/>
          </ac:spMkLst>
        </pc:spChg>
        <pc:spChg chg="mod">
          <ac:chgData name="Victoria Serra G" userId="7b4aef31-56b7-4e27-b65e-764fc5765ec4" providerId="ADAL" clId="{EB641A6A-5631-604E-9482-E1CF6AD842B0}" dt="2021-04-13T08:53:30.128" v="2208" actId="207"/>
          <ac:spMkLst>
            <pc:docMk/>
            <pc:sldMk cId="4134446585" sldId="2134960485"/>
            <ac:spMk id="36" creationId="{4DB7062C-DA7D-CD46-9181-A8FE4E8C53A9}"/>
          </ac:spMkLst>
        </pc:spChg>
        <pc:spChg chg="mod">
          <ac:chgData name="Victoria Serra G" userId="7b4aef31-56b7-4e27-b65e-764fc5765ec4" providerId="ADAL" clId="{EB641A6A-5631-604E-9482-E1CF6AD842B0}" dt="2021-04-13T08:53:20.306" v="2200" actId="408"/>
          <ac:spMkLst>
            <pc:docMk/>
            <pc:sldMk cId="4134446585" sldId="2134960485"/>
            <ac:spMk id="38" creationId="{7E40057A-D3EF-B745-AE88-140A9BE49E55}"/>
          </ac:spMkLst>
        </pc:spChg>
        <pc:spChg chg="add mod">
          <ac:chgData name="Victoria Serra G" userId="7b4aef31-56b7-4e27-b65e-764fc5765ec4" providerId="ADAL" clId="{EB641A6A-5631-604E-9482-E1CF6AD842B0}" dt="2021-04-13T08:17:52.584" v="1788" actId="1076"/>
          <ac:spMkLst>
            <pc:docMk/>
            <pc:sldMk cId="4134446585" sldId="2134960485"/>
            <ac:spMk id="40" creationId="{80EC275A-442D-584A-9875-D83E631EE65A}"/>
          </ac:spMkLst>
        </pc:spChg>
        <pc:spChg chg="mod">
          <ac:chgData name="Victoria Serra G" userId="7b4aef31-56b7-4e27-b65e-764fc5765ec4" providerId="ADAL" clId="{EB641A6A-5631-604E-9482-E1CF6AD842B0}" dt="2021-04-13T08:53:20.306" v="2200" actId="408"/>
          <ac:spMkLst>
            <pc:docMk/>
            <pc:sldMk cId="4134446585" sldId="2134960485"/>
            <ac:spMk id="41" creationId="{3A88A471-6B6D-354D-9B40-DB64D4652A11}"/>
          </ac:spMkLst>
        </pc:spChg>
        <pc:spChg chg="del mod">
          <ac:chgData name="Victoria Serra G" userId="7b4aef31-56b7-4e27-b65e-764fc5765ec4" providerId="ADAL" clId="{EB641A6A-5631-604E-9482-E1CF6AD842B0}" dt="2021-04-13T08:17:39.028" v="1784" actId="478"/>
          <ac:spMkLst>
            <pc:docMk/>
            <pc:sldMk cId="4134446585" sldId="2134960485"/>
            <ac:spMk id="68" creationId="{214EA832-FFE8-E145-B411-2C7C83F6B4A9}"/>
          </ac:spMkLst>
        </pc:spChg>
        <pc:spChg chg="mod">
          <ac:chgData name="Victoria Serra G" userId="7b4aef31-56b7-4e27-b65e-764fc5765ec4" providerId="ADAL" clId="{EB641A6A-5631-604E-9482-E1CF6AD842B0}" dt="2021-04-13T08:55:13.669" v="2210" actId="20577"/>
          <ac:spMkLst>
            <pc:docMk/>
            <pc:sldMk cId="4134446585" sldId="2134960485"/>
            <ac:spMk id="70" creationId="{6B60FC1B-D555-2840-9870-52EFD8322387}"/>
          </ac:spMkLst>
        </pc:spChg>
        <pc:grpChg chg="mod">
          <ac:chgData name="Victoria Serra G" userId="7b4aef31-56b7-4e27-b65e-764fc5765ec4" providerId="ADAL" clId="{EB641A6A-5631-604E-9482-E1CF6AD842B0}" dt="2021-04-13T08:53:21.982" v="2206" actId="1036"/>
          <ac:grpSpMkLst>
            <pc:docMk/>
            <pc:sldMk cId="4134446585" sldId="2134960485"/>
            <ac:grpSpMk id="2" creationId="{09DAD7BC-32BD-D248-A606-BC08759A175B}"/>
          </ac:grpSpMkLst>
        </pc:grpChg>
        <pc:grpChg chg="add mod">
          <ac:chgData name="Victoria Serra G" userId="7b4aef31-56b7-4e27-b65e-764fc5765ec4" providerId="ADAL" clId="{EB641A6A-5631-604E-9482-E1CF6AD842B0}" dt="2021-04-13T08:53:21.982" v="2206" actId="1036"/>
          <ac:grpSpMkLst>
            <pc:docMk/>
            <pc:sldMk cId="4134446585" sldId="2134960485"/>
            <ac:grpSpMk id="5" creationId="{454A3092-ECE8-A540-BA33-2763691A04D3}"/>
          </ac:grpSpMkLst>
        </pc:grpChg>
        <pc:grpChg chg="mod">
          <ac:chgData name="Victoria Serra G" userId="7b4aef31-56b7-4e27-b65e-764fc5765ec4" providerId="ADAL" clId="{EB641A6A-5631-604E-9482-E1CF6AD842B0}" dt="2021-04-13T08:53:21.982" v="2206" actId="1036"/>
          <ac:grpSpMkLst>
            <pc:docMk/>
            <pc:sldMk cId="4134446585" sldId="2134960485"/>
            <ac:grpSpMk id="6" creationId="{DCF2325B-F887-6745-AA52-E94446E2A7D8}"/>
          </ac:grpSpMkLst>
        </pc:grpChg>
        <pc:grpChg chg="mod">
          <ac:chgData name="Victoria Serra G" userId="7b4aef31-56b7-4e27-b65e-764fc5765ec4" providerId="ADAL" clId="{EB641A6A-5631-604E-9482-E1CF6AD842B0}" dt="2021-04-13T08:53:21.982" v="2206" actId="1036"/>
          <ac:grpSpMkLst>
            <pc:docMk/>
            <pc:sldMk cId="4134446585" sldId="2134960485"/>
            <ac:grpSpMk id="37" creationId="{8872E1CE-A7C3-B54F-BFF7-C5A63D40C7C0}"/>
          </ac:grpSpMkLst>
        </pc:grpChg>
        <pc:picChg chg="mod">
          <ac:chgData name="Victoria Serra G" userId="7b4aef31-56b7-4e27-b65e-764fc5765ec4" providerId="ADAL" clId="{EB641A6A-5631-604E-9482-E1CF6AD842B0}" dt="2021-04-13T08:53:20.306" v="2200" actId="408"/>
          <ac:picMkLst>
            <pc:docMk/>
            <pc:sldMk cId="4134446585" sldId="2134960485"/>
            <ac:picMk id="16" creationId="{12C5E058-777F-324A-B501-A09DE54241FD}"/>
          </ac:picMkLst>
        </pc:picChg>
        <pc:picChg chg="mod">
          <ac:chgData name="Victoria Serra G" userId="7b4aef31-56b7-4e27-b65e-764fc5765ec4" providerId="ADAL" clId="{EB641A6A-5631-604E-9482-E1CF6AD842B0}" dt="2021-04-13T08:54:59.153" v="2209" actId="207"/>
          <ac:picMkLst>
            <pc:docMk/>
            <pc:sldMk cId="4134446585" sldId="2134960485"/>
            <ac:picMk id="39" creationId="{36E4B5A3-419B-354D-B586-0F0249CA9BD2}"/>
          </ac:picMkLst>
        </pc:picChg>
      </pc:sldChg>
      <pc:sldChg chg="addSp delSp modSp mod">
        <pc:chgData name="Victoria Serra G" userId="7b4aef31-56b7-4e27-b65e-764fc5765ec4" providerId="ADAL" clId="{EB641A6A-5631-604E-9482-E1CF6AD842B0}" dt="2021-04-13T12:48:12.825" v="3414" actId="14100"/>
        <pc:sldMkLst>
          <pc:docMk/>
          <pc:sldMk cId="552792899" sldId="2134960486"/>
        </pc:sldMkLst>
        <pc:spChg chg="del mod">
          <ac:chgData name="Victoria Serra G" userId="7b4aef31-56b7-4e27-b65e-764fc5765ec4" providerId="ADAL" clId="{EB641A6A-5631-604E-9482-E1CF6AD842B0}" dt="2021-04-13T07:36:10.788" v="354" actId="21"/>
          <ac:spMkLst>
            <pc:docMk/>
            <pc:sldMk cId="552792899" sldId="2134960486"/>
            <ac:spMk id="3" creationId="{622C6660-A987-484D-AC8E-2058A9B27B5D}"/>
          </ac:spMkLst>
        </pc:spChg>
        <pc:spChg chg="mod">
          <ac:chgData name="Victoria Serra G" userId="7b4aef31-56b7-4e27-b65e-764fc5765ec4" providerId="ADAL" clId="{EB641A6A-5631-604E-9482-E1CF6AD842B0}" dt="2021-04-13T07:36:03.708" v="351" actId="1035"/>
          <ac:spMkLst>
            <pc:docMk/>
            <pc:sldMk cId="552792899" sldId="2134960486"/>
            <ac:spMk id="22" creationId="{1A7CAAF2-4421-E34A-B421-FD6309A4BE53}"/>
          </ac:spMkLst>
        </pc:spChg>
        <pc:spChg chg="add mod">
          <ac:chgData name="Victoria Serra G" userId="7b4aef31-56b7-4e27-b65e-764fc5765ec4" providerId="ADAL" clId="{EB641A6A-5631-604E-9482-E1CF6AD842B0}" dt="2021-04-13T12:48:12.825" v="3414" actId="14100"/>
          <ac:spMkLst>
            <pc:docMk/>
            <pc:sldMk cId="552792899" sldId="2134960486"/>
            <ac:spMk id="30" creationId="{2E28E277-E125-5447-AA65-FE5CB486BCDE}"/>
          </ac:spMkLst>
        </pc:spChg>
        <pc:spChg chg="add mod">
          <ac:chgData name="Victoria Serra G" userId="7b4aef31-56b7-4e27-b65e-764fc5765ec4" providerId="ADAL" clId="{EB641A6A-5631-604E-9482-E1CF6AD842B0}" dt="2021-04-13T12:48:08.014" v="3413" actId="167"/>
          <ac:spMkLst>
            <pc:docMk/>
            <pc:sldMk cId="552792899" sldId="2134960486"/>
            <ac:spMk id="31" creationId="{DD04ACF7-22C5-FC4C-9437-F800635DC519}"/>
          </ac:spMkLst>
        </pc:spChg>
        <pc:spChg chg="add mod">
          <ac:chgData name="Victoria Serra G" userId="7b4aef31-56b7-4e27-b65e-764fc5765ec4" providerId="ADAL" clId="{EB641A6A-5631-604E-9482-E1CF6AD842B0}" dt="2021-04-13T08:57:27.767" v="2255" actId="1076"/>
          <ac:spMkLst>
            <pc:docMk/>
            <pc:sldMk cId="552792899" sldId="2134960486"/>
            <ac:spMk id="32" creationId="{A4B13AC5-D28A-5C49-A1D7-1FF9816C4804}"/>
          </ac:spMkLst>
        </pc:spChg>
        <pc:spChg chg="add mod">
          <ac:chgData name="Victoria Serra G" userId="7b4aef31-56b7-4e27-b65e-764fc5765ec4" providerId="ADAL" clId="{EB641A6A-5631-604E-9482-E1CF6AD842B0}" dt="2021-04-13T07:36:17.025" v="370" actId="1035"/>
          <ac:spMkLst>
            <pc:docMk/>
            <pc:sldMk cId="552792899" sldId="2134960486"/>
            <ac:spMk id="33" creationId="{0465C081-030C-9E4E-8E86-635F0CEF1114}"/>
          </ac:spMkLst>
        </pc:spChg>
        <pc:spChg chg="add mod">
          <ac:chgData name="Victoria Serra G" userId="7b4aef31-56b7-4e27-b65e-764fc5765ec4" providerId="ADAL" clId="{EB641A6A-5631-604E-9482-E1CF6AD842B0}" dt="2021-04-13T08:56:33.743" v="2237" actId="164"/>
          <ac:spMkLst>
            <pc:docMk/>
            <pc:sldMk cId="552792899" sldId="2134960486"/>
            <ac:spMk id="34" creationId="{B4F16E7B-3CB2-8F4A-A100-2A9384A9CA82}"/>
          </ac:spMkLst>
        </pc:spChg>
        <pc:spChg chg="add mod">
          <ac:chgData name="Victoria Serra G" userId="7b4aef31-56b7-4e27-b65e-764fc5765ec4" providerId="ADAL" clId="{EB641A6A-5631-604E-9482-E1CF6AD842B0}" dt="2021-04-13T08:57:23.796" v="2254" actId="1076"/>
          <ac:spMkLst>
            <pc:docMk/>
            <pc:sldMk cId="552792899" sldId="2134960486"/>
            <ac:spMk id="36" creationId="{934AF075-5541-0643-8188-FE32CFC00640}"/>
          </ac:spMkLst>
        </pc:spChg>
        <pc:spChg chg="mod">
          <ac:chgData name="Victoria Serra G" userId="7b4aef31-56b7-4e27-b65e-764fc5765ec4" providerId="ADAL" clId="{EB641A6A-5631-604E-9482-E1CF6AD842B0}" dt="2021-04-13T08:57:54.849" v="2279" actId="20577"/>
          <ac:spMkLst>
            <pc:docMk/>
            <pc:sldMk cId="552792899" sldId="2134960486"/>
            <ac:spMk id="38" creationId="{65740819-7BB3-0644-B785-6F735978B7AC}"/>
          </ac:spMkLst>
        </pc:spChg>
        <pc:spChg chg="mod">
          <ac:chgData name="Victoria Serra G" userId="7b4aef31-56b7-4e27-b65e-764fc5765ec4" providerId="ADAL" clId="{EB641A6A-5631-604E-9482-E1CF6AD842B0}" dt="2021-04-13T08:55:54.892" v="2216" actId="164"/>
          <ac:spMkLst>
            <pc:docMk/>
            <pc:sldMk cId="552792899" sldId="2134960486"/>
            <ac:spMk id="39" creationId="{74D72BBE-883E-0340-AF76-4F9CB29B835C}"/>
          </ac:spMkLst>
        </pc:spChg>
        <pc:spChg chg="del mod">
          <ac:chgData name="Victoria Serra G" userId="7b4aef31-56b7-4e27-b65e-764fc5765ec4" providerId="ADAL" clId="{EB641A6A-5631-604E-9482-E1CF6AD842B0}" dt="2021-04-13T08:56:27.592" v="2234" actId="21"/>
          <ac:spMkLst>
            <pc:docMk/>
            <pc:sldMk cId="552792899" sldId="2134960486"/>
            <ac:spMk id="40" creationId="{B611C82A-EE33-5F4C-A03A-6A65A6D283E3}"/>
          </ac:spMkLst>
        </pc:spChg>
        <pc:spChg chg="add del mod">
          <ac:chgData name="Victoria Serra G" userId="7b4aef31-56b7-4e27-b65e-764fc5765ec4" providerId="ADAL" clId="{EB641A6A-5631-604E-9482-E1CF6AD842B0}" dt="2021-04-13T08:55:47.137" v="2214" actId="478"/>
          <ac:spMkLst>
            <pc:docMk/>
            <pc:sldMk cId="552792899" sldId="2134960486"/>
            <ac:spMk id="41" creationId="{28160A8F-680F-9E49-A84F-7BF16E303543}"/>
          </ac:spMkLst>
        </pc:spChg>
        <pc:spChg chg="mod">
          <ac:chgData name="Victoria Serra G" userId="7b4aef31-56b7-4e27-b65e-764fc5765ec4" providerId="ADAL" clId="{EB641A6A-5631-604E-9482-E1CF6AD842B0}" dt="2021-04-13T08:58:02.815" v="2282" actId="20577"/>
          <ac:spMkLst>
            <pc:docMk/>
            <pc:sldMk cId="552792899" sldId="2134960486"/>
            <ac:spMk id="42" creationId="{10110E09-2909-9445-B4D8-C56A84F4EB6D}"/>
          </ac:spMkLst>
        </pc:spChg>
        <pc:spChg chg="mod">
          <ac:chgData name="Victoria Serra G" userId="7b4aef31-56b7-4e27-b65e-764fc5765ec4" providerId="ADAL" clId="{EB641A6A-5631-604E-9482-E1CF6AD842B0}" dt="2021-04-13T12:43:25.655" v="3173" actId="20577"/>
          <ac:spMkLst>
            <pc:docMk/>
            <pc:sldMk cId="552792899" sldId="2134960486"/>
            <ac:spMk id="45" creationId="{5F77FDCE-81E5-3445-8AB6-06322E3A2FB6}"/>
          </ac:spMkLst>
        </pc:spChg>
        <pc:spChg chg="mod">
          <ac:chgData name="Victoria Serra G" userId="7b4aef31-56b7-4e27-b65e-764fc5765ec4" providerId="ADAL" clId="{EB641A6A-5631-604E-9482-E1CF6AD842B0}" dt="2021-04-13T07:36:03.708" v="351" actId="1035"/>
          <ac:spMkLst>
            <pc:docMk/>
            <pc:sldMk cId="552792899" sldId="2134960486"/>
            <ac:spMk id="48" creationId="{F4F36D8D-B461-EA41-881F-026A1BFB06A2}"/>
          </ac:spMkLst>
        </pc:spChg>
        <pc:spChg chg="mod">
          <ac:chgData name="Victoria Serra G" userId="7b4aef31-56b7-4e27-b65e-764fc5765ec4" providerId="ADAL" clId="{EB641A6A-5631-604E-9482-E1CF6AD842B0}" dt="2021-04-13T07:35:02.076" v="278" actId="20577"/>
          <ac:spMkLst>
            <pc:docMk/>
            <pc:sldMk cId="552792899" sldId="2134960486"/>
            <ac:spMk id="58" creationId="{1CBB49DE-B3DB-1848-9F54-ACF128911A5E}"/>
          </ac:spMkLst>
        </pc:spChg>
        <pc:spChg chg="mod">
          <ac:chgData name="Victoria Serra G" userId="7b4aef31-56b7-4e27-b65e-764fc5765ec4" providerId="ADAL" clId="{EB641A6A-5631-604E-9482-E1CF6AD842B0}" dt="2021-04-13T07:35:17.060" v="279" actId="108"/>
          <ac:spMkLst>
            <pc:docMk/>
            <pc:sldMk cId="552792899" sldId="2134960486"/>
            <ac:spMk id="61" creationId="{DD70DFF8-55D5-0C42-A580-68196B7E6779}"/>
          </ac:spMkLst>
        </pc:spChg>
        <pc:spChg chg="mod">
          <ac:chgData name="Victoria Serra G" userId="7b4aef31-56b7-4e27-b65e-764fc5765ec4" providerId="ADAL" clId="{EB641A6A-5631-604E-9482-E1CF6AD842B0}" dt="2021-04-13T08:03:05.180" v="1659" actId="20577"/>
          <ac:spMkLst>
            <pc:docMk/>
            <pc:sldMk cId="552792899" sldId="2134960486"/>
            <ac:spMk id="66" creationId="{58849610-1C12-3C44-8316-4971CC8B0655}"/>
          </ac:spMkLst>
        </pc:spChg>
        <pc:spChg chg="mod">
          <ac:chgData name="Victoria Serra G" userId="7b4aef31-56b7-4e27-b65e-764fc5765ec4" providerId="ADAL" clId="{EB641A6A-5631-604E-9482-E1CF6AD842B0}" dt="2021-04-13T08:57:04.192" v="2249" actId="20577"/>
          <ac:spMkLst>
            <pc:docMk/>
            <pc:sldMk cId="552792899" sldId="2134960486"/>
            <ac:spMk id="70" creationId="{6B60FC1B-D555-2840-9870-52EFD8322387}"/>
          </ac:spMkLst>
        </pc:spChg>
        <pc:spChg chg="mod">
          <ac:chgData name="Victoria Serra G" userId="7b4aef31-56b7-4e27-b65e-764fc5765ec4" providerId="ADAL" clId="{EB641A6A-5631-604E-9482-E1CF6AD842B0}" dt="2021-04-13T07:36:03.708" v="351" actId="1035"/>
          <ac:spMkLst>
            <pc:docMk/>
            <pc:sldMk cId="552792899" sldId="2134960486"/>
            <ac:spMk id="71" creationId="{EAA9EE2D-20FE-1540-9B15-09516D75F904}"/>
          </ac:spMkLst>
        </pc:spChg>
        <pc:spChg chg="del mod">
          <ac:chgData name="Victoria Serra G" userId="7b4aef31-56b7-4e27-b65e-764fc5765ec4" providerId="ADAL" clId="{EB641A6A-5631-604E-9482-E1CF6AD842B0}" dt="2021-04-13T07:36:08.518" v="352" actId="21"/>
          <ac:spMkLst>
            <pc:docMk/>
            <pc:sldMk cId="552792899" sldId="2134960486"/>
            <ac:spMk id="78" creationId="{76C5208D-B97C-F042-822B-2814B8113FD3}"/>
          </ac:spMkLst>
        </pc:spChg>
        <pc:grpChg chg="mod">
          <ac:chgData name="Victoria Serra G" userId="7b4aef31-56b7-4e27-b65e-764fc5765ec4" providerId="ADAL" clId="{EB641A6A-5631-604E-9482-E1CF6AD842B0}" dt="2021-04-13T07:36:03.708" v="351" actId="1035"/>
          <ac:grpSpMkLst>
            <pc:docMk/>
            <pc:sldMk cId="552792899" sldId="2134960486"/>
            <ac:grpSpMk id="2" creationId="{7A13E73D-0589-3340-89A1-A334B50EDD7E}"/>
          </ac:grpSpMkLst>
        </pc:grpChg>
        <pc:grpChg chg="add mod">
          <ac:chgData name="Victoria Serra G" userId="7b4aef31-56b7-4e27-b65e-764fc5765ec4" providerId="ADAL" clId="{EB641A6A-5631-604E-9482-E1CF6AD842B0}" dt="2021-04-13T08:55:58.700" v="2225" actId="12788"/>
          <ac:grpSpMkLst>
            <pc:docMk/>
            <pc:sldMk cId="552792899" sldId="2134960486"/>
            <ac:grpSpMk id="3" creationId="{D15989EB-23CF-D843-968A-AD4A11BF4889}"/>
          </ac:grpSpMkLst>
        </pc:grpChg>
        <pc:grpChg chg="add mod">
          <ac:chgData name="Victoria Serra G" userId="7b4aef31-56b7-4e27-b65e-764fc5765ec4" providerId="ADAL" clId="{EB641A6A-5631-604E-9482-E1CF6AD842B0}" dt="2021-04-13T08:56:36.299" v="2238" actId="12788"/>
          <ac:grpSpMkLst>
            <pc:docMk/>
            <pc:sldMk cId="552792899" sldId="2134960486"/>
            <ac:grpSpMk id="4" creationId="{C4B7A13C-094D-C340-9DE3-89AB941BEE01}"/>
          </ac:grpSpMkLst>
        </pc:grpChg>
        <pc:picChg chg="mod">
          <ac:chgData name="Victoria Serra G" userId="7b4aef31-56b7-4e27-b65e-764fc5765ec4" providerId="ADAL" clId="{EB641A6A-5631-604E-9482-E1CF6AD842B0}" dt="2021-04-13T07:36:03.708" v="351" actId="1035"/>
          <ac:picMkLst>
            <pc:docMk/>
            <pc:sldMk cId="552792899" sldId="2134960486"/>
            <ac:picMk id="23" creationId="{AB591FE1-1CFE-CC43-BB72-A610CDA5A6F1}"/>
          </ac:picMkLst>
        </pc:picChg>
        <pc:picChg chg="add mod">
          <ac:chgData name="Victoria Serra G" userId="7b4aef31-56b7-4e27-b65e-764fc5765ec4" providerId="ADAL" clId="{EB641A6A-5631-604E-9482-E1CF6AD842B0}" dt="2021-04-13T08:56:41.074" v="2239" actId="27349"/>
          <ac:picMkLst>
            <pc:docMk/>
            <pc:sldMk cId="552792899" sldId="2134960486"/>
            <ac:picMk id="35" creationId="{A3EB953B-3924-A540-897C-78448A58A6BD}"/>
          </ac:picMkLst>
        </pc:picChg>
        <pc:picChg chg="mod">
          <ac:chgData name="Victoria Serra G" userId="7b4aef31-56b7-4e27-b65e-764fc5765ec4" providerId="ADAL" clId="{EB641A6A-5631-604E-9482-E1CF6AD842B0}" dt="2021-04-13T08:55:54.892" v="2216" actId="164"/>
          <ac:picMkLst>
            <pc:docMk/>
            <pc:sldMk cId="552792899" sldId="2134960486"/>
            <ac:picMk id="43" creationId="{C0C913E4-430A-1249-B732-C4AFF56C10EE}"/>
          </ac:picMkLst>
        </pc:picChg>
        <pc:picChg chg="del mod">
          <ac:chgData name="Victoria Serra G" userId="7b4aef31-56b7-4e27-b65e-764fc5765ec4" providerId="ADAL" clId="{EB641A6A-5631-604E-9482-E1CF6AD842B0}" dt="2021-04-13T08:56:27.592" v="2234" actId="21"/>
          <ac:picMkLst>
            <pc:docMk/>
            <pc:sldMk cId="552792899" sldId="2134960486"/>
            <ac:picMk id="44" creationId="{AAEDC985-2921-0442-9E3A-6ED13BCE055B}"/>
          </ac:picMkLst>
        </pc:picChg>
        <pc:picChg chg="mod">
          <ac:chgData name="Victoria Serra G" userId="7b4aef31-56b7-4e27-b65e-764fc5765ec4" providerId="ADAL" clId="{EB641A6A-5631-604E-9482-E1CF6AD842B0}" dt="2021-04-13T07:36:03.708" v="351" actId="1035"/>
          <ac:picMkLst>
            <pc:docMk/>
            <pc:sldMk cId="552792899" sldId="2134960486"/>
            <ac:picMk id="72" creationId="{32D2BC8B-C9A7-A740-9044-4F6930D0D7D7}"/>
          </ac:picMkLst>
        </pc:picChg>
      </pc:sldChg>
      <pc:sldChg chg="addSp modSp mod ord">
        <pc:chgData name="Victoria Serra G" userId="7b4aef31-56b7-4e27-b65e-764fc5765ec4" providerId="ADAL" clId="{EB641A6A-5631-604E-9482-E1CF6AD842B0}" dt="2021-04-13T08:52:48.780" v="2187" actId="207"/>
        <pc:sldMkLst>
          <pc:docMk/>
          <pc:sldMk cId="4033773217" sldId="2134960495"/>
        </pc:sldMkLst>
        <pc:spChg chg="mod">
          <ac:chgData name="Victoria Serra G" userId="7b4aef31-56b7-4e27-b65e-764fc5765ec4" providerId="ADAL" clId="{EB641A6A-5631-604E-9482-E1CF6AD842B0}" dt="2021-04-13T07:32:51.430" v="221" actId="255"/>
          <ac:spMkLst>
            <pc:docMk/>
            <pc:sldMk cId="4033773217" sldId="2134960495"/>
            <ac:spMk id="3" creationId="{3B9492DE-F064-3349-A498-D70562A126BD}"/>
          </ac:spMkLst>
        </pc:spChg>
        <pc:spChg chg="mod">
          <ac:chgData name="Victoria Serra G" userId="7b4aef31-56b7-4e27-b65e-764fc5765ec4" providerId="ADAL" clId="{EB641A6A-5631-604E-9482-E1CF6AD842B0}" dt="2021-04-13T08:52:48.780" v="2187" actId="207"/>
          <ac:spMkLst>
            <pc:docMk/>
            <pc:sldMk cId="4033773217" sldId="2134960495"/>
            <ac:spMk id="4" creationId="{C833FCBC-A00F-1548-A508-464CF78357FE}"/>
          </ac:spMkLst>
        </pc:spChg>
        <pc:spChg chg="mod">
          <ac:chgData name="Victoria Serra G" userId="7b4aef31-56b7-4e27-b65e-764fc5765ec4" providerId="ADAL" clId="{EB641A6A-5631-604E-9482-E1CF6AD842B0}" dt="2021-04-13T08:25:51.751" v="2016" actId="207"/>
          <ac:spMkLst>
            <pc:docMk/>
            <pc:sldMk cId="4033773217" sldId="2134960495"/>
            <ac:spMk id="5" creationId="{E281A5EE-0D43-9040-BB12-5F5BE43F02B6}"/>
          </ac:spMkLst>
        </pc:spChg>
        <pc:spChg chg="mod">
          <ac:chgData name="Victoria Serra G" userId="7b4aef31-56b7-4e27-b65e-764fc5765ec4" providerId="ADAL" clId="{EB641A6A-5631-604E-9482-E1CF6AD842B0}" dt="2021-04-13T08:52:48.780" v="2187" actId="207"/>
          <ac:spMkLst>
            <pc:docMk/>
            <pc:sldMk cId="4033773217" sldId="2134960495"/>
            <ac:spMk id="8" creationId="{D78B87EE-C058-F64A-B26E-B6634D464A14}"/>
          </ac:spMkLst>
        </pc:spChg>
        <pc:spChg chg="mod">
          <ac:chgData name="Victoria Serra G" userId="7b4aef31-56b7-4e27-b65e-764fc5765ec4" providerId="ADAL" clId="{EB641A6A-5631-604E-9482-E1CF6AD842B0}" dt="2021-04-13T08:52:48.780" v="2187" actId="207"/>
          <ac:spMkLst>
            <pc:docMk/>
            <pc:sldMk cId="4033773217" sldId="2134960495"/>
            <ac:spMk id="10" creationId="{60C89724-F0F7-0248-ABA6-2238A41A38C6}"/>
          </ac:spMkLst>
        </pc:spChg>
        <pc:spChg chg="mod">
          <ac:chgData name="Victoria Serra G" userId="7b4aef31-56b7-4e27-b65e-764fc5765ec4" providerId="ADAL" clId="{EB641A6A-5631-604E-9482-E1CF6AD842B0}" dt="2021-04-13T08:25:51.751" v="2016" actId="207"/>
          <ac:spMkLst>
            <pc:docMk/>
            <pc:sldMk cId="4033773217" sldId="2134960495"/>
            <ac:spMk id="13" creationId="{63C4E1FE-0618-D948-89D6-255C582240C3}"/>
          </ac:spMkLst>
        </pc:spChg>
        <pc:spChg chg="add mod">
          <ac:chgData name="Victoria Serra G" userId="7b4aef31-56b7-4e27-b65e-764fc5765ec4" providerId="ADAL" clId="{EB641A6A-5631-604E-9482-E1CF6AD842B0}" dt="2021-04-13T08:25:54.237" v="2017" actId="207"/>
          <ac:spMkLst>
            <pc:docMk/>
            <pc:sldMk cId="4033773217" sldId="2134960495"/>
            <ac:spMk id="24" creationId="{DE6B82B8-F1BF-A04B-94D2-37D254CA88AD}"/>
          </ac:spMkLst>
        </pc:spChg>
        <pc:spChg chg="mod">
          <ac:chgData name="Victoria Serra G" userId="7b4aef31-56b7-4e27-b65e-764fc5765ec4" providerId="ADAL" clId="{EB641A6A-5631-604E-9482-E1CF6AD842B0}" dt="2021-04-13T08:52:48.780" v="2187" actId="207"/>
          <ac:spMkLst>
            <pc:docMk/>
            <pc:sldMk cId="4033773217" sldId="2134960495"/>
            <ac:spMk id="28" creationId="{C93AD3B1-1C10-184E-A918-25436AA554D3}"/>
          </ac:spMkLst>
        </pc:spChg>
        <pc:spChg chg="mod">
          <ac:chgData name="Victoria Serra G" userId="7b4aef31-56b7-4e27-b65e-764fc5765ec4" providerId="ADAL" clId="{EB641A6A-5631-604E-9482-E1CF6AD842B0}" dt="2021-04-13T08:25:51.751" v="2016" actId="207"/>
          <ac:spMkLst>
            <pc:docMk/>
            <pc:sldMk cId="4033773217" sldId="2134960495"/>
            <ac:spMk id="35" creationId="{8F51EE95-D62A-8042-8723-7052A9BDC65B}"/>
          </ac:spMkLst>
        </pc:spChg>
        <pc:spChg chg="mod">
          <ac:chgData name="Victoria Serra G" userId="7b4aef31-56b7-4e27-b65e-764fc5765ec4" providerId="ADAL" clId="{EB641A6A-5631-604E-9482-E1CF6AD842B0}" dt="2021-04-13T08:19:25.620" v="1867" actId="20577"/>
          <ac:spMkLst>
            <pc:docMk/>
            <pc:sldMk cId="4033773217" sldId="2134960495"/>
            <ac:spMk id="36" creationId="{D3451BAE-1096-C845-85C6-2D640AA0D8F3}"/>
          </ac:spMkLst>
        </pc:spChg>
      </pc:sldChg>
      <pc:sldChg chg="delSp new mod modClrScheme chgLayout">
        <pc:chgData name="Victoria Serra G" userId="7b4aef31-56b7-4e27-b65e-764fc5765ec4" providerId="ADAL" clId="{EB641A6A-5631-604E-9482-E1CF6AD842B0}" dt="2021-04-13T07:26:53.205" v="70" actId="700"/>
        <pc:sldMkLst>
          <pc:docMk/>
          <pc:sldMk cId="3903927970" sldId="2134960496"/>
        </pc:sldMkLst>
        <pc:spChg chg="del">
          <ac:chgData name="Victoria Serra G" userId="7b4aef31-56b7-4e27-b65e-764fc5765ec4" providerId="ADAL" clId="{EB641A6A-5631-604E-9482-E1CF6AD842B0}" dt="2021-04-13T07:26:53.205" v="70" actId="700"/>
          <ac:spMkLst>
            <pc:docMk/>
            <pc:sldMk cId="3903927970" sldId="2134960496"/>
            <ac:spMk id="2" creationId="{98ACD447-A060-9145-8CCF-C4E7B0A5DB9E}"/>
          </ac:spMkLst>
        </pc:spChg>
        <pc:spChg chg="del">
          <ac:chgData name="Victoria Serra G" userId="7b4aef31-56b7-4e27-b65e-764fc5765ec4" providerId="ADAL" clId="{EB641A6A-5631-604E-9482-E1CF6AD842B0}" dt="2021-04-13T07:26:53.205" v="70" actId="700"/>
          <ac:spMkLst>
            <pc:docMk/>
            <pc:sldMk cId="3903927970" sldId="2134960496"/>
            <ac:spMk id="3" creationId="{3B187268-2EF6-F44D-A7C5-A74B1120D0B0}"/>
          </ac:spMkLst>
        </pc:spChg>
      </pc:sldChg>
      <pc:sldChg chg="modSp new del mod">
        <pc:chgData name="Victoria Serra G" userId="7b4aef31-56b7-4e27-b65e-764fc5765ec4" providerId="ADAL" clId="{EB641A6A-5631-604E-9482-E1CF6AD842B0}" dt="2021-04-13T13:19:59.815" v="3588" actId="2696"/>
        <pc:sldMkLst>
          <pc:docMk/>
          <pc:sldMk cId="3691072975" sldId="2134960497"/>
        </pc:sldMkLst>
        <pc:spChg chg="mod">
          <ac:chgData name="Victoria Serra G" userId="7b4aef31-56b7-4e27-b65e-764fc5765ec4" providerId="ADAL" clId="{EB641A6A-5631-604E-9482-E1CF6AD842B0}" dt="2021-04-13T08:25:09.062" v="2014" actId="20577"/>
          <ac:spMkLst>
            <pc:docMk/>
            <pc:sldMk cId="3691072975" sldId="2134960497"/>
            <ac:spMk id="3" creationId="{901B6479-07E5-DA4F-9FD6-F269C4AEED39}"/>
          </ac:spMkLst>
        </pc:spChg>
      </pc:sldChg>
      <pc:sldChg chg="modSp mod">
        <pc:chgData name="Victoria Serra G" userId="7b4aef31-56b7-4e27-b65e-764fc5765ec4" providerId="ADAL" clId="{EB641A6A-5631-604E-9482-E1CF6AD842B0}" dt="2021-04-13T10:01:55.694" v="2975" actId="2710"/>
        <pc:sldMkLst>
          <pc:docMk/>
          <pc:sldMk cId="3641650267" sldId="2134960498"/>
        </pc:sldMkLst>
        <pc:spChg chg="mod">
          <ac:chgData name="Victoria Serra G" userId="7b4aef31-56b7-4e27-b65e-764fc5765ec4" providerId="ADAL" clId="{EB641A6A-5631-604E-9482-E1CF6AD842B0}" dt="2021-04-13T10:01:55.694" v="2975" actId="2710"/>
          <ac:spMkLst>
            <pc:docMk/>
            <pc:sldMk cId="3641650267" sldId="2134960498"/>
            <ac:spMk id="3" creationId="{27745BC4-48FB-E346-A080-59BF8E54D1A9}"/>
          </ac:spMkLst>
        </pc:spChg>
      </pc:sldChg>
      <pc:sldChg chg="modSp mod">
        <pc:chgData name="Victoria Serra G" userId="7b4aef31-56b7-4e27-b65e-764fc5765ec4" providerId="ADAL" clId="{EB641A6A-5631-604E-9482-E1CF6AD842B0}" dt="2021-04-14T16:53:42.297" v="3819" actId="313"/>
        <pc:sldMkLst>
          <pc:docMk/>
          <pc:sldMk cId="2681206609" sldId="2134960499"/>
        </pc:sldMkLst>
        <pc:spChg chg="mod">
          <ac:chgData name="Victoria Serra G" userId="7b4aef31-56b7-4e27-b65e-764fc5765ec4" providerId="ADAL" clId="{EB641A6A-5631-604E-9482-E1CF6AD842B0}" dt="2021-04-14T16:53:42.297" v="3819" actId="313"/>
          <ac:spMkLst>
            <pc:docMk/>
            <pc:sldMk cId="2681206609" sldId="2134960499"/>
            <ac:spMk id="11" creationId="{FB45E3C3-FB09-2340-BA15-995E40537912}"/>
          </ac:spMkLst>
        </pc:spChg>
      </pc:sldChg>
      <pc:sldChg chg="addSp delSp modSp new mod">
        <pc:chgData name="Victoria Serra G" userId="7b4aef31-56b7-4e27-b65e-764fc5765ec4" providerId="ADAL" clId="{EB641A6A-5631-604E-9482-E1CF6AD842B0}" dt="2021-04-15T15:59:13.303" v="3824" actId="21"/>
        <pc:sldMkLst>
          <pc:docMk/>
          <pc:sldMk cId="2342650854" sldId="2134960500"/>
        </pc:sldMkLst>
        <pc:spChg chg="del">
          <ac:chgData name="Victoria Serra G" userId="7b4aef31-56b7-4e27-b65e-764fc5765ec4" providerId="ADAL" clId="{EB641A6A-5631-604E-9482-E1CF6AD842B0}" dt="2021-04-13T08:59:01.653" v="2312" actId="478"/>
          <ac:spMkLst>
            <pc:docMk/>
            <pc:sldMk cId="2342650854" sldId="2134960500"/>
            <ac:spMk id="2" creationId="{9D8C2A5C-414E-D248-AF16-609DFA4520D2}"/>
          </ac:spMkLst>
        </pc:spChg>
        <pc:spChg chg="mod">
          <ac:chgData name="Victoria Serra G" userId="7b4aef31-56b7-4e27-b65e-764fc5765ec4" providerId="ADAL" clId="{EB641A6A-5631-604E-9482-E1CF6AD842B0}" dt="2021-04-13T12:58:14.035" v="3557" actId="20577"/>
          <ac:spMkLst>
            <pc:docMk/>
            <pc:sldMk cId="2342650854" sldId="2134960500"/>
            <ac:spMk id="3" creationId="{EBDEF287-D1DF-6243-8863-DC62C57D7700}"/>
          </ac:spMkLst>
        </pc:spChg>
        <pc:spChg chg="add mod">
          <ac:chgData name="Victoria Serra G" userId="7b4aef31-56b7-4e27-b65e-764fc5765ec4" providerId="ADAL" clId="{EB641A6A-5631-604E-9482-E1CF6AD842B0}" dt="2021-04-13T08:59:06.189" v="2325" actId="1036"/>
          <ac:spMkLst>
            <pc:docMk/>
            <pc:sldMk cId="2342650854" sldId="2134960500"/>
            <ac:spMk id="4" creationId="{70E37888-CF91-B64C-8695-EAF7ED19B94F}"/>
          </ac:spMkLst>
        </pc:spChg>
        <pc:spChg chg="add mod">
          <ac:chgData name="Victoria Serra G" userId="7b4aef31-56b7-4e27-b65e-764fc5765ec4" providerId="ADAL" clId="{EB641A6A-5631-604E-9482-E1CF6AD842B0}" dt="2021-04-13T08:59:06.189" v="2325" actId="1036"/>
          <ac:spMkLst>
            <pc:docMk/>
            <pc:sldMk cId="2342650854" sldId="2134960500"/>
            <ac:spMk id="5" creationId="{F5FDC885-0191-9549-AEA6-1192AB6F50DC}"/>
          </ac:spMkLst>
        </pc:spChg>
        <pc:spChg chg="add mod">
          <ac:chgData name="Victoria Serra G" userId="7b4aef31-56b7-4e27-b65e-764fc5765ec4" providerId="ADAL" clId="{EB641A6A-5631-604E-9482-E1CF6AD842B0}" dt="2021-04-13T12:57:44.758" v="3486" actId="20577"/>
          <ac:spMkLst>
            <pc:docMk/>
            <pc:sldMk cId="2342650854" sldId="2134960500"/>
            <ac:spMk id="6" creationId="{378827A5-9F9E-B840-BF7D-EC130EE64732}"/>
          </ac:spMkLst>
        </pc:spChg>
        <pc:spChg chg="add mod">
          <ac:chgData name="Victoria Serra G" userId="7b4aef31-56b7-4e27-b65e-764fc5765ec4" providerId="ADAL" clId="{EB641A6A-5631-604E-9482-E1CF6AD842B0}" dt="2021-04-13T08:59:06.189" v="2325" actId="1036"/>
          <ac:spMkLst>
            <pc:docMk/>
            <pc:sldMk cId="2342650854" sldId="2134960500"/>
            <ac:spMk id="7" creationId="{B186C98F-5F98-2A44-85F9-EF7294601EA8}"/>
          </ac:spMkLst>
        </pc:spChg>
        <pc:spChg chg="add mod">
          <ac:chgData name="Victoria Serra G" userId="7b4aef31-56b7-4e27-b65e-764fc5765ec4" providerId="ADAL" clId="{EB641A6A-5631-604E-9482-E1CF6AD842B0}" dt="2021-04-13T12:58:33.586" v="3570" actId="1037"/>
          <ac:spMkLst>
            <pc:docMk/>
            <pc:sldMk cId="2342650854" sldId="2134960500"/>
            <ac:spMk id="8" creationId="{CC386701-4473-7748-A197-DE7D42A55C3C}"/>
          </ac:spMkLst>
        </pc:spChg>
        <pc:spChg chg="mod">
          <ac:chgData name="Victoria Serra G" userId="7b4aef31-56b7-4e27-b65e-764fc5765ec4" providerId="ADAL" clId="{EB641A6A-5631-604E-9482-E1CF6AD842B0}" dt="2021-04-13T08:59:06.189" v="2325" actId="1036"/>
          <ac:spMkLst>
            <pc:docMk/>
            <pc:sldMk cId="2342650854" sldId="2134960500"/>
            <ac:spMk id="10" creationId="{F1649B64-865E-8C46-8A5A-EBFD2C9F9DE9}"/>
          </ac:spMkLst>
        </pc:spChg>
        <pc:spChg chg="add mod">
          <ac:chgData name="Victoria Serra G" userId="7b4aef31-56b7-4e27-b65e-764fc5765ec4" providerId="ADAL" clId="{EB641A6A-5631-604E-9482-E1CF6AD842B0}" dt="2021-04-13T08:59:06.189" v="2325" actId="1036"/>
          <ac:spMkLst>
            <pc:docMk/>
            <pc:sldMk cId="2342650854" sldId="2134960500"/>
            <ac:spMk id="12" creationId="{4DFF43FA-0421-4E43-A5E0-61D2B32C80CB}"/>
          </ac:spMkLst>
        </pc:spChg>
        <pc:spChg chg="add mod">
          <ac:chgData name="Victoria Serra G" userId="7b4aef31-56b7-4e27-b65e-764fc5765ec4" providerId="ADAL" clId="{EB641A6A-5631-604E-9482-E1CF6AD842B0}" dt="2021-04-13T12:57:41.699" v="3483" actId="20577"/>
          <ac:spMkLst>
            <pc:docMk/>
            <pc:sldMk cId="2342650854" sldId="2134960500"/>
            <ac:spMk id="13" creationId="{432DA477-A151-7348-BDFB-547E5CBB02F6}"/>
          </ac:spMkLst>
        </pc:spChg>
        <pc:spChg chg="add mod">
          <ac:chgData name="Victoria Serra G" userId="7b4aef31-56b7-4e27-b65e-764fc5765ec4" providerId="ADAL" clId="{EB641A6A-5631-604E-9482-E1CF6AD842B0}" dt="2021-04-13T08:59:06.189" v="2325" actId="1036"/>
          <ac:spMkLst>
            <pc:docMk/>
            <pc:sldMk cId="2342650854" sldId="2134960500"/>
            <ac:spMk id="14" creationId="{27F575A5-1D5D-6E46-A950-18277FF45E9A}"/>
          </ac:spMkLst>
        </pc:spChg>
        <pc:spChg chg="add mod">
          <ac:chgData name="Victoria Serra G" userId="7b4aef31-56b7-4e27-b65e-764fc5765ec4" providerId="ADAL" clId="{EB641A6A-5631-604E-9482-E1CF6AD842B0}" dt="2021-04-13T12:57:42.339" v="3484" actId="20577"/>
          <ac:spMkLst>
            <pc:docMk/>
            <pc:sldMk cId="2342650854" sldId="2134960500"/>
            <ac:spMk id="15" creationId="{CEAB7AC8-9352-874D-B2A8-AD1154B03348}"/>
          </ac:spMkLst>
        </pc:spChg>
        <pc:spChg chg="add mod">
          <ac:chgData name="Victoria Serra G" userId="7b4aef31-56b7-4e27-b65e-764fc5765ec4" providerId="ADAL" clId="{EB641A6A-5631-604E-9482-E1CF6AD842B0}" dt="2021-04-13T08:59:06.189" v="2325" actId="1036"/>
          <ac:spMkLst>
            <pc:docMk/>
            <pc:sldMk cId="2342650854" sldId="2134960500"/>
            <ac:spMk id="16" creationId="{BEDD0551-8AF1-794F-947D-CA5CF234AA43}"/>
          </ac:spMkLst>
        </pc:spChg>
        <pc:spChg chg="add mod">
          <ac:chgData name="Victoria Serra G" userId="7b4aef31-56b7-4e27-b65e-764fc5765ec4" providerId="ADAL" clId="{EB641A6A-5631-604E-9482-E1CF6AD842B0}" dt="2021-04-13T09:06:06.431" v="2628" actId="1582"/>
          <ac:spMkLst>
            <pc:docMk/>
            <pc:sldMk cId="2342650854" sldId="2134960500"/>
            <ac:spMk id="18" creationId="{677C4D81-3D67-7144-A452-779E4F9BE659}"/>
          </ac:spMkLst>
        </pc:spChg>
        <pc:spChg chg="add mod">
          <ac:chgData name="Victoria Serra G" userId="7b4aef31-56b7-4e27-b65e-764fc5765ec4" providerId="ADAL" clId="{EB641A6A-5631-604E-9482-E1CF6AD842B0}" dt="2021-04-13T12:57:03.380" v="3467" actId="12788"/>
          <ac:spMkLst>
            <pc:docMk/>
            <pc:sldMk cId="2342650854" sldId="2134960500"/>
            <ac:spMk id="20" creationId="{130B5704-7834-E749-990F-F15B21638609}"/>
          </ac:spMkLst>
        </pc:spChg>
        <pc:spChg chg="add mod">
          <ac:chgData name="Victoria Serra G" userId="7b4aef31-56b7-4e27-b65e-764fc5765ec4" providerId="ADAL" clId="{EB641A6A-5631-604E-9482-E1CF6AD842B0}" dt="2021-04-13T12:57:29.005" v="3477" actId="554"/>
          <ac:spMkLst>
            <pc:docMk/>
            <pc:sldMk cId="2342650854" sldId="2134960500"/>
            <ac:spMk id="21" creationId="{9173D935-5268-BA4C-AECB-E8BB634FBF43}"/>
          </ac:spMkLst>
        </pc:spChg>
        <pc:spChg chg="add mod topLvl">
          <ac:chgData name="Victoria Serra G" userId="7b4aef31-56b7-4e27-b65e-764fc5765ec4" providerId="ADAL" clId="{EB641A6A-5631-604E-9482-E1CF6AD842B0}" dt="2021-04-13T09:07:50.106" v="2674" actId="14100"/>
          <ac:spMkLst>
            <pc:docMk/>
            <pc:sldMk cId="2342650854" sldId="2134960500"/>
            <ac:spMk id="22" creationId="{B9F0AD7E-EF6B-314E-A27E-082E752033A4}"/>
          </ac:spMkLst>
        </pc:spChg>
        <pc:spChg chg="add mod topLvl">
          <ac:chgData name="Victoria Serra G" userId="7b4aef31-56b7-4e27-b65e-764fc5765ec4" providerId="ADAL" clId="{EB641A6A-5631-604E-9482-E1CF6AD842B0}" dt="2021-04-13T12:57:29.005" v="3477" actId="554"/>
          <ac:spMkLst>
            <pc:docMk/>
            <pc:sldMk cId="2342650854" sldId="2134960500"/>
            <ac:spMk id="23" creationId="{2F212141-4A15-F04E-936E-3192BBF83E31}"/>
          </ac:spMkLst>
        </pc:spChg>
        <pc:spChg chg="add mod">
          <ac:chgData name="Victoria Serra G" userId="7b4aef31-56b7-4e27-b65e-764fc5765ec4" providerId="ADAL" clId="{EB641A6A-5631-604E-9482-E1CF6AD842B0}" dt="2021-04-13T09:05:37.325" v="2620" actId="1038"/>
          <ac:spMkLst>
            <pc:docMk/>
            <pc:sldMk cId="2342650854" sldId="2134960500"/>
            <ac:spMk id="25" creationId="{B7B12800-731F-5449-9EFE-0F037C3DBFF8}"/>
          </ac:spMkLst>
        </pc:spChg>
        <pc:spChg chg="add mod">
          <ac:chgData name="Victoria Serra G" userId="7b4aef31-56b7-4e27-b65e-764fc5765ec4" providerId="ADAL" clId="{EB641A6A-5631-604E-9482-E1CF6AD842B0}" dt="2021-04-13T09:05:37.325" v="2620" actId="1038"/>
          <ac:spMkLst>
            <pc:docMk/>
            <pc:sldMk cId="2342650854" sldId="2134960500"/>
            <ac:spMk id="26" creationId="{164745F2-3D9B-D149-91F6-E5BDA29C1ECB}"/>
          </ac:spMkLst>
        </pc:spChg>
        <pc:spChg chg="add mod">
          <ac:chgData name="Victoria Serra G" userId="7b4aef31-56b7-4e27-b65e-764fc5765ec4" providerId="ADAL" clId="{EB641A6A-5631-604E-9482-E1CF6AD842B0}" dt="2021-04-13T09:10:31.870" v="2736" actId="20577"/>
          <ac:spMkLst>
            <pc:docMk/>
            <pc:sldMk cId="2342650854" sldId="2134960500"/>
            <ac:spMk id="30" creationId="{35E0E604-7008-B542-829F-EDDCC6B1886E}"/>
          </ac:spMkLst>
        </pc:spChg>
        <pc:spChg chg="add mod">
          <ac:chgData name="Victoria Serra G" userId="7b4aef31-56b7-4e27-b65e-764fc5765ec4" providerId="ADAL" clId="{EB641A6A-5631-604E-9482-E1CF6AD842B0}" dt="2021-04-13T12:57:47.682" v="3487" actId="20577"/>
          <ac:spMkLst>
            <pc:docMk/>
            <pc:sldMk cId="2342650854" sldId="2134960500"/>
            <ac:spMk id="31" creationId="{E7372B2D-68F3-234E-8724-E46DF26D4FFB}"/>
          </ac:spMkLst>
        </pc:spChg>
        <pc:spChg chg="add mod">
          <ac:chgData name="Victoria Serra G" userId="7b4aef31-56b7-4e27-b65e-764fc5765ec4" providerId="ADAL" clId="{EB641A6A-5631-604E-9482-E1CF6AD842B0}" dt="2021-04-13T09:10:37.510" v="2740" actId="1037"/>
          <ac:spMkLst>
            <pc:docMk/>
            <pc:sldMk cId="2342650854" sldId="2134960500"/>
            <ac:spMk id="33" creationId="{2955BBCE-9150-4348-9D15-9D174EEB5F97}"/>
          </ac:spMkLst>
        </pc:spChg>
        <pc:spChg chg="add mod">
          <ac:chgData name="Victoria Serra G" userId="7b4aef31-56b7-4e27-b65e-764fc5765ec4" providerId="ADAL" clId="{EB641A6A-5631-604E-9482-E1CF6AD842B0}" dt="2021-04-13T09:10:37.510" v="2740" actId="1037"/>
          <ac:spMkLst>
            <pc:docMk/>
            <pc:sldMk cId="2342650854" sldId="2134960500"/>
            <ac:spMk id="34" creationId="{06855D01-FD82-7541-BDBA-3A5CC9525BF8}"/>
          </ac:spMkLst>
        </pc:spChg>
        <pc:spChg chg="add mod">
          <ac:chgData name="Victoria Serra G" userId="7b4aef31-56b7-4e27-b65e-764fc5765ec4" providerId="ADAL" clId="{EB641A6A-5631-604E-9482-E1CF6AD842B0}" dt="2021-04-13T12:57:49.921" v="3488" actId="20577"/>
          <ac:spMkLst>
            <pc:docMk/>
            <pc:sldMk cId="2342650854" sldId="2134960500"/>
            <ac:spMk id="36" creationId="{E1CB5B38-C8B1-2B48-8B8A-54B105919322}"/>
          </ac:spMkLst>
        </pc:spChg>
        <pc:spChg chg="add mod">
          <ac:chgData name="Victoria Serra G" userId="7b4aef31-56b7-4e27-b65e-764fc5765ec4" providerId="ADAL" clId="{EB641A6A-5631-604E-9482-E1CF6AD842B0}" dt="2021-04-13T09:10:43.388" v="2746" actId="14100"/>
          <ac:spMkLst>
            <pc:docMk/>
            <pc:sldMk cId="2342650854" sldId="2134960500"/>
            <ac:spMk id="37" creationId="{D21A8154-9EC9-3B4D-85F7-75017BE3B459}"/>
          </ac:spMkLst>
        </pc:spChg>
        <pc:grpChg chg="add mod">
          <ac:chgData name="Victoria Serra G" userId="7b4aef31-56b7-4e27-b65e-764fc5765ec4" providerId="ADAL" clId="{EB641A6A-5631-604E-9482-E1CF6AD842B0}" dt="2021-04-13T08:59:06.189" v="2325" actId="1036"/>
          <ac:grpSpMkLst>
            <pc:docMk/>
            <pc:sldMk cId="2342650854" sldId="2134960500"/>
            <ac:grpSpMk id="9" creationId="{74BA916D-D82B-BA42-8367-EF3AB37B7E82}"/>
          </ac:grpSpMkLst>
        </pc:grpChg>
        <pc:grpChg chg="add del mod">
          <ac:chgData name="Victoria Serra G" userId="7b4aef31-56b7-4e27-b65e-764fc5765ec4" providerId="ADAL" clId="{EB641A6A-5631-604E-9482-E1CF6AD842B0}" dt="2021-04-13T08:59:41.939" v="2340" actId="165"/>
          <ac:grpSpMkLst>
            <pc:docMk/>
            <pc:sldMk cId="2342650854" sldId="2134960500"/>
            <ac:grpSpMk id="24" creationId="{37C1B01F-E5FE-C745-BE7A-6FC87A553F25}"/>
          </ac:grpSpMkLst>
        </pc:grpChg>
        <pc:picChg chg="mod">
          <ac:chgData name="Victoria Serra G" userId="7b4aef31-56b7-4e27-b65e-764fc5765ec4" providerId="ADAL" clId="{EB641A6A-5631-604E-9482-E1CF6AD842B0}" dt="2021-04-13T08:59:06.189" v="2325" actId="1036"/>
          <ac:picMkLst>
            <pc:docMk/>
            <pc:sldMk cId="2342650854" sldId="2134960500"/>
            <ac:picMk id="11" creationId="{EFE86451-5250-6B43-B4E1-6C6D2A0A36BE}"/>
          </ac:picMkLst>
        </pc:picChg>
        <pc:picChg chg="add mod">
          <ac:chgData name="Victoria Serra G" userId="7b4aef31-56b7-4e27-b65e-764fc5765ec4" providerId="ADAL" clId="{EB641A6A-5631-604E-9482-E1CF6AD842B0}" dt="2021-04-13T08:59:06.189" v="2325" actId="1036"/>
          <ac:picMkLst>
            <pc:docMk/>
            <pc:sldMk cId="2342650854" sldId="2134960500"/>
            <ac:picMk id="17" creationId="{448B2A7F-790F-4B4E-A2CE-34A8408BF025}"/>
          </ac:picMkLst>
        </pc:picChg>
        <pc:picChg chg="add mod">
          <ac:chgData name="Victoria Serra G" userId="7b4aef31-56b7-4e27-b65e-764fc5765ec4" providerId="ADAL" clId="{EB641A6A-5631-604E-9482-E1CF6AD842B0}" dt="2021-04-13T08:59:06.189" v="2325" actId="1036"/>
          <ac:picMkLst>
            <pc:docMk/>
            <pc:sldMk cId="2342650854" sldId="2134960500"/>
            <ac:picMk id="19" creationId="{8D64801F-EEE8-D243-B18D-D9F5912417FF}"/>
          </ac:picMkLst>
        </pc:picChg>
        <pc:picChg chg="add mod">
          <ac:chgData name="Victoria Serra G" userId="7b4aef31-56b7-4e27-b65e-764fc5765ec4" providerId="ADAL" clId="{EB641A6A-5631-604E-9482-E1CF6AD842B0}" dt="2021-04-13T09:05:37.325" v="2620" actId="1038"/>
          <ac:picMkLst>
            <pc:docMk/>
            <pc:sldMk cId="2342650854" sldId="2134960500"/>
            <ac:picMk id="27" creationId="{D42D67A4-B2CD-6849-A060-549CFF2B8275}"/>
          </ac:picMkLst>
        </pc:picChg>
        <pc:picChg chg="add mod">
          <ac:chgData name="Victoria Serra G" userId="7b4aef31-56b7-4e27-b65e-764fc5765ec4" providerId="ADAL" clId="{EB641A6A-5631-604E-9482-E1CF6AD842B0}" dt="2021-04-13T09:05:37.325" v="2620" actId="1038"/>
          <ac:picMkLst>
            <pc:docMk/>
            <pc:sldMk cId="2342650854" sldId="2134960500"/>
            <ac:picMk id="28" creationId="{1FC9A8F0-AA3C-B24D-B4D3-BE740E442CA5}"/>
          </ac:picMkLst>
        </pc:picChg>
        <pc:picChg chg="add mod">
          <ac:chgData name="Victoria Serra G" userId="7b4aef31-56b7-4e27-b65e-764fc5765ec4" providerId="ADAL" clId="{EB641A6A-5631-604E-9482-E1CF6AD842B0}" dt="2021-04-13T09:08:36.650" v="2690" actId="554"/>
          <ac:picMkLst>
            <pc:docMk/>
            <pc:sldMk cId="2342650854" sldId="2134960500"/>
            <ac:picMk id="29" creationId="{18F0E64D-6B00-9740-B349-7FAFCE9AE0B5}"/>
          </ac:picMkLst>
        </pc:picChg>
        <pc:picChg chg="add mod">
          <ac:chgData name="Victoria Serra G" userId="7b4aef31-56b7-4e27-b65e-764fc5765ec4" providerId="ADAL" clId="{EB641A6A-5631-604E-9482-E1CF6AD842B0}" dt="2021-04-13T09:10:37.510" v="2740" actId="1037"/>
          <ac:picMkLst>
            <pc:docMk/>
            <pc:sldMk cId="2342650854" sldId="2134960500"/>
            <ac:picMk id="32" creationId="{AC5DB5B7-23FE-0F46-9CF8-E55C536ABB0F}"/>
          </ac:picMkLst>
        </pc:picChg>
        <pc:picChg chg="add mod modCrop">
          <ac:chgData name="Victoria Serra G" userId="7b4aef31-56b7-4e27-b65e-764fc5765ec4" providerId="ADAL" clId="{EB641A6A-5631-604E-9482-E1CF6AD842B0}" dt="2021-04-13T09:10:40.600" v="2745" actId="1037"/>
          <ac:picMkLst>
            <pc:docMk/>
            <pc:sldMk cId="2342650854" sldId="2134960500"/>
            <ac:picMk id="35" creationId="{63935C15-FA8D-2B4A-9685-4A129E386DD9}"/>
          </ac:picMkLst>
        </pc:picChg>
        <pc:picChg chg="add del mod">
          <ac:chgData name="Victoria Serra G" userId="7b4aef31-56b7-4e27-b65e-764fc5765ec4" providerId="ADAL" clId="{EB641A6A-5631-604E-9482-E1CF6AD842B0}" dt="2021-04-15T15:59:13.303" v="3824" actId="21"/>
          <ac:picMkLst>
            <pc:docMk/>
            <pc:sldMk cId="2342650854" sldId="2134960500"/>
            <ac:picMk id="38" creationId="{FFB42E03-CD14-4C46-95E9-0A244DC27673}"/>
          </ac:picMkLst>
        </pc:picChg>
      </pc:sldChg>
      <pc:sldChg chg="addSp delSp modSp add del mod modClrScheme chgLayout">
        <pc:chgData name="Victoria Serra G" userId="7b4aef31-56b7-4e27-b65e-764fc5765ec4" providerId="ADAL" clId="{EB641A6A-5631-604E-9482-E1CF6AD842B0}" dt="2021-04-14T16:53:07.399" v="3818" actId="2696"/>
        <pc:sldMkLst>
          <pc:docMk/>
          <pc:sldMk cId="1546839988" sldId="2134960501"/>
        </pc:sldMkLst>
        <pc:spChg chg="del">
          <ac:chgData name="Victoria Serra G" userId="7b4aef31-56b7-4e27-b65e-764fc5765ec4" providerId="ADAL" clId="{EB641A6A-5631-604E-9482-E1CF6AD842B0}" dt="2021-04-13T09:11:17.620" v="2792" actId="478"/>
          <ac:spMkLst>
            <pc:docMk/>
            <pc:sldMk cId="1546839988" sldId="2134960501"/>
            <ac:spMk id="2" creationId="{9A3D0843-7FC2-D543-B49A-270C050E9594}"/>
          </ac:spMkLst>
        </pc:spChg>
        <pc:spChg chg="del mod ord">
          <ac:chgData name="Victoria Serra G" userId="7b4aef31-56b7-4e27-b65e-764fc5765ec4" providerId="ADAL" clId="{EB641A6A-5631-604E-9482-E1CF6AD842B0}" dt="2021-04-13T09:11:09.910" v="2760" actId="700"/>
          <ac:spMkLst>
            <pc:docMk/>
            <pc:sldMk cId="1546839988" sldId="2134960501"/>
            <ac:spMk id="3" creationId="{062E7594-619F-1040-8408-33E1217F230F}"/>
          </ac:spMkLst>
        </pc:spChg>
        <pc:spChg chg="del">
          <ac:chgData name="Victoria Serra G" userId="7b4aef31-56b7-4e27-b65e-764fc5765ec4" providerId="ADAL" clId="{EB641A6A-5631-604E-9482-E1CF6AD842B0}" dt="2021-04-13T09:11:17.620" v="2792" actId="478"/>
          <ac:spMkLst>
            <pc:docMk/>
            <pc:sldMk cId="1546839988" sldId="2134960501"/>
            <ac:spMk id="4" creationId="{AD4A3C3B-5D51-9048-AD59-1409DAA48FDD}"/>
          </ac:spMkLst>
        </pc:spChg>
        <pc:spChg chg="add mod ord">
          <ac:chgData name="Victoria Serra G" userId="7b4aef31-56b7-4e27-b65e-764fc5765ec4" providerId="ADAL" clId="{EB641A6A-5631-604E-9482-E1CF6AD842B0}" dt="2021-04-13T14:13:13.972" v="3669" actId="20577"/>
          <ac:spMkLst>
            <pc:docMk/>
            <pc:sldMk cId="1546839988" sldId="2134960501"/>
            <ac:spMk id="6" creationId="{5D78FB1A-BE97-1A4D-BF37-AB2C5AEFBC73}"/>
          </ac:spMkLst>
        </pc:spChg>
        <pc:spChg chg="add mod">
          <ac:chgData name="Victoria Serra G" userId="7b4aef31-56b7-4e27-b65e-764fc5765ec4" providerId="ADAL" clId="{EB641A6A-5631-604E-9482-E1CF6AD842B0}" dt="2021-04-13T14:13:17.696" v="3671" actId="1076"/>
          <ac:spMkLst>
            <pc:docMk/>
            <pc:sldMk cId="1546839988" sldId="2134960501"/>
            <ac:spMk id="7" creationId="{067C0894-F436-214A-9624-0B26AC7A8DFD}"/>
          </ac:spMkLst>
        </pc:spChg>
        <pc:graphicFrameChg chg="del">
          <ac:chgData name="Victoria Serra G" userId="7b4aef31-56b7-4e27-b65e-764fc5765ec4" providerId="ADAL" clId="{EB641A6A-5631-604E-9482-E1CF6AD842B0}" dt="2021-04-13T09:11:17.620" v="2792" actId="478"/>
          <ac:graphicFrameMkLst>
            <pc:docMk/>
            <pc:sldMk cId="1546839988" sldId="2134960501"/>
            <ac:graphicFrameMk id="5" creationId="{9A46D0C8-F350-6845-B1D0-953C71120112}"/>
          </ac:graphicFrameMkLst>
        </pc:graphicFrameChg>
      </pc:sldChg>
      <pc:sldChg chg="modSp mod">
        <pc:chgData name="Victoria Serra G" userId="7b4aef31-56b7-4e27-b65e-764fc5765ec4" providerId="ADAL" clId="{EB641A6A-5631-604E-9482-E1CF6AD842B0}" dt="2021-04-13T13:59:15.639" v="3662" actId="207"/>
        <pc:sldMkLst>
          <pc:docMk/>
          <pc:sldMk cId="3561234065" sldId="2141411917"/>
        </pc:sldMkLst>
        <pc:spChg chg="mod">
          <ac:chgData name="Victoria Serra G" userId="7b4aef31-56b7-4e27-b65e-764fc5765ec4" providerId="ADAL" clId="{EB641A6A-5631-604E-9482-E1CF6AD842B0}" dt="2021-04-13T13:59:09.388" v="3661" actId="207"/>
          <ac:spMkLst>
            <pc:docMk/>
            <pc:sldMk cId="3561234065" sldId="2141411917"/>
            <ac:spMk id="9" creationId="{4824B7B7-72FE-CA41-B74E-3B8F408F9C3C}"/>
          </ac:spMkLst>
        </pc:spChg>
        <pc:spChg chg="mod">
          <ac:chgData name="Victoria Serra G" userId="7b4aef31-56b7-4e27-b65e-764fc5765ec4" providerId="ADAL" clId="{EB641A6A-5631-604E-9482-E1CF6AD842B0}" dt="2021-04-13T13:59:09.388" v="3661" actId="207"/>
          <ac:spMkLst>
            <pc:docMk/>
            <pc:sldMk cId="3561234065" sldId="2141411917"/>
            <ac:spMk id="10" creationId="{770DCDB0-0408-EF42-88F7-9BAFC41EFE0A}"/>
          </ac:spMkLst>
        </pc:spChg>
        <pc:spChg chg="mod">
          <ac:chgData name="Victoria Serra G" userId="7b4aef31-56b7-4e27-b65e-764fc5765ec4" providerId="ADAL" clId="{EB641A6A-5631-604E-9482-E1CF6AD842B0}" dt="2021-04-13T13:59:09.388" v="3661" actId="207"/>
          <ac:spMkLst>
            <pc:docMk/>
            <pc:sldMk cId="3561234065" sldId="2141411917"/>
            <ac:spMk id="13" creationId="{ACAC4C7B-47DB-D741-819F-D9D14CC768CA}"/>
          </ac:spMkLst>
        </pc:spChg>
        <pc:spChg chg="mod">
          <ac:chgData name="Victoria Serra G" userId="7b4aef31-56b7-4e27-b65e-764fc5765ec4" providerId="ADAL" clId="{EB641A6A-5631-604E-9482-E1CF6AD842B0}" dt="2021-04-13T13:59:09.388" v="3661" actId="207"/>
          <ac:spMkLst>
            <pc:docMk/>
            <pc:sldMk cId="3561234065" sldId="2141411917"/>
            <ac:spMk id="14" creationId="{CBAFC2D6-35AC-5D4B-B675-BC96C439D789}"/>
          </ac:spMkLst>
        </pc:spChg>
        <pc:picChg chg="mod">
          <ac:chgData name="Victoria Serra G" userId="7b4aef31-56b7-4e27-b65e-764fc5765ec4" providerId="ADAL" clId="{EB641A6A-5631-604E-9482-E1CF6AD842B0}" dt="2021-04-13T13:59:15.639" v="3662" actId="207"/>
          <ac:picMkLst>
            <pc:docMk/>
            <pc:sldMk cId="3561234065" sldId="2141411917"/>
            <ac:picMk id="21" creationId="{241058A8-0E9D-A840-83DA-C64CE68AC1A4}"/>
          </ac:picMkLst>
        </pc:picChg>
        <pc:picChg chg="mod">
          <ac:chgData name="Victoria Serra G" userId="7b4aef31-56b7-4e27-b65e-764fc5765ec4" providerId="ADAL" clId="{EB641A6A-5631-604E-9482-E1CF6AD842B0}" dt="2021-04-13T13:59:15.639" v="3662" actId="207"/>
          <ac:picMkLst>
            <pc:docMk/>
            <pc:sldMk cId="3561234065" sldId="2141411917"/>
            <ac:picMk id="27" creationId="{669F4420-836D-094C-BF92-BF95E9234B30}"/>
          </ac:picMkLst>
        </pc:picChg>
      </pc:sldChg>
      <pc:sldChg chg="add">
        <pc:chgData name="Victoria Serra G" userId="7b4aef31-56b7-4e27-b65e-764fc5765ec4" providerId="ADAL" clId="{EB641A6A-5631-604E-9482-E1CF6AD842B0}" dt="2021-04-14T16:53:05.281" v="3817"/>
        <pc:sldMkLst>
          <pc:docMk/>
          <pc:sldMk cId="3211802294" sldId="2141411926"/>
        </pc:sldMkLst>
      </pc:sldChg>
      <pc:sldMasterChg chg="addSp modSp mod delSldLayout modSldLayout">
        <pc:chgData name="Victoria Serra G" userId="7b4aef31-56b7-4e27-b65e-764fc5765ec4" providerId="ADAL" clId="{EB641A6A-5631-604E-9482-E1CF6AD842B0}" dt="2021-04-13T11:00:38.949" v="3056" actId="207"/>
        <pc:sldMasterMkLst>
          <pc:docMk/>
          <pc:sldMasterMk cId="460149875" sldId="2147483660"/>
        </pc:sldMasterMkLst>
        <pc:spChg chg="add mod">
          <ac:chgData name="Victoria Serra G" userId="7b4aef31-56b7-4e27-b65e-764fc5765ec4" providerId="ADAL" clId="{EB641A6A-5631-604E-9482-E1CF6AD842B0}" dt="2021-04-13T11:00:38.949" v="3056" actId="207"/>
          <ac:spMkLst>
            <pc:docMk/>
            <pc:sldMasterMk cId="460149875" sldId="2147483660"/>
            <ac:spMk id="5" creationId="{41BAA9D7-DA21-9B4B-B30E-34FA7B0AA7A2}"/>
          </ac:spMkLst>
        </pc:spChg>
        <pc:sldLayoutChg chg="addSp delSp modSp mod">
          <pc:chgData name="Victoria Serra G" userId="7b4aef31-56b7-4e27-b65e-764fc5765ec4" providerId="ADAL" clId="{EB641A6A-5631-604E-9482-E1CF6AD842B0}" dt="2021-04-13T11:00:08.858" v="2990" actId="478"/>
          <pc:sldLayoutMkLst>
            <pc:docMk/>
            <pc:sldMasterMk cId="460149875" sldId="2147483660"/>
            <pc:sldLayoutMk cId="1078684773" sldId="2147483669"/>
          </pc:sldLayoutMkLst>
          <pc:spChg chg="add del mod">
            <ac:chgData name="Victoria Serra G" userId="7b4aef31-56b7-4e27-b65e-764fc5765ec4" providerId="ADAL" clId="{EB641A6A-5631-604E-9482-E1CF6AD842B0}" dt="2021-04-13T11:00:08.858" v="2990" actId="478"/>
            <ac:spMkLst>
              <pc:docMk/>
              <pc:sldMasterMk cId="460149875" sldId="2147483660"/>
              <pc:sldLayoutMk cId="1078684773" sldId="2147483669"/>
              <ac:spMk id="2" creationId="{8F00F305-460A-694D-A0D0-3B8C06DBA30B}"/>
            </ac:spMkLst>
          </pc:spChg>
        </pc:sldLayoutChg>
        <pc:sldLayoutChg chg="del">
          <pc:chgData name="Victoria Serra G" userId="7b4aef31-56b7-4e27-b65e-764fc5765ec4" providerId="ADAL" clId="{EB641A6A-5631-604E-9482-E1CF6AD842B0}" dt="2021-04-13T07:26:44.941" v="68" actId="2696"/>
          <pc:sldLayoutMkLst>
            <pc:docMk/>
            <pc:sldMasterMk cId="460149875" sldId="2147483660"/>
            <pc:sldLayoutMk cId="3482889394" sldId="2147483755"/>
          </pc:sldLayoutMkLst>
        </pc:sldLayoutChg>
        <pc:sldLayoutChg chg="del">
          <pc:chgData name="Victoria Serra G" userId="7b4aef31-56b7-4e27-b65e-764fc5765ec4" providerId="ADAL" clId="{EB641A6A-5631-604E-9482-E1CF6AD842B0}" dt="2021-04-13T07:26:44.941" v="68" actId="2696"/>
          <pc:sldLayoutMkLst>
            <pc:docMk/>
            <pc:sldMasterMk cId="460149875" sldId="2147483660"/>
            <pc:sldLayoutMk cId="1292872114" sldId="214748379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aaronbean\Downloads\Engage%20Call%20Volume%20EU5.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EU% Monthly Engage</a:t>
            </a:r>
            <a:r>
              <a:rPr lang="en-GB" baseline="0"/>
              <a:t> Call Volumes Feb 2020 -March 2021</a:t>
            </a:r>
            <a:endParaRPr lang="en-GB"/>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cked"/>
        <c:varyColors val="0"/>
        <c:ser>
          <c:idx val="0"/>
          <c:order val="0"/>
          <c:tx>
            <c:strRef>
              <c:f>Sheet1!$C$2</c:f>
              <c:strCache>
                <c:ptCount val="1"/>
                <c:pt idx="0">
                  <c:v>France</c:v>
                </c:pt>
              </c:strCache>
            </c:strRef>
          </c:tx>
          <c:spPr>
            <a:solidFill>
              <a:schemeClr val="accent1"/>
            </a:solidFill>
            <a:ln>
              <a:noFill/>
            </a:ln>
            <a:effectLst/>
          </c:spPr>
          <c:cat>
            <c:numRef>
              <c:f>Sheet1!$B$3:$B$16</c:f>
              <c:numCache>
                <c:formatCode>mmm\-yy</c:formatCode>
                <c:ptCount val="14"/>
                <c:pt idx="0">
                  <c:v>43862</c:v>
                </c:pt>
                <c:pt idx="1">
                  <c:v>43891</c:v>
                </c:pt>
                <c:pt idx="2">
                  <c:v>43922</c:v>
                </c:pt>
                <c:pt idx="3">
                  <c:v>43952</c:v>
                </c:pt>
                <c:pt idx="4">
                  <c:v>43983</c:v>
                </c:pt>
                <c:pt idx="5">
                  <c:v>44013</c:v>
                </c:pt>
                <c:pt idx="6">
                  <c:v>44044</c:v>
                </c:pt>
                <c:pt idx="7">
                  <c:v>44075</c:v>
                </c:pt>
                <c:pt idx="8">
                  <c:v>44105</c:v>
                </c:pt>
                <c:pt idx="9">
                  <c:v>44136</c:v>
                </c:pt>
                <c:pt idx="10">
                  <c:v>44166</c:v>
                </c:pt>
                <c:pt idx="11">
                  <c:v>44197</c:v>
                </c:pt>
                <c:pt idx="12">
                  <c:v>44228</c:v>
                </c:pt>
                <c:pt idx="13">
                  <c:v>44256</c:v>
                </c:pt>
              </c:numCache>
            </c:numRef>
          </c:cat>
          <c:val>
            <c:numRef>
              <c:f>Sheet1!$C$3:$C$16</c:f>
              <c:numCache>
                <c:formatCode>General</c:formatCode>
                <c:ptCount val="14"/>
                <c:pt idx="1">
                  <c:v>2681</c:v>
                </c:pt>
                <c:pt idx="2">
                  <c:v>2763</c:v>
                </c:pt>
                <c:pt idx="3">
                  <c:v>6194</c:v>
                </c:pt>
                <c:pt idx="4">
                  <c:v>5213</c:v>
                </c:pt>
                <c:pt idx="5">
                  <c:v>2412</c:v>
                </c:pt>
                <c:pt idx="6">
                  <c:v>778</c:v>
                </c:pt>
                <c:pt idx="7">
                  <c:v>2209</c:v>
                </c:pt>
                <c:pt idx="8">
                  <c:v>2894</c:v>
                </c:pt>
                <c:pt idx="9">
                  <c:v>10053</c:v>
                </c:pt>
                <c:pt idx="10">
                  <c:v>2923</c:v>
                </c:pt>
                <c:pt idx="11">
                  <c:v>8765</c:v>
                </c:pt>
                <c:pt idx="12">
                  <c:v>10917</c:v>
                </c:pt>
                <c:pt idx="13">
                  <c:v>6641</c:v>
                </c:pt>
              </c:numCache>
            </c:numRef>
          </c:val>
          <c:extLst>
            <c:ext xmlns:c16="http://schemas.microsoft.com/office/drawing/2014/chart" uri="{C3380CC4-5D6E-409C-BE32-E72D297353CC}">
              <c16:uniqueId val="{00000000-48E8-7746-B920-F6AE9C1DB03B}"/>
            </c:ext>
          </c:extLst>
        </c:ser>
        <c:ser>
          <c:idx val="1"/>
          <c:order val="1"/>
          <c:tx>
            <c:strRef>
              <c:f>Sheet1!$D$2</c:f>
              <c:strCache>
                <c:ptCount val="1"/>
                <c:pt idx="0">
                  <c:v>Germany</c:v>
                </c:pt>
              </c:strCache>
            </c:strRef>
          </c:tx>
          <c:spPr>
            <a:solidFill>
              <a:schemeClr val="accent2"/>
            </a:solidFill>
            <a:ln>
              <a:noFill/>
            </a:ln>
            <a:effectLst/>
          </c:spPr>
          <c:cat>
            <c:numRef>
              <c:f>Sheet1!$B$3:$B$16</c:f>
              <c:numCache>
                <c:formatCode>mmm\-yy</c:formatCode>
                <c:ptCount val="14"/>
                <c:pt idx="0">
                  <c:v>43862</c:v>
                </c:pt>
                <c:pt idx="1">
                  <c:v>43891</c:v>
                </c:pt>
                <c:pt idx="2">
                  <c:v>43922</c:v>
                </c:pt>
                <c:pt idx="3">
                  <c:v>43952</c:v>
                </c:pt>
                <c:pt idx="4">
                  <c:v>43983</c:v>
                </c:pt>
                <c:pt idx="5">
                  <c:v>44013</c:v>
                </c:pt>
                <c:pt idx="6">
                  <c:v>44044</c:v>
                </c:pt>
                <c:pt idx="7">
                  <c:v>44075</c:v>
                </c:pt>
                <c:pt idx="8">
                  <c:v>44105</c:v>
                </c:pt>
                <c:pt idx="9">
                  <c:v>44136</c:v>
                </c:pt>
                <c:pt idx="10">
                  <c:v>44166</c:v>
                </c:pt>
                <c:pt idx="11">
                  <c:v>44197</c:v>
                </c:pt>
                <c:pt idx="12">
                  <c:v>44228</c:v>
                </c:pt>
                <c:pt idx="13">
                  <c:v>44256</c:v>
                </c:pt>
              </c:numCache>
            </c:numRef>
          </c:cat>
          <c:val>
            <c:numRef>
              <c:f>Sheet1!$D$3:$D$16</c:f>
              <c:numCache>
                <c:formatCode>General</c:formatCode>
                <c:ptCount val="14"/>
                <c:pt idx="1">
                  <c:v>1140</c:v>
                </c:pt>
                <c:pt idx="2">
                  <c:v>1370</c:v>
                </c:pt>
                <c:pt idx="3">
                  <c:v>3197</c:v>
                </c:pt>
                <c:pt idx="4">
                  <c:v>1562</c:v>
                </c:pt>
                <c:pt idx="5">
                  <c:v>2544</c:v>
                </c:pt>
                <c:pt idx="6">
                  <c:v>2823</c:v>
                </c:pt>
                <c:pt idx="7">
                  <c:v>2638</c:v>
                </c:pt>
                <c:pt idx="8">
                  <c:v>3134</c:v>
                </c:pt>
                <c:pt idx="9">
                  <c:v>7020</c:v>
                </c:pt>
                <c:pt idx="10">
                  <c:v>2093</c:v>
                </c:pt>
                <c:pt idx="11">
                  <c:v>11309</c:v>
                </c:pt>
                <c:pt idx="12">
                  <c:v>8944</c:v>
                </c:pt>
                <c:pt idx="13">
                  <c:v>4199</c:v>
                </c:pt>
              </c:numCache>
            </c:numRef>
          </c:val>
          <c:extLst>
            <c:ext xmlns:c16="http://schemas.microsoft.com/office/drawing/2014/chart" uri="{C3380CC4-5D6E-409C-BE32-E72D297353CC}">
              <c16:uniqueId val="{00000001-48E8-7746-B920-F6AE9C1DB03B}"/>
            </c:ext>
          </c:extLst>
        </c:ser>
        <c:ser>
          <c:idx val="2"/>
          <c:order val="2"/>
          <c:tx>
            <c:strRef>
              <c:f>Sheet1!$E$2</c:f>
              <c:strCache>
                <c:ptCount val="1"/>
                <c:pt idx="0">
                  <c:v>Spain</c:v>
                </c:pt>
              </c:strCache>
            </c:strRef>
          </c:tx>
          <c:spPr>
            <a:solidFill>
              <a:schemeClr val="accent3"/>
            </a:solidFill>
            <a:ln>
              <a:noFill/>
            </a:ln>
            <a:effectLst/>
          </c:spPr>
          <c:cat>
            <c:numRef>
              <c:f>Sheet1!$B$3:$B$16</c:f>
              <c:numCache>
                <c:formatCode>mmm\-yy</c:formatCode>
                <c:ptCount val="14"/>
                <c:pt idx="0">
                  <c:v>43862</c:v>
                </c:pt>
                <c:pt idx="1">
                  <c:v>43891</c:v>
                </c:pt>
                <c:pt idx="2">
                  <c:v>43922</c:v>
                </c:pt>
                <c:pt idx="3">
                  <c:v>43952</c:v>
                </c:pt>
                <c:pt idx="4">
                  <c:v>43983</c:v>
                </c:pt>
                <c:pt idx="5">
                  <c:v>44013</c:v>
                </c:pt>
                <c:pt idx="6">
                  <c:v>44044</c:v>
                </c:pt>
                <c:pt idx="7">
                  <c:v>44075</c:v>
                </c:pt>
                <c:pt idx="8">
                  <c:v>44105</c:v>
                </c:pt>
                <c:pt idx="9">
                  <c:v>44136</c:v>
                </c:pt>
                <c:pt idx="10">
                  <c:v>44166</c:v>
                </c:pt>
                <c:pt idx="11">
                  <c:v>44197</c:v>
                </c:pt>
                <c:pt idx="12">
                  <c:v>44228</c:v>
                </c:pt>
                <c:pt idx="13">
                  <c:v>44256</c:v>
                </c:pt>
              </c:numCache>
            </c:numRef>
          </c:cat>
          <c:val>
            <c:numRef>
              <c:f>Sheet1!$E$3:$E$16</c:f>
              <c:numCache>
                <c:formatCode>General</c:formatCode>
                <c:ptCount val="14"/>
                <c:pt idx="1">
                  <c:v>2734</c:v>
                </c:pt>
                <c:pt idx="2">
                  <c:v>5646</c:v>
                </c:pt>
                <c:pt idx="3">
                  <c:v>41188</c:v>
                </c:pt>
                <c:pt idx="4">
                  <c:v>30280</c:v>
                </c:pt>
                <c:pt idx="5">
                  <c:v>28727</c:v>
                </c:pt>
                <c:pt idx="6">
                  <c:v>5779</c:v>
                </c:pt>
                <c:pt idx="7">
                  <c:v>38057</c:v>
                </c:pt>
                <c:pt idx="8">
                  <c:v>38100</c:v>
                </c:pt>
                <c:pt idx="9">
                  <c:v>54694</c:v>
                </c:pt>
                <c:pt idx="10">
                  <c:v>15711</c:v>
                </c:pt>
                <c:pt idx="11">
                  <c:v>48247</c:v>
                </c:pt>
                <c:pt idx="12">
                  <c:v>51686</c:v>
                </c:pt>
                <c:pt idx="13">
                  <c:v>25027</c:v>
                </c:pt>
              </c:numCache>
            </c:numRef>
          </c:val>
          <c:extLst>
            <c:ext xmlns:c16="http://schemas.microsoft.com/office/drawing/2014/chart" uri="{C3380CC4-5D6E-409C-BE32-E72D297353CC}">
              <c16:uniqueId val="{00000002-48E8-7746-B920-F6AE9C1DB03B}"/>
            </c:ext>
          </c:extLst>
        </c:ser>
        <c:ser>
          <c:idx val="3"/>
          <c:order val="3"/>
          <c:tx>
            <c:strRef>
              <c:f>Sheet1!$F$2</c:f>
              <c:strCache>
                <c:ptCount val="1"/>
                <c:pt idx="0">
                  <c:v>Great Britain</c:v>
                </c:pt>
              </c:strCache>
            </c:strRef>
          </c:tx>
          <c:spPr>
            <a:solidFill>
              <a:schemeClr val="accent4"/>
            </a:solidFill>
            <a:ln>
              <a:noFill/>
            </a:ln>
            <a:effectLst/>
          </c:spPr>
          <c:cat>
            <c:numRef>
              <c:f>Sheet1!$B$3:$B$16</c:f>
              <c:numCache>
                <c:formatCode>mmm\-yy</c:formatCode>
                <c:ptCount val="14"/>
                <c:pt idx="0">
                  <c:v>43862</c:v>
                </c:pt>
                <c:pt idx="1">
                  <c:v>43891</c:v>
                </c:pt>
                <c:pt idx="2">
                  <c:v>43922</c:v>
                </c:pt>
                <c:pt idx="3">
                  <c:v>43952</c:v>
                </c:pt>
                <c:pt idx="4">
                  <c:v>43983</c:v>
                </c:pt>
                <c:pt idx="5">
                  <c:v>44013</c:v>
                </c:pt>
                <c:pt idx="6">
                  <c:v>44044</c:v>
                </c:pt>
                <c:pt idx="7">
                  <c:v>44075</c:v>
                </c:pt>
                <c:pt idx="8">
                  <c:v>44105</c:v>
                </c:pt>
                <c:pt idx="9">
                  <c:v>44136</c:v>
                </c:pt>
                <c:pt idx="10">
                  <c:v>44166</c:v>
                </c:pt>
                <c:pt idx="11">
                  <c:v>44197</c:v>
                </c:pt>
                <c:pt idx="12">
                  <c:v>44228</c:v>
                </c:pt>
                <c:pt idx="13">
                  <c:v>44256</c:v>
                </c:pt>
              </c:numCache>
            </c:numRef>
          </c:cat>
          <c:val>
            <c:numRef>
              <c:f>Sheet1!$F$3:$F$16</c:f>
              <c:numCache>
                <c:formatCode>General</c:formatCode>
                <c:ptCount val="14"/>
                <c:pt idx="1">
                  <c:v>682</c:v>
                </c:pt>
                <c:pt idx="2">
                  <c:v>498</c:v>
                </c:pt>
                <c:pt idx="3">
                  <c:v>2168</c:v>
                </c:pt>
                <c:pt idx="4">
                  <c:v>3664</c:v>
                </c:pt>
                <c:pt idx="5">
                  <c:v>3393</c:v>
                </c:pt>
                <c:pt idx="6">
                  <c:v>3340</c:v>
                </c:pt>
                <c:pt idx="7">
                  <c:v>3522</c:v>
                </c:pt>
                <c:pt idx="8">
                  <c:v>2759</c:v>
                </c:pt>
                <c:pt idx="9">
                  <c:v>3514</c:v>
                </c:pt>
                <c:pt idx="10">
                  <c:v>1415</c:v>
                </c:pt>
                <c:pt idx="11">
                  <c:v>2091</c:v>
                </c:pt>
                <c:pt idx="12">
                  <c:v>2181</c:v>
                </c:pt>
                <c:pt idx="13">
                  <c:v>1513</c:v>
                </c:pt>
              </c:numCache>
            </c:numRef>
          </c:val>
          <c:extLst>
            <c:ext xmlns:c16="http://schemas.microsoft.com/office/drawing/2014/chart" uri="{C3380CC4-5D6E-409C-BE32-E72D297353CC}">
              <c16:uniqueId val="{00000003-48E8-7746-B920-F6AE9C1DB03B}"/>
            </c:ext>
          </c:extLst>
        </c:ser>
        <c:ser>
          <c:idx val="4"/>
          <c:order val="4"/>
          <c:tx>
            <c:strRef>
              <c:f>Sheet1!$G$2</c:f>
              <c:strCache>
                <c:ptCount val="1"/>
                <c:pt idx="0">
                  <c:v>Italy</c:v>
                </c:pt>
              </c:strCache>
            </c:strRef>
          </c:tx>
          <c:spPr>
            <a:solidFill>
              <a:schemeClr val="accent5"/>
            </a:solidFill>
            <a:ln>
              <a:noFill/>
            </a:ln>
            <a:effectLst/>
          </c:spPr>
          <c:cat>
            <c:numRef>
              <c:f>Sheet1!$B$3:$B$16</c:f>
              <c:numCache>
                <c:formatCode>mmm\-yy</c:formatCode>
                <c:ptCount val="14"/>
                <c:pt idx="0">
                  <c:v>43862</c:v>
                </c:pt>
                <c:pt idx="1">
                  <c:v>43891</c:v>
                </c:pt>
                <c:pt idx="2">
                  <c:v>43922</c:v>
                </c:pt>
                <c:pt idx="3">
                  <c:v>43952</c:v>
                </c:pt>
                <c:pt idx="4">
                  <c:v>43983</c:v>
                </c:pt>
                <c:pt idx="5">
                  <c:v>44013</c:v>
                </c:pt>
                <c:pt idx="6">
                  <c:v>44044</c:v>
                </c:pt>
                <c:pt idx="7">
                  <c:v>44075</c:v>
                </c:pt>
                <c:pt idx="8">
                  <c:v>44105</c:v>
                </c:pt>
                <c:pt idx="9">
                  <c:v>44136</c:v>
                </c:pt>
                <c:pt idx="10">
                  <c:v>44166</c:v>
                </c:pt>
                <c:pt idx="11">
                  <c:v>44197</c:v>
                </c:pt>
                <c:pt idx="12">
                  <c:v>44228</c:v>
                </c:pt>
                <c:pt idx="13">
                  <c:v>44256</c:v>
                </c:pt>
              </c:numCache>
            </c:numRef>
          </c:cat>
          <c:val>
            <c:numRef>
              <c:f>Sheet1!$G$3:$G$16</c:f>
              <c:numCache>
                <c:formatCode>General</c:formatCode>
                <c:ptCount val="14"/>
                <c:pt idx="1">
                  <c:v>2943</c:v>
                </c:pt>
                <c:pt idx="2">
                  <c:v>5763</c:v>
                </c:pt>
                <c:pt idx="3">
                  <c:v>32285</c:v>
                </c:pt>
                <c:pt idx="4">
                  <c:v>27723</c:v>
                </c:pt>
                <c:pt idx="5">
                  <c:v>11674</c:v>
                </c:pt>
                <c:pt idx="6">
                  <c:v>2031</c:v>
                </c:pt>
                <c:pt idx="7">
                  <c:v>9712</c:v>
                </c:pt>
                <c:pt idx="8">
                  <c:v>14520</c:v>
                </c:pt>
                <c:pt idx="9">
                  <c:v>28617</c:v>
                </c:pt>
                <c:pt idx="10">
                  <c:v>10111</c:v>
                </c:pt>
                <c:pt idx="11">
                  <c:v>17435</c:v>
                </c:pt>
                <c:pt idx="12">
                  <c:v>17556</c:v>
                </c:pt>
                <c:pt idx="13">
                  <c:v>16137</c:v>
                </c:pt>
              </c:numCache>
            </c:numRef>
          </c:val>
          <c:extLst>
            <c:ext xmlns:c16="http://schemas.microsoft.com/office/drawing/2014/chart" uri="{C3380CC4-5D6E-409C-BE32-E72D297353CC}">
              <c16:uniqueId val="{00000004-48E8-7746-B920-F6AE9C1DB03B}"/>
            </c:ext>
          </c:extLst>
        </c:ser>
        <c:dLbls>
          <c:showLegendKey val="0"/>
          <c:showVal val="0"/>
          <c:showCatName val="0"/>
          <c:showSerName val="0"/>
          <c:showPercent val="0"/>
          <c:showBubbleSize val="0"/>
        </c:dLbls>
        <c:axId val="1609738751"/>
        <c:axId val="1609740431"/>
      </c:areaChart>
      <c:dateAx>
        <c:axId val="1609738751"/>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9740431"/>
        <c:crosses val="autoZero"/>
        <c:auto val="1"/>
        <c:lblOffset val="100"/>
        <c:baseTimeUnit val="months"/>
      </c:dateAx>
      <c:valAx>
        <c:axId val="1609740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9738751"/>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B5A41CA-F221-1B47-825A-2B40D02FD53B}" type="datetimeFigureOut">
              <a:rPr lang="en-US" smtClean="0"/>
              <a:t>4/19/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0D5F49-274A-774B-8C8A-027F8F46C86C}" type="slidenum">
              <a:rPr lang="en-US" smtClean="0"/>
              <a:t>‹#›</a:t>
            </a:fld>
            <a:endParaRPr lang="en-US"/>
          </a:p>
        </p:txBody>
      </p:sp>
    </p:spTree>
    <p:extLst>
      <p:ext uri="{BB962C8B-B14F-4D97-AF65-F5344CB8AC3E}">
        <p14:creationId xmlns:p14="http://schemas.microsoft.com/office/powerpoint/2010/main" val="13094505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DCB74D-2A12-4E15-A07E-AC3094FD6CF1}" type="slidenum">
              <a:rPr kumimoji="0" lang="en-US" sz="1300" b="0" i="0" u="none" strike="noStrike" kern="1200" cap="none" spc="0" normalizeH="0" baseline="0" noProof="0" smtClean="0">
                <a:ln>
                  <a:noFill/>
                </a:ln>
                <a:solidFill>
                  <a:prstClr val="black"/>
                </a:solidFill>
                <a:effectLst/>
                <a:uLnTx/>
                <a:uFillTx/>
                <a:latin typeface="Roboto Light"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Roboto Light" panose="02000000000000000000" pitchFamily="2" charset="0"/>
              <a:ea typeface="+mn-ea"/>
              <a:cs typeface="+mn-cs"/>
            </a:endParaRPr>
          </a:p>
        </p:txBody>
      </p:sp>
    </p:spTree>
    <p:extLst>
      <p:ext uri="{BB962C8B-B14F-4D97-AF65-F5344CB8AC3E}">
        <p14:creationId xmlns:p14="http://schemas.microsoft.com/office/powerpoint/2010/main" val="3194384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6212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19</a:t>
            </a:fld>
            <a:endParaRPr lang="en-US"/>
          </a:p>
        </p:txBody>
      </p:sp>
    </p:spTree>
    <p:extLst>
      <p:ext uri="{BB962C8B-B14F-4D97-AF65-F5344CB8AC3E}">
        <p14:creationId xmlns:p14="http://schemas.microsoft.com/office/powerpoint/2010/main" val="1401138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20</a:t>
            </a:fld>
            <a:endParaRPr lang="en-US"/>
          </a:p>
        </p:txBody>
      </p:sp>
    </p:spTree>
    <p:extLst>
      <p:ext uri="{BB962C8B-B14F-4D97-AF65-F5344CB8AC3E}">
        <p14:creationId xmlns:p14="http://schemas.microsoft.com/office/powerpoint/2010/main" val="20636895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21</a:t>
            </a:fld>
            <a:endParaRPr lang="en-US"/>
          </a:p>
        </p:txBody>
      </p:sp>
    </p:spTree>
    <p:extLst>
      <p:ext uri="{BB962C8B-B14F-4D97-AF65-F5344CB8AC3E}">
        <p14:creationId xmlns:p14="http://schemas.microsoft.com/office/powerpoint/2010/main" val="3070943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22</a:t>
            </a:fld>
            <a:endParaRPr lang="en-US"/>
          </a:p>
        </p:txBody>
      </p:sp>
    </p:spTree>
    <p:extLst>
      <p:ext uri="{BB962C8B-B14F-4D97-AF65-F5344CB8AC3E}">
        <p14:creationId xmlns:p14="http://schemas.microsoft.com/office/powerpoint/2010/main" val="3906815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23</a:t>
            </a:fld>
            <a:endParaRPr lang="en-US"/>
          </a:p>
        </p:txBody>
      </p:sp>
    </p:spTree>
    <p:extLst>
      <p:ext uri="{BB962C8B-B14F-4D97-AF65-F5344CB8AC3E}">
        <p14:creationId xmlns:p14="http://schemas.microsoft.com/office/powerpoint/2010/main" val="4203230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25</a:t>
            </a:fld>
            <a:endParaRPr lang="en-US"/>
          </a:p>
        </p:txBody>
      </p:sp>
    </p:spTree>
    <p:extLst>
      <p:ext uri="{BB962C8B-B14F-4D97-AF65-F5344CB8AC3E}">
        <p14:creationId xmlns:p14="http://schemas.microsoft.com/office/powerpoint/2010/main" val="40992912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26</a:t>
            </a:fld>
            <a:endParaRPr lang="en-US"/>
          </a:p>
        </p:txBody>
      </p:sp>
    </p:spTree>
    <p:extLst>
      <p:ext uri="{BB962C8B-B14F-4D97-AF65-F5344CB8AC3E}">
        <p14:creationId xmlns:p14="http://schemas.microsoft.com/office/powerpoint/2010/main" val="33799320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27</a:t>
            </a:fld>
            <a:endParaRPr lang="en-US"/>
          </a:p>
        </p:txBody>
      </p:sp>
    </p:spTree>
    <p:extLst>
      <p:ext uri="{BB962C8B-B14F-4D97-AF65-F5344CB8AC3E}">
        <p14:creationId xmlns:p14="http://schemas.microsoft.com/office/powerpoint/2010/main" val="40293736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0919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2</a:t>
            </a:fld>
            <a:endParaRPr lang="en-US"/>
          </a:p>
        </p:txBody>
      </p:sp>
    </p:spTree>
    <p:extLst>
      <p:ext uri="{BB962C8B-B14F-4D97-AF65-F5344CB8AC3E}">
        <p14:creationId xmlns:p14="http://schemas.microsoft.com/office/powerpoint/2010/main" val="7812632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9</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5022284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31</a:t>
            </a:fld>
            <a:endParaRPr lang="en-US"/>
          </a:p>
        </p:txBody>
      </p:sp>
    </p:spTree>
    <p:extLst>
      <p:ext uri="{BB962C8B-B14F-4D97-AF65-F5344CB8AC3E}">
        <p14:creationId xmlns:p14="http://schemas.microsoft.com/office/powerpoint/2010/main" val="15303390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4512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50957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0229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79906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17203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512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63147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822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0D5F49-274A-774B-8C8A-027F8F46C86C}" type="slidenum">
              <a:rPr lang="en-US" smtClean="0"/>
              <a:t>3</a:t>
            </a:fld>
            <a:endParaRPr lang="en-US"/>
          </a:p>
        </p:txBody>
      </p:sp>
    </p:spTree>
    <p:extLst>
      <p:ext uri="{BB962C8B-B14F-4D97-AF65-F5344CB8AC3E}">
        <p14:creationId xmlns:p14="http://schemas.microsoft.com/office/powerpoint/2010/main" val="2077603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25964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51A241-61A7-5C41-827B-6008D1A04133}" type="slidenum">
              <a:rPr lang="en-US" smtClean="0"/>
              <a:t>41</a:t>
            </a:fld>
            <a:endParaRPr lang="en-US"/>
          </a:p>
        </p:txBody>
      </p:sp>
    </p:spTree>
    <p:extLst>
      <p:ext uri="{BB962C8B-B14F-4D97-AF65-F5344CB8AC3E}">
        <p14:creationId xmlns:p14="http://schemas.microsoft.com/office/powerpoint/2010/main" val="11604238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51A241-61A7-5C41-827B-6008D1A04133}" type="slidenum">
              <a:rPr lang="en-US" smtClean="0"/>
              <a:t>44</a:t>
            </a:fld>
            <a:endParaRPr lang="en-US"/>
          </a:p>
        </p:txBody>
      </p:sp>
    </p:spTree>
    <p:extLst>
      <p:ext uri="{BB962C8B-B14F-4D97-AF65-F5344CB8AC3E}">
        <p14:creationId xmlns:p14="http://schemas.microsoft.com/office/powerpoint/2010/main" val="22367466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51A241-61A7-5C41-827B-6008D1A04133}" type="slidenum">
              <a:rPr lang="en-US" smtClean="0"/>
              <a:t>45</a:t>
            </a:fld>
            <a:endParaRPr lang="en-US"/>
          </a:p>
        </p:txBody>
      </p:sp>
    </p:spTree>
    <p:extLst>
      <p:ext uri="{BB962C8B-B14F-4D97-AF65-F5344CB8AC3E}">
        <p14:creationId xmlns:p14="http://schemas.microsoft.com/office/powerpoint/2010/main" val="675819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0D5F49-274A-774B-8C8A-027F8F46C86C}" type="slidenum">
              <a:rPr lang="en-US" smtClean="0"/>
              <a:t>4</a:t>
            </a:fld>
            <a:endParaRPr lang="en-US"/>
          </a:p>
        </p:txBody>
      </p:sp>
    </p:spTree>
    <p:extLst>
      <p:ext uri="{BB962C8B-B14F-4D97-AF65-F5344CB8AC3E}">
        <p14:creationId xmlns:p14="http://schemas.microsoft.com/office/powerpoint/2010/main" val="3120768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2979A6-297F-456B-AD9E-A9368A1FD5C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5653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3909E6-547A-9444-848F-914705862992}" type="slidenum">
              <a:rPr lang="en-US" smtClean="0"/>
              <a:t>8</a:t>
            </a:fld>
            <a:endParaRPr lang="en-US"/>
          </a:p>
        </p:txBody>
      </p:sp>
    </p:spTree>
    <p:extLst>
      <p:ext uri="{BB962C8B-B14F-4D97-AF65-F5344CB8AC3E}">
        <p14:creationId xmlns:p14="http://schemas.microsoft.com/office/powerpoint/2010/main" val="2238296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1138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3247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0D5F49-274A-774B-8C8A-027F8F46C8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52853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170795820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8B3B833-D81B-F747-903E-F21E3697FC99}"/>
              </a:ext>
            </a:extLst>
          </p:cNvPr>
          <p:cNvSpPr/>
          <p:nvPr userDrawn="1"/>
        </p:nvSpPr>
        <p:spPr>
          <a:xfrm>
            <a:off x="0" y="0"/>
            <a:ext cx="3685953" cy="6858000"/>
          </a:xfrm>
          <a:prstGeom prst="rect">
            <a:avLst/>
          </a:prstGeom>
          <a:gradFill>
            <a:gsLst>
              <a:gs pos="0">
                <a:schemeClr val="tx2"/>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00350A53-D60D-214B-A6E9-EB53560863E2}"/>
              </a:ext>
            </a:extLst>
          </p:cNvPr>
          <p:cNvSpPr>
            <a:spLocks noGrp="1"/>
          </p:cNvSpPr>
          <p:nvPr>
            <p:ph type="title" hasCustomPrompt="1"/>
          </p:nvPr>
        </p:nvSpPr>
        <p:spPr>
          <a:xfrm>
            <a:off x="333198" y="1710813"/>
            <a:ext cx="3019556" cy="1101213"/>
          </a:xfrm>
        </p:spPr>
        <p:txBody>
          <a:bodyPr anchor="t"/>
          <a:lstStyle>
            <a:lvl1pPr marL="0" marR="0" indent="0" algn="l" defTabSz="914400" rtl="0" eaLnBrk="1" fontAlgn="auto" latinLnBrk="0" hangingPunct="1">
              <a:lnSpc>
                <a:spcPct val="70000"/>
              </a:lnSpc>
              <a:spcBef>
                <a:spcPct val="0"/>
              </a:spcBef>
              <a:spcAft>
                <a:spcPts val="0"/>
              </a:spcAft>
              <a:buClrTx/>
              <a:buSzTx/>
              <a:buFontTx/>
              <a:buNone/>
              <a:tabLst/>
              <a:defRPr lang="en-GB" b="0" i="0" smtClean="0">
                <a:solidFill>
                  <a:schemeClr val="bg1"/>
                </a:solidFill>
                <a:effectLst/>
              </a:defRPr>
            </a:lvl1pPr>
          </a:lstStyle>
          <a:p>
            <a:r>
              <a:rPr lang="en-US"/>
              <a:t>Example Header Left hand side aligned for use with faded image</a:t>
            </a:r>
          </a:p>
        </p:txBody>
      </p:sp>
      <p:sp>
        <p:nvSpPr>
          <p:cNvPr id="19" name="Content Placeholder 2">
            <a:extLst>
              <a:ext uri="{FF2B5EF4-FFF2-40B4-BE49-F238E27FC236}">
                <a16:creationId xmlns:a16="http://schemas.microsoft.com/office/drawing/2014/main" id="{B33226C0-5D19-E344-A58D-80D2F4BA6E2A}"/>
              </a:ext>
            </a:extLst>
          </p:cNvPr>
          <p:cNvSpPr>
            <a:spLocks noGrp="1"/>
          </p:cNvSpPr>
          <p:nvPr>
            <p:ph idx="11" hasCustomPrompt="1"/>
          </p:nvPr>
        </p:nvSpPr>
        <p:spPr>
          <a:xfrm>
            <a:off x="4446163" y="1710813"/>
            <a:ext cx="7081427" cy="3618618"/>
          </a:xfrm>
        </p:spPr>
        <p:txBody>
          <a:bodyPr/>
          <a:lstStyle>
            <a:lvl1pPr marL="0" indent="0" algn="l">
              <a:lnSpc>
                <a:spcPct val="80000"/>
              </a:lnSpc>
              <a:spcBef>
                <a:spcPts val="1000"/>
              </a:spcBef>
              <a:buFont typeface="Arial" panose="020B0604020202020204" pitchFamily="34" charset="0"/>
              <a:buNone/>
              <a:defRPr sz="2400">
                <a:solidFill>
                  <a:schemeClr val="tx1"/>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
        <p:nvSpPr>
          <p:cNvPr id="20" name="TextBox 19">
            <a:extLst>
              <a:ext uri="{FF2B5EF4-FFF2-40B4-BE49-F238E27FC236}">
                <a16:creationId xmlns:a16="http://schemas.microsoft.com/office/drawing/2014/main" id="{75B74C86-73D8-264E-8DBA-B95F93383879}"/>
              </a:ext>
            </a:extLst>
          </p:cNvPr>
          <p:cNvSpPr txBox="1"/>
          <p:nvPr userDrawn="1"/>
        </p:nvSpPr>
        <p:spPr>
          <a:xfrm>
            <a:off x="11017792" y="6521025"/>
            <a:ext cx="1019596" cy="246221"/>
          </a:xfrm>
          <a:prstGeom prst="rect">
            <a:avLst/>
          </a:prstGeom>
          <a:noFill/>
        </p:spPr>
        <p:txBody>
          <a:bodyPr wrap="square" rtlCol="0">
            <a:spAutoFit/>
          </a:bodyPr>
          <a:lstStyle/>
          <a:p>
            <a:pPr algn="r"/>
            <a:fld id="{44515CC9-B04E-49D1-8DBC-3EBC45FAC8C9}" type="slidenum">
              <a:rPr lang="en-US" sz="1000" kern="1200" smtClean="0">
                <a:solidFill>
                  <a:schemeClr val="bg1">
                    <a:lumMod val="75000"/>
                  </a:schemeClr>
                </a:solidFill>
                <a:latin typeface="+mn-lt"/>
                <a:ea typeface="+mn-ea"/>
                <a:cs typeface="+mn-cs"/>
              </a:rPr>
              <a:pPr algn="r"/>
              <a:t>‹#›</a:t>
            </a:fld>
            <a:endParaRPr lang="en-US" sz="1000" kern="1200">
              <a:solidFill>
                <a:schemeClr val="bg1">
                  <a:lumMod val="75000"/>
                </a:schemeClr>
              </a:solidFill>
              <a:latin typeface="+mn-lt"/>
              <a:ea typeface="+mn-ea"/>
              <a:cs typeface="+mn-cs"/>
            </a:endParaRPr>
          </a:p>
        </p:txBody>
      </p:sp>
      <p:pic>
        <p:nvPicPr>
          <p:cNvPr id="7" name="Picture 6">
            <a:extLst>
              <a:ext uri="{FF2B5EF4-FFF2-40B4-BE49-F238E27FC236}">
                <a16:creationId xmlns:a16="http://schemas.microsoft.com/office/drawing/2014/main" id="{90A52F17-EBEC-CD4B-8F53-11C5E586A330}"/>
              </a:ext>
            </a:extLst>
          </p:cNvPr>
          <p:cNvPicPr>
            <a:picLocks noChangeAspect="1"/>
          </p:cNvPicPr>
          <p:nvPr userDrawn="1"/>
        </p:nvPicPr>
        <p:blipFill>
          <a:blip r:embed="rId2"/>
          <a:stretch>
            <a:fillRect/>
          </a:stretch>
        </p:blipFill>
        <p:spPr>
          <a:xfrm>
            <a:off x="266700" y="6376988"/>
            <a:ext cx="1508746" cy="356232"/>
          </a:xfrm>
          <a:prstGeom prst="rect">
            <a:avLst/>
          </a:prstGeom>
        </p:spPr>
      </p:pic>
    </p:spTree>
    <p:extLst>
      <p:ext uri="{BB962C8B-B14F-4D97-AF65-F5344CB8AC3E}">
        <p14:creationId xmlns:p14="http://schemas.microsoft.com/office/powerpoint/2010/main" val="1871896619"/>
      </p:ext>
    </p:extLst>
  </p:cSld>
  <p:clrMapOvr>
    <a:masterClrMapping/>
  </p:clrMapOvr>
  <p:transition>
    <p:fade/>
  </p:transition>
  <p:extLst>
    <p:ext uri="{DCECCB84-F9BA-43D5-87BE-67443E8EF086}">
      <p15:sldGuideLst xmlns:p15="http://schemas.microsoft.com/office/powerpoint/2012/main">
        <p15:guide id="1" orient="horz" pos="36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mpare Orange White">
    <p:bg>
      <p:bgPr>
        <a:gradFill>
          <a:gsLst>
            <a:gs pos="0">
              <a:schemeClr val="tx2"/>
            </a:gs>
            <a:gs pos="100000">
              <a:schemeClr val="accent1"/>
            </a:gs>
          </a:gsLst>
          <a:lin ang="2700000" scaled="1"/>
        </a:gradFill>
        <a:effectLst/>
      </p:bgPr>
    </p:bg>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1917" indent="-121917" algn="ctr">
              <a:spcBef>
                <a:spcPts val="1600"/>
              </a:spcBef>
              <a:buClr>
                <a:schemeClr val="tx2"/>
              </a:buClr>
            </a:pPr>
            <a:endParaRPr lang="en-US" sz="2400">
              <a:solidFill>
                <a:schemeClr val="bg1"/>
              </a:solidFill>
              <a:latin typeface="Calibri Light" panose="020F0302020204030204" pitchFamily="34" charset="0"/>
            </a:endParaRPr>
          </a:p>
        </p:txBody>
      </p:sp>
      <p:sp>
        <p:nvSpPr>
          <p:cNvPr id="3" name="Isosceles Triangle 2"/>
          <p:cNvSpPr/>
          <p:nvPr userDrawn="1"/>
        </p:nvSpPr>
        <p:spPr>
          <a:xfrm rot="5400000">
            <a:off x="5902947" y="3287623"/>
            <a:ext cx="668859" cy="282753"/>
          </a:xfrm>
          <a:prstGeom prst="triangle">
            <a:avLst/>
          </a:prstGeom>
          <a:gradFill flip="none" rotWithShape="1">
            <a:gsLst>
              <a:gs pos="0">
                <a:schemeClr val="tx2"/>
              </a:gs>
              <a:gs pos="100000">
                <a:schemeClr val="tx2">
                  <a:shade val="67500"/>
                  <a:satMod val="115000"/>
                </a:schemeClr>
              </a:gs>
              <a:gs pos="100000">
                <a:schemeClr val="tx2"/>
              </a:gs>
            </a:gsLst>
            <a:path path="circle">
              <a:fillToRect l="100000" t="100000"/>
            </a:path>
            <a:tileRect r="-100000" b="-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1917" indent="-121917" algn="ctr">
              <a:spcBef>
                <a:spcPts val="1600"/>
              </a:spcBef>
              <a:buClr>
                <a:schemeClr val="tx2"/>
              </a:buClr>
            </a:pPr>
            <a:endParaRPr lang="en-US" sz="2400">
              <a:solidFill>
                <a:schemeClr val="bg1"/>
              </a:solidFill>
              <a:latin typeface="Calibri Light" panose="020F0302020204030204" pitchFamily="34" charset="0"/>
            </a:endParaRPr>
          </a:p>
        </p:txBody>
      </p:sp>
      <p:sp>
        <p:nvSpPr>
          <p:cNvPr id="10" name="TextBox 9">
            <a:extLst>
              <a:ext uri="{FF2B5EF4-FFF2-40B4-BE49-F238E27FC236}">
                <a16:creationId xmlns:a16="http://schemas.microsoft.com/office/drawing/2014/main" id="{51C821FF-59B0-451F-99EC-ABE653651042}"/>
              </a:ext>
            </a:extLst>
          </p:cNvPr>
          <p:cNvSpPr txBox="1"/>
          <p:nvPr userDrawn="1"/>
        </p:nvSpPr>
        <p:spPr>
          <a:xfrm>
            <a:off x="11017792" y="6509749"/>
            <a:ext cx="1019596" cy="246221"/>
          </a:xfrm>
          <a:prstGeom prst="rect">
            <a:avLst/>
          </a:prstGeom>
          <a:noFill/>
        </p:spPr>
        <p:txBody>
          <a:bodyPr wrap="square" rtlCol="0">
            <a:spAutoFit/>
          </a:bodyPr>
          <a:lstStyle/>
          <a:p>
            <a:pPr algn="r"/>
            <a:fld id="{44515CC9-B04E-49D1-8DBC-3EBC45FAC8C9}" type="slidenum">
              <a:rPr lang="en-US" sz="1000" kern="1200" smtClean="0">
                <a:solidFill>
                  <a:schemeClr val="tx1">
                    <a:tint val="75000"/>
                  </a:schemeClr>
                </a:solidFill>
                <a:latin typeface="+mn-lt"/>
                <a:ea typeface="+mn-ea"/>
                <a:cs typeface="+mn-cs"/>
              </a:rPr>
              <a:pPr algn="r"/>
              <a:t>‹#›</a:t>
            </a:fld>
            <a:endParaRPr lang="en-US" sz="1000" kern="1200">
              <a:solidFill>
                <a:schemeClr val="tx1">
                  <a:tint val="75000"/>
                </a:schemeClr>
              </a:solidFill>
              <a:latin typeface="+mn-lt"/>
              <a:ea typeface="+mn-ea"/>
              <a:cs typeface="+mn-cs"/>
            </a:endParaRPr>
          </a:p>
        </p:txBody>
      </p:sp>
      <p:sp>
        <p:nvSpPr>
          <p:cNvPr id="14" name="TextBox 13">
            <a:extLst>
              <a:ext uri="{FF2B5EF4-FFF2-40B4-BE49-F238E27FC236}">
                <a16:creationId xmlns:a16="http://schemas.microsoft.com/office/drawing/2014/main" id="{9607FDE7-CC18-4E6F-9A0C-7AC645F19F87}"/>
              </a:ext>
            </a:extLst>
          </p:cNvPr>
          <p:cNvSpPr txBox="1"/>
          <p:nvPr userDrawn="1"/>
        </p:nvSpPr>
        <p:spPr>
          <a:xfrm>
            <a:off x="11017792" y="6521025"/>
            <a:ext cx="1019596" cy="246221"/>
          </a:xfrm>
          <a:prstGeom prst="rect">
            <a:avLst/>
          </a:prstGeom>
          <a:noFill/>
        </p:spPr>
        <p:txBody>
          <a:bodyPr wrap="square" rtlCol="0">
            <a:spAutoFit/>
          </a:bodyPr>
          <a:lstStyle/>
          <a:p>
            <a:pPr algn="r"/>
            <a:fld id="{44515CC9-B04E-49D1-8DBC-3EBC45FAC8C9}" type="slidenum">
              <a:rPr lang="en-US" sz="1000" kern="1200" smtClean="0">
                <a:solidFill>
                  <a:schemeClr val="bg1">
                    <a:lumMod val="75000"/>
                  </a:schemeClr>
                </a:solidFill>
                <a:latin typeface="+mn-lt"/>
                <a:ea typeface="+mn-ea"/>
                <a:cs typeface="+mn-cs"/>
              </a:rPr>
              <a:pPr algn="r"/>
              <a:t>‹#›</a:t>
            </a:fld>
            <a:endParaRPr lang="en-US" sz="1000" kern="1200">
              <a:solidFill>
                <a:schemeClr val="bg1">
                  <a:lumMod val="75000"/>
                </a:schemeClr>
              </a:solidFill>
              <a:latin typeface="+mn-lt"/>
              <a:ea typeface="+mn-ea"/>
              <a:cs typeface="+mn-cs"/>
            </a:endParaRPr>
          </a:p>
        </p:txBody>
      </p:sp>
      <p:sp>
        <p:nvSpPr>
          <p:cNvPr id="15" name="TextBox 14">
            <a:extLst>
              <a:ext uri="{FF2B5EF4-FFF2-40B4-BE49-F238E27FC236}">
                <a16:creationId xmlns:a16="http://schemas.microsoft.com/office/drawing/2014/main" id="{8C482A0A-213B-467B-87D4-11D599E0E949}"/>
              </a:ext>
            </a:extLst>
          </p:cNvPr>
          <p:cNvSpPr txBox="1"/>
          <p:nvPr userDrawn="1"/>
        </p:nvSpPr>
        <p:spPr>
          <a:xfrm>
            <a:off x="6189191" y="6521025"/>
            <a:ext cx="190603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600">
                <a:solidFill>
                  <a:schemeClr val="bg1">
                    <a:lumMod val="75000"/>
                  </a:schemeClr>
                </a:solidFill>
                <a:latin typeface="+mn-lt"/>
                <a:ea typeface="ＭＳ Ｐゴシック" charset="0"/>
              </a:rPr>
              <a:t>Copyright © Veeva Systems 2021</a:t>
            </a:r>
          </a:p>
        </p:txBody>
      </p:sp>
      <p:pic>
        <p:nvPicPr>
          <p:cNvPr id="11" name="Picture 10">
            <a:extLst>
              <a:ext uri="{FF2B5EF4-FFF2-40B4-BE49-F238E27FC236}">
                <a16:creationId xmlns:a16="http://schemas.microsoft.com/office/drawing/2014/main" id="{AB4C4397-325A-764F-9943-1CAB3ADFFD65}"/>
              </a:ext>
            </a:extLst>
          </p:cNvPr>
          <p:cNvPicPr>
            <a:picLocks noChangeAspect="1"/>
          </p:cNvPicPr>
          <p:nvPr userDrawn="1"/>
        </p:nvPicPr>
        <p:blipFill>
          <a:blip r:embed="rId2"/>
          <a:stretch>
            <a:fillRect/>
          </a:stretch>
        </p:blipFill>
        <p:spPr>
          <a:xfrm>
            <a:off x="266700" y="6376988"/>
            <a:ext cx="1508746" cy="356232"/>
          </a:xfrm>
          <a:prstGeom prst="rect">
            <a:avLst/>
          </a:prstGeom>
        </p:spPr>
      </p:pic>
      <p:sp>
        <p:nvSpPr>
          <p:cNvPr id="16" name="Text Placeholder 3">
            <a:extLst>
              <a:ext uri="{FF2B5EF4-FFF2-40B4-BE49-F238E27FC236}">
                <a16:creationId xmlns:a16="http://schemas.microsoft.com/office/drawing/2014/main" id="{ACCABF66-256C-D148-92B7-EBE7891BE511}"/>
              </a:ext>
            </a:extLst>
          </p:cNvPr>
          <p:cNvSpPr>
            <a:spLocks noGrp="1"/>
          </p:cNvSpPr>
          <p:nvPr>
            <p:ph type="body" sz="quarter" idx="10"/>
          </p:nvPr>
        </p:nvSpPr>
        <p:spPr>
          <a:xfrm>
            <a:off x="728167" y="1364907"/>
            <a:ext cx="4794250" cy="4128186"/>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6074169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68A038-4A5F-9548-9963-55E2B418F33A}"/>
              </a:ext>
            </a:extLst>
          </p:cNvPr>
          <p:cNvSpPr/>
          <p:nvPr userDrawn="1"/>
        </p:nvSpPr>
        <p:spPr>
          <a:xfrm>
            <a:off x="0" y="0"/>
            <a:ext cx="5207000" cy="1727200"/>
          </a:xfrm>
          <a:prstGeom prst="rect">
            <a:avLst/>
          </a:prstGeom>
          <a:solidFill>
            <a:schemeClr val="tx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6DF203F-B709-254B-B4BB-59D96E623CD0}"/>
              </a:ext>
            </a:extLst>
          </p:cNvPr>
          <p:cNvSpPr/>
          <p:nvPr userDrawn="1"/>
        </p:nvSpPr>
        <p:spPr>
          <a:xfrm>
            <a:off x="0" y="1727200"/>
            <a:ext cx="5207000" cy="4340429"/>
          </a:xfrm>
          <a:prstGeom prst="rect">
            <a:avLst/>
          </a:prstGeom>
          <a:solidFill>
            <a:schemeClr val="bg1">
              <a:lumMod val="9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4572144" cy="1101213"/>
          </a:xfrm>
        </p:spPr>
        <p:txBody>
          <a:bodyPr/>
          <a:lstStyle>
            <a:lvl1pPr>
              <a:defRPr>
                <a:solidFill>
                  <a:schemeClr val="bg1"/>
                </a:solidFill>
              </a:defRPr>
            </a:lvl1pPr>
          </a:lstStyle>
          <a:p>
            <a:r>
              <a:rPr lang="en-US"/>
              <a:t>Example title header</a:t>
            </a:r>
          </a:p>
        </p:txBody>
      </p:sp>
      <p:sp>
        <p:nvSpPr>
          <p:cNvPr id="6" name="Content Placeholder 2">
            <a:extLst>
              <a:ext uri="{FF2B5EF4-FFF2-40B4-BE49-F238E27FC236}">
                <a16:creationId xmlns:a16="http://schemas.microsoft.com/office/drawing/2014/main" id="{1C61B2BA-C8C6-2446-B45B-3841F039B7EB}"/>
              </a:ext>
            </a:extLst>
          </p:cNvPr>
          <p:cNvSpPr>
            <a:spLocks noGrp="1"/>
          </p:cNvSpPr>
          <p:nvPr>
            <p:ph idx="10" hasCustomPrompt="1"/>
          </p:nvPr>
        </p:nvSpPr>
        <p:spPr>
          <a:xfrm>
            <a:off x="6986015" y="1392294"/>
            <a:ext cx="4228379" cy="4073412"/>
          </a:xfrm>
        </p:spPr>
        <p:txBody>
          <a:bodyPr/>
          <a:lstStyle>
            <a:lvl1pPr marL="0" indent="0" algn="ctr">
              <a:lnSpc>
                <a:spcPct val="80000"/>
              </a:lnSpc>
              <a:spcBef>
                <a:spcPts val="1000"/>
              </a:spcBef>
              <a:buNone/>
              <a:defRPr sz="2400">
                <a:solidFill>
                  <a:schemeClr val="tx1">
                    <a:lumMod val="20000"/>
                    <a:lumOff val="80000"/>
                  </a:schemeClr>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Object Here</a:t>
            </a:r>
          </a:p>
        </p:txBody>
      </p:sp>
    </p:spTree>
    <p:extLst>
      <p:ext uri="{BB962C8B-B14F-4D97-AF65-F5344CB8AC3E}">
        <p14:creationId xmlns:p14="http://schemas.microsoft.com/office/powerpoint/2010/main" val="118873304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4" name="Title 1"/>
          <p:cNvSpPr>
            <a:spLocks noGrp="1"/>
          </p:cNvSpPr>
          <p:nvPr>
            <p:ph type="ctrTitle" hasCustomPrompt="1"/>
          </p:nvPr>
        </p:nvSpPr>
        <p:spPr>
          <a:xfrm>
            <a:off x="1524000" y="1092222"/>
            <a:ext cx="9144000" cy="2299052"/>
          </a:xfrm>
        </p:spPr>
        <p:txBody>
          <a:bodyPr anchor="b"/>
          <a:lstStyle>
            <a:lvl1pPr algn="ctr">
              <a:lnSpc>
                <a:spcPct val="80000"/>
              </a:lnSpc>
              <a:defRPr sz="6000">
                <a:solidFill>
                  <a:schemeClr val="bg1"/>
                </a:solidFill>
              </a:defRPr>
            </a:lvl1pPr>
          </a:lstStyle>
          <a:p>
            <a:r>
              <a:rPr lang="en-US"/>
              <a:t>Presentation Title</a:t>
            </a:r>
          </a:p>
        </p:txBody>
      </p:sp>
      <p:sp>
        <p:nvSpPr>
          <p:cNvPr id="25" name="Subtitle 2"/>
          <p:cNvSpPr>
            <a:spLocks noGrp="1"/>
          </p:cNvSpPr>
          <p:nvPr>
            <p:ph type="subTitle" idx="1" hasCustomPrompt="1"/>
          </p:nvPr>
        </p:nvSpPr>
        <p:spPr>
          <a:xfrm>
            <a:off x="805543" y="3391274"/>
            <a:ext cx="10580914" cy="892630"/>
          </a:xfrm>
        </p:spPr>
        <p:txBody>
          <a:bodyPr>
            <a:normAutofit/>
          </a:bodyPr>
          <a:lstStyle>
            <a:lvl1pPr marL="0" indent="0" algn="ctr">
              <a:lnSpc>
                <a:spcPct val="80000"/>
              </a:lnSpc>
              <a:buNone/>
              <a:defRPr sz="4000">
                <a:solidFill>
                  <a:schemeClr val="tx2">
                    <a:lumMod val="20000"/>
                    <a:lumOff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6" name="Group 13"/>
          <p:cNvGrpSpPr>
            <a:grpSpLocks noChangeAspect="1"/>
          </p:cNvGrpSpPr>
          <p:nvPr userDrawn="1"/>
        </p:nvGrpSpPr>
        <p:grpSpPr bwMode="auto">
          <a:xfrm>
            <a:off x="4879767" y="5158664"/>
            <a:ext cx="2432467" cy="564197"/>
            <a:chOff x="0" y="1492"/>
            <a:chExt cx="5760" cy="1336"/>
          </a:xfrm>
          <a:solidFill>
            <a:schemeClr val="bg1"/>
          </a:solidFill>
        </p:grpSpPr>
        <p:sp>
          <p:nvSpPr>
            <p:cNvPr id="27" name="Freeform 14"/>
            <p:cNvSpPr>
              <a:spLocks/>
            </p:cNvSpPr>
            <p:nvPr userDrawn="1"/>
          </p:nvSpPr>
          <p:spPr bwMode="auto">
            <a:xfrm>
              <a:off x="3518" y="1664"/>
              <a:ext cx="1165" cy="1164"/>
            </a:xfrm>
            <a:custGeom>
              <a:avLst/>
              <a:gdLst>
                <a:gd name="T0" fmla="*/ 265 w 265"/>
                <a:gd name="T1" fmla="*/ 0 h 264"/>
                <a:gd name="T2" fmla="*/ 215 w 265"/>
                <a:gd name="T3" fmla="*/ 0 h 264"/>
                <a:gd name="T4" fmla="*/ 132 w 265"/>
                <a:gd name="T5" fmla="*/ 166 h 264"/>
                <a:gd name="T6" fmla="*/ 49 w 265"/>
                <a:gd name="T7" fmla="*/ 0 h 264"/>
                <a:gd name="T8" fmla="*/ 0 w 265"/>
                <a:gd name="T9" fmla="*/ 0 h 264"/>
                <a:gd name="T10" fmla="*/ 132 w 265"/>
                <a:gd name="T11" fmla="*/ 264 h 264"/>
                <a:gd name="T12" fmla="*/ 265 w 265"/>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265" h="264">
                  <a:moveTo>
                    <a:pt x="265" y="0"/>
                  </a:moveTo>
                  <a:cubicBezTo>
                    <a:pt x="215" y="0"/>
                    <a:pt x="215" y="0"/>
                    <a:pt x="215" y="0"/>
                  </a:cubicBezTo>
                  <a:cubicBezTo>
                    <a:pt x="132" y="166"/>
                    <a:pt x="132" y="166"/>
                    <a:pt x="132" y="166"/>
                  </a:cubicBezTo>
                  <a:cubicBezTo>
                    <a:pt x="49" y="0"/>
                    <a:pt x="49" y="0"/>
                    <a:pt x="49" y="0"/>
                  </a:cubicBezTo>
                  <a:cubicBezTo>
                    <a:pt x="0" y="0"/>
                    <a:pt x="0" y="0"/>
                    <a:pt x="0" y="0"/>
                  </a:cubicBezTo>
                  <a:cubicBezTo>
                    <a:pt x="53" y="104"/>
                    <a:pt x="132" y="264"/>
                    <a:pt x="132" y="264"/>
                  </a:cubicBezTo>
                  <a:lnTo>
                    <a:pt x="26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5"/>
            <p:cNvSpPr>
              <a:spLocks noEditPoints="1"/>
            </p:cNvSpPr>
            <p:nvPr userDrawn="1"/>
          </p:nvSpPr>
          <p:spPr bwMode="auto">
            <a:xfrm>
              <a:off x="2440" y="1651"/>
              <a:ext cx="1130" cy="1137"/>
            </a:xfrm>
            <a:custGeom>
              <a:avLst/>
              <a:gdLst>
                <a:gd name="T0" fmla="*/ 128 w 257"/>
                <a:gd name="T1" fmla="*/ 42 h 258"/>
                <a:gd name="T2" fmla="*/ 213 w 257"/>
                <a:gd name="T3" fmla="*/ 108 h 258"/>
                <a:gd name="T4" fmla="*/ 44 w 257"/>
                <a:gd name="T5" fmla="*/ 108 h 258"/>
                <a:gd name="T6" fmla="*/ 128 w 257"/>
                <a:gd name="T7" fmla="*/ 42 h 258"/>
                <a:gd name="T8" fmla="*/ 128 w 257"/>
                <a:gd name="T9" fmla="*/ 216 h 258"/>
                <a:gd name="T10" fmla="*/ 44 w 257"/>
                <a:gd name="T11" fmla="*/ 150 h 258"/>
                <a:gd name="T12" fmla="*/ 257 w 257"/>
                <a:gd name="T13" fmla="*/ 150 h 258"/>
                <a:gd name="T14" fmla="*/ 257 w 257"/>
                <a:gd name="T15" fmla="*/ 129 h 258"/>
                <a:gd name="T16" fmla="*/ 128 w 257"/>
                <a:gd name="T17" fmla="*/ 0 h 258"/>
                <a:gd name="T18" fmla="*/ 0 w 257"/>
                <a:gd name="T19" fmla="*/ 129 h 258"/>
                <a:gd name="T20" fmla="*/ 128 w 257"/>
                <a:gd name="T21" fmla="*/ 258 h 258"/>
                <a:gd name="T22" fmla="*/ 243 w 257"/>
                <a:gd name="T23" fmla="*/ 189 h 258"/>
                <a:gd name="T24" fmla="*/ 191 w 257"/>
                <a:gd name="T25" fmla="*/ 189 h 258"/>
                <a:gd name="T26" fmla="*/ 128 w 257"/>
                <a:gd name="T27"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258">
                  <a:moveTo>
                    <a:pt x="128" y="42"/>
                  </a:moveTo>
                  <a:cubicBezTo>
                    <a:pt x="169" y="42"/>
                    <a:pt x="204" y="70"/>
                    <a:pt x="213" y="108"/>
                  </a:cubicBezTo>
                  <a:cubicBezTo>
                    <a:pt x="44" y="108"/>
                    <a:pt x="44" y="108"/>
                    <a:pt x="44" y="108"/>
                  </a:cubicBezTo>
                  <a:cubicBezTo>
                    <a:pt x="53" y="70"/>
                    <a:pt x="88" y="42"/>
                    <a:pt x="128" y="42"/>
                  </a:cubicBezTo>
                  <a:moveTo>
                    <a:pt x="128" y="216"/>
                  </a:moveTo>
                  <a:cubicBezTo>
                    <a:pt x="88" y="216"/>
                    <a:pt x="53" y="188"/>
                    <a:pt x="44" y="150"/>
                  </a:cubicBezTo>
                  <a:cubicBezTo>
                    <a:pt x="257" y="150"/>
                    <a:pt x="257" y="150"/>
                    <a:pt x="257" y="150"/>
                  </a:cubicBezTo>
                  <a:cubicBezTo>
                    <a:pt x="257" y="129"/>
                    <a:pt x="257" y="129"/>
                    <a:pt x="257" y="129"/>
                  </a:cubicBezTo>
                  <a:cubicBezTo>
                    <a:pt x="257" y="58"/>
                    <a:pt x="200" y="0"/>
                    <a:pt x="128" y="0"/>
                  </a:cubicBezTo>
                  <a:cubicBezTo>
                    <a:pt x="57" y="0"/>
                    <a:pt x="0" y="58"/>
                    <a:pt x="0" y="129"/>
                  </a:cubicBezTo>
                  <a:cubicBezTo>
                    <a:pt x="0" y="200"/>
                    <a:pt x="57" y="258"/>
                    <a:pt x="128" y="258"/>
                  </a:cubicBezTo>
                  <a:cubicBezTo>
                    <a:pt x="177" y="258"/>
                    <a:pt x="221" y="231"/>
                    <a:pt x="243" y="189"/>
                  </a:cubicBezTo>
                  <a:cubicBezTo>
                    <a:pt x="191" y="189"/>
                    <a:pt x="191" y="189"/>
                    <a:pt x="191" y="189"/>
                  </a:cubicBezTo>
                  <a:cubicBezTo>
                    <a:pt x="175" y="206"/>
                    <a:pt x="153" y="216"/>
                    <a:pt x="128" y="216"/>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6"/>
            <p:cNvSpPr>
              <a:spLocks noEditPoints="1"/>
            </p:cNvSpPr>
            <p:nvPr userDrawn="1"/>
          </p:nvSpPr>
          <p:spPr bwMode="auto">
            <a:xfrm>
              <a:off x="4626" y="1655"/>
              <a:ext cx="1134" cy="1138"/>
            </a:xfrm>
            <a:custGeom>
              <a:avLst/>
              <a:gdLst>
                <a:gd name="T0" fmla="*/ 129 w 258"/>
                <a:gd name="T1" fmla="*/ 216 h 258"/>
                <a:gd name="T2" fmla="*/ 42 w 258"/>
                <a:gd name="T3" fmla="*/ 129 h 258"/>
                <a:gd name="T4" fmla="*/ 129 w 258"/>
                <a:gd name="T5" fmla="*/ 42 h 258"/>
                <a:gd name="T6" fmla="*/ 216 w 258"/>
                <a:gd name="T7" fmla="*/ 128 h 258"/>
                <a:gd name="T8" fmla="*/ 216 w 258"/>
                <a:gd name="T9" fmla="*/ 131 h 258"/>
                <a:gd name="T10" fmla="*/ 129 w 258"/>
                <a:gd name="T11" fmla="*/ 216 h 258"/>
                <a:gd name="T12" fmla="*/ 258 w 258"/>
                <a:gd name="T13" fmla="*/ 129 h 258"/>
                <a:gd name="T14" fmla="*/ 258 w 258"/>
                <a:gd name="T15" fmla="*/ 128 h 258"/>
                <a:gd name="T16" fmla="*/ 258 w 258"/>
                <a:gd name="T17" fmla="*/ 3 h 258"/>
                <a:gd name="T18" fmla="*/ 216 w 258"/>
                <a:gd name="T19" fmla="*/ 3 h 258"/>
                <a:gd name="T20" fmla="*/ 216 w 258"/>
                <a:gd name="T21" fmla="*/ 34 h 258"/>
                <a:gd name="T22" fmla="*/ 129 w 258"/>
                <a:gd name="T23" fmla="*/ 0 h 258"/>
                <a:gd name="T24" fmla="*/ 0 w 258"/>
                <a:gd name="T25" fmla="*/ 129 h 258"/>
                <a:gd name="T26" fmla="*/ 129 w 258"/>
                <a:gd name="T27" fmla="*/ 258 h 258"/>
                <a:gd name="T28" fmla="*/ 216 w 258"/>
                <a:gd name="T29" fmla="*/ 224 h 258"/>
                <a:gd name="T30" fmla="*/ 216 w 258"/>
                <a:gd name="T31" fmla="*/ 256 h 258"/>
                <a:gd name="T32" fmla="*/ 258 w 258"/>
                <a:gd name="T33" fmla="*/ 256 h 258"/>
                <a:gd name="T34" fmla="*/ 258 w 258"/>
                <a:gd name="T35" fmla="*/ 131 h 258"/>
                <a:gd name="T36" fmla="*/ 258 w 258"/>
                <a:gd name="T37" fmla="*/ 12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8" h="258">
                  <a:moveTo>
                    <a:pt x="129" y="216"/>
                  </a:moveTo>
                  <a:cubicBezTo>
                    <a:pt x="81" y="216"/>
                    <a:pt x="42" y="177"/>
                    <a:pt x="42" y="129"/>
                  </a:cubicBezTo>
                  <a:cubicBezTo>
                    <a:pt x="42" y="81"/>
                    <a:pt x="81" y="42"/>
                    <a:pt x="129" y="42"/>
                  </a:cubicBezTo>
                  <a:cubicBezTo>
                    <a:pt x="176" y="42"/>
                    <a:pt x="215" y="80"/>
                    <a:pt x="216" y="128"/>
                  </a:cubicBezTo>
                  <a:cubicBezTo>
                    <a:pt x="216" y="131"/>
                    <a:pt x="216" y="131"/>
                    <a:pt x="216" y="131"/>
                  </a:cubicBezTo>
                  <a:cubicBezTo>
                    <a:pt x="215" y="178"/>
                    <a:pt x="176" y="216"/>
                    <a:pt x="129" y="216"/>
                  </a:cubicBezTo>
                  <a:moveTo>
                    <a:pt x="258" y="129"/>
                  </a:moveTo>
                  <a:cubicBezTo>
                    <a:pt x="258" y="129"/>
                    <a:pt x="258" y="128"/>
                    <a:pt x="258" y="128"/>
                  </a:cubicBezTo>
                  <a:cubicBezTo>
                    <a:pt x="258" y="3"/>
                    <a:pt x="258" y="3"/>
                    <a:pt x="258" y="3"/>
                  </a:cubicBezTo>
                  <a:cubicBezTo>
                    <a:pt x="216" y="3"/>
                    <a:pt x="216" y="3"/>
                    <a:pt x="216" y="3"/>
                  </a:cubicBezTo>
                  <a:cubicBezTo>
                    <a:pt x="216" y="34"/>
                    <a:pt x="216" y="34"/>
                    <a:pt x="216" y="34"/>
                  </a:cubicBezTo>
                  <a:cubicBezTo>
                    <a:pt x="193" y="13"/>
                    <a:pt x="162" y="0"/>
                    <a:pt x="129" y="0"/>
                  </a:cubicBezTo>
                  <a:cubicBezTo>
                    <a:pt x="58" y="0"/>
                    <a:pt x="0" y="58"/>
                    <a:pt x="0" y="129"/>
                  </a:cubicBezTo>
                  <a:cubicBezTo>
                    <a:pt x="0" y="200"/>
                    <a:pt x="58" y="258"/>
                    <a:pt x="129" y="258"/>
                  </a:cubicBezTo>
                  <a:cubicBezTo>
                    <a:pt x="162" y="258"/>
                    <a:pt x="193" y="245"/>
                    <a:pt x="216" y="224"/>
                  </a:cubicBezTo>
                  <a:cubicBezTo>
                    <a:pt x="216" y="256"/>
                    <a:pt x="216" y="256"/>
                    <a:pt x="216" y="256"/>
                  </a:cubicBezTo>
                  <a:cubicBezTo>
                    <a:pt x="258" y="256"/>
                    <a:pt x="258" y="256"/>
                    <a:pt x="258" y="256"/>
                  </a:cubicBezTo>
                  <a:cubicBezTo>
                    <a:pt x="258" y="131"/>
                    <a:pt x="258" y="131"/>
                    <a:pt x="258" y="131"/>
                  </a:cubicBezTo>
                  <a:cubicBezTo>
                    <a:pt x="258" y="130"/>
                    <a:pt x="258" y="130"/>
                    <a:pt x="258" y="12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7"/>
            <p:cNvSpPr>
              <a:spLocks noEditPoints="1"/>
            </p:cNvSpPr>
            <p:nvPr userDrawn="1"/>
          </p:nvSpPr>
          <p:spPr bwMode="auto">
            <a:xfrm>
              <a:off x="1183" y="1651"/>
              <a:ext cx="1130" cy="1137"/>
            </a:xfrm>
            <a:custGeom>
              <a:avLst/>
              <a:gdLst>
                <a:gd name="T0" fmla="*/ 129 w 257"/>
                <a:gd name="T1" fmla="*/ 42 h 258"/>
                <a:gd name="T2" fmla="*/ 213 w 257"/>
                <a:gd name="T3" fmla="*/ 108 h 258"/>
                <a:gd name="T4" fmla="*/ 44 w 257"/>
                <a:gd name="T5" fmla="*/ 108 h 258"/>
                <a:gd name="T6" fmla="*/ 129 w 257"/>
                <a:gd name="T7" fmla="*/ 42 h 258"/>
                <a:gd name="T8" fmla="*/ 129 w 257"/>
                <a:gd name="T9" fmla="*/ 216 h 258"/>
                <a:gd name="T10" fmla="*/ 44 w 257"/>
                <a:gd name="T11" fmla="*/ 150 h 258"/>
                <a:gd name="T12" fmla="*/ 257 w 257"/>
                <a:gd name="T13" fmla="*/ 150 h 258"/>
                <a:gd name="T14" fmla="*/ 257 w 257"/>
                <a:gd name="T15" fmla="*/ 129 h 258"/>
                <a:gd name="T16" fmla="*/ 129 w 257"/>
                <a:gd name="T17" fmla="*/ 0 h 258"/>
                <a:gd name="T18" fmla="*/ 0 w 257"/>
                <a:gd name="T19" fmla="*/ 129 h 258"/>
                <a:gd name="T20" fmla="*/ 129 w 257"/>
                <a:gd name="T21" fmla="*/ 258 h 258"/>
                <a:gd name="T22" fmla="*/ 243 w 257"/>
                <a:gd name="T23" fmla="*/ 189 h 258"/>
                <a:gd name="T24" fmla="*/ 191 w 257"/>
                <a:gd name="T25" fmla="*/ 189 h 258"/>
                <a:gd name="T26" fmla="*/ 129 w 257"/>
                <a:gd name="T27"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258">
                  <a:moveTo>
                    <a:pt x="129" y="42"/>
                  </a:moveTo>
                  <a:cubicBezTo>
                    <a:pt x="169" y="42"/>
                    <a:pt x="204" y="70"/>
                    <a:pt x="213" y="108"/>
                  </a:cubicBezTo>
                  <a:cubicBezTo>
                    <a:pt x="44" y="108"/>
                    <a:pt x="44" y="108"/>
                    <a:pt x="44" y="108"/>
                  </a:cubicBezTo>
                  <a:cubicBezTo>
                    <a:pt x="53" y="70"/>
                    <a:pt x="88" y="42"/>
                    <a:pt x="129" y="42"/>
                  </a:cubicBezTo>
                  <a:moveTo>
                    <a:pt x="129" y="216"/>
                  </a:moveTo>
                  <a:cubicBezTo>
                    <a:pt x="88" y="216"/>
                    <a:pt x="53" y="188"/>
                    <a:pt x="44" y="150"/>
                  </a:cubicBezTo>
                  <a:cubicBezTo>
                    <a:pt x="257" y="150"/>
                    <a:pt x="257" y="150"/>
                    <a:pt x="257" y="150"/>
                  </a:cubicBezTo>
                  <a:cubicBezTo>
                    <a:pt x="257" y="129"/>
                    <a:pt x="257" y="129"/>
                    <a:pt x="257" y="129"/>
                  </a:cubicBezTo>
                  <a:cubicBezTo>
                    <a:pt x="257" y="58"/>
                    <a:pt x="200" y="0"/>
                    <a:pt x="129" y="0"/>
                  </a:cubicBezTo>
                  <a:cubicBezTo>
                    <a:pt x="57" y="0"/>
                    <a:pt x="0" y="58"/>
                    <a:pt x="0" y="129"/>
                  </a:cubicBezTo>
                  <a:cubicBezTo>
                    <a:pt x="0" y="200"/>
                    <a:pt x="57" y="258"/>
                    <a:pt x="129" y="258"/>
                  </a:cubicBezTo>
                  <a:cubicBezTo>
                    <a:pt x="177" y="258"/>
                    <a:pt x="221" y="231"/>
                    <a:pt x="243" y="189"/>
                  </a:cubicBezTo>
                  <a:cubicBezTo>
                    <a:pt x="191" y="189"/>
                    <a:pt x="191" y="189"/>
                    <a:pt x="191" y="189"/>
                  </a:cubicBezTo>
                  <a:cubicBezTo>
                    <a:pt x="175" y="206"/>
                    <a:pt x="153" y="216"/>
                    <a:pt x="129" y="216"/>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8"/>
            <p:cNvSpPr>
              <a:spLocks/>
            </p:cNvSpPr>
            <p:nvPr userDrawn="1"/>
          </p:nvSpPr>
          <p:spPr bwMode="auto">
            <a:xfrm>
              <a:off x="0" y="1492"/>
              <a:ext cx="1315" cy="1336"/>
            </a:xfrm>
            <a:custGeom>
              <a:avLst/>
              <a:gdLst>
                <a:gd name="T0" fmla="*/ 0 w 1315"/>
                <a:gd name="T1" fmla="*/ 0 h 1336"/>
                <a:gd name="T2" fmla="*/ 229 w 1315"/>
                <a:gd name="T3" fmla="*/ 0 h 1336"/>
                <a:gd name="T4" fmla="*/ 659 w 1315"/>
                <a:gd name="T5" fmla="*/ 873 h 1336"/>
                <a:gd name="T6" fmla="*/ 1090 w 1315"/>
                <a:gd name="T7" fmla="*/ 0 h 1336"/>
                <a:gd name="T8" fmla="*/ 1315 w 1315"/>
                <a:gd name="T9" fmla="*/ 0 h 1336"/>
                <a:gd name="T10" fmla="*/ 659 w 1315"/>
                <a:gd name="T11" fmla="*/ 1336 h 1336"/>
                <a:gd name="T12" fmla="*/ 0 w 131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315" h="1336">
                  <a:moveTo>
                    <a:pt x="0" y="0"/>
                  </a:moveTo>
                  <a:lnTo>
                    <a:pt x="229" y="0"/>
                  </a:lnTo>
                  <a:lnTo>
                    <a:pt x="659" y="873"/>
                  </a:lnTo>
                  <a:lnTo>
                    <a:pt x="1090" y="0"/>
                  </a:lnTo>
                  <a:lnTo>
                    <a:pt x="1315" y="0"/>
                  </a:lnTo>
                  <a:lnTo>
                    <a:pt x="659" y="133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9"/>
            <p:cNvSpPr>
              <a:spLocks/>
            </p:cNvSpPr>
            <p:nvPr userDrawn="1"/>
          </p:nvSpPr>
          <p:spPr bwMode="auto">
            <a:xfrm>
              <a:off x="360" y="1492"/>
              <a:ext cx="594" cy="595"/>
            </a:xfrm>
            <a:custGeom>
              <a:avLst/>
              <a:gdLst>
                <a:gd name="T0" fmla="*/ 0 w 135"/>
                <a:gd name="T1" fmla="*/ 0 h 135"/>
                <a:gd name="T2" fmla="*/ 68 w 135"/>
                <a:gd name="T3" fmla="*/ 135 h 135"/>
                <a:gd name="T4" fmla="*/ 135 w 135"/>
                <a:gd name="T5" fmla="*/ 0 h 135"/>
                <a:gd name="T6" fmla="*/ 0 w 135"/>
                <a:gd name="T7" fmla="*/ 0 h 135"/>
              </a:gdLst>
              <a:ahLst/>
              <a:cxnLst>
                <a:cxn ang="0">
                  <a:pos x="T0" y="T1"/>
                </a:cxn>
                <a:cxn ang="0">
                  <a:pos x="T2" y="T3"/>
                </a:cxn>
                <a:cxn ang="0">
                  <a:pos x="T4" y="T5"/>
                </a:cxn>
                <a:cxn ang="0">
                  <a:pos x="T6" y="T7"/>
                </a:cxn>
              </a:cxnLst>
              <a:rect l="0" t="0" r="r" b="b"/>
              <a:pathLst>
                <a:path w="135" h="135">
                  <a:moveTo>
                    <a:pt x="0" y="0"/>
                  </a:moveTo>
                  <a:cubicBezTo>
                    <a:pt x="68" y="135"/>
                    <a:pt x="68" y="135"/>
                    <a:pt x="68" y="135"/>
                  </a:cubicBezTo>
                  <a:cubicBezTo>
                    <a:pt x="135" y="0"/>
                    <a:pt x="135" y="0"/>
                    <a:pt x="135" y="0"/>
                  </a:cubicBezTo>
                  <a:cubicBezTo>
                    <a:pt x="135" y="0"/>
                    <a:pt x="0" y="0"/>
                    <a:pt x="0"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172758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p:bg>
      <p:bgPr>
        <a:gradFill>
          <a:gsLst>
            <a:gs pos="0">
              <a:schemeClr val="tx2"/>
            </a:gs>
            <a:gs pos="100000">
              <a:schemeClr val="accent1"/>
            </a:gs>
          </a:gsLst>
          <a:lin ang="2700000" scaled="1"/>
        </a:gra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0" y="1631148"/>
            <a:ext cx="9144000" cy="2387600"/>
          </a:xfrm>
        </p:spPr>
        <p:txBody>
          <a:bodyPr anchor="b"/>
          <a:lstStyle>
            <a:lvl1pPr algn="ctr">
              <a:defRPr sz="5400">
                <a:solidFill>
                  <a:schemeClr val="bg1"/>
                </a:solidFill>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600">
                <a:solidFill>
                  <a:schemeClr val="tx2">
                    <a:lumMod val="20000"/>
                    <a:lumOff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2" name="Group 21"/>
          <p:cNvGrpSpPr>
            <a:grpSpLocks noChangeAspect="1"/>
          </p:cNvGrpSpPr>
          <p:nvPr userDrawn="1"/>
        </p:nvGrpSpPr>
        <p:grpSpPr>
          <a:xfrm>
            <a:off x="5645986" y="1412969"/>
            <a:ext cx="900028" cy="914400"/>
            <a:chOff x="5127584" y="2099392"/>
            <a:chExt cx="555329" cy="564197"/>
          </a:xfrm>
        </p:grpSpPr>
        <p:sp>
          <p:nvSpPr>
            <p:cNvPr id="23" name="Freeform 18"/>
            <p:cNvSpPr>
              <a:spLocks/>
            </p:cNvSpPr>
            <p:nvPr userDrawn="1"/>
          </p:nvSpPr>
          <p:spPr bwMode="auto">
            <a:xfrm>
              <a:off x="5127584" y="2099392"/>
              <a:ext cx="555329" cy="564197"/>
            </a:xfrm>
            <a:custGeom>
              <a:avLst/>
              <a:gdLst>
                <a:gd name="T0" fmla="*/ 0 w 1315"/>
                <a:gd name="T1" fmla="*/ 0 h 1336"/>
                <a:gd name="T2" fmla="*/ 229 w 1315"/>
                <a:gd name="T3" fmla="*/ 0 h 1336"/>
                <a:gd name="T4" fmla="*/ 659 w 1315"/>
                <a:gd name="T5" fmla="*/ 873 h 1336"/>
                <a:gd name="T6" fmla="*/ 1090 w 1315"/>
                <a:gd name="T7" fmla="*/ 0 h 1336"/>
                <a:gd name="T8" fmla="*/ 1315 w 1315"/>
                <a:gd name="T9" fmla="*/ 0 h 1336"/>
                <a:gd name="T10" fmla="*/ 659 w 1315"/>
                <a:gd name="T11" fmla="*/ 1336 h 1336"/>
                <a:gd name="T12" fmla="*/ 0 w 131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315" h="1336">
                  <a:moveTo>
                    <a:pt x="0" y="0"/>
                  </a:moveTo>
                  <a:lnTo>
                    <a:pt x="229" y="0"/>
                  </a:lnTo>
                  <a:lnTo>
                    <a:pt x="659" y="873"/>
                  </a:lnTo>
                  <a:lnTo>
                    <a:pt x="1090" y="0"/>
                  </a:lnTo>
                  <a:lnTo>
                    <a:pt x="1315" y="0"/>
                  </a:lnTo>
                  <a:lnTo>
                    <a:pt x="659" y="1336"/>
                  </a:lnTo>
                  <a:lnTo>
                    <a:pt x="0"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userDrawn="1"/>
          </p:nvSpPr>
          <p:spPr bwMode="auto">
            <a:xfrm>
              <a:off x="5279613" y="2099392"/>
              <a:ext cx="250848" cy="251270"/>
            </a:xfrm>
            <a:custGeom>
              <a:avLst/>
              <a:gdLst>
                <a:gd name="T0" fmla="*/ 0 w 135"/>
                <a:gd name="T1" fmla="*/ 0 h 135"/>
                <a:gd name="T2" fmla="*/ 68 w 135"/>
                <a:gd name="T3" fmla="*/ 135 h 135"/>
                <a:gd name="T4" fmla="*/ 135 w 135"/>
                <a:gd name="T5" fmla="*/ 0 h 135"/>
                <a:gd name="T6" fmla="*/ 0 w 135"/>
                <a:gd name="T7" fmla="*/ 0 h 135"/>
              </a:gdLst>
              <a:ahLst/>
              <a:cxnLst>
                <a:cxn ang="0">
                  <a:pos x="T0" y="T1"/>
                </a:cxn>
                <a:cxn ang="0">
                  <a:pos x="T2" y="T3"/>
                </a:cxn>
                <a:cxn ang="0">
                  <a:pos x="T4" y="T5"/>
                </a:cxn>
                <a:cxn ang="0">
                  <a:pos x="T6" y="T7"/>
                </a:cxn>
              </a:cxnLst>
              <a:rect l="0" t="0" r="r" b="b"/>
              <a:pathLst>
                <a:path w="135" h="135">
                  <a:moveTo>
                    <a:pt x="0" y="0"/>
                  </a:moveTo>
                  <a:cubicBezTo>
                    <a:pt x="68" y="135"/>
                    <a:pt x="68" y="135"/>
                    <a:pt x="68" y="135"/>
                  </a:cubicBezTo>
                  <a:cubicBezTo>
                    <a:pt x="135" y="0"/>
                    <a:pt x="135" y="0"/>
                    <a:pt x="135" y="0"/>
                  </a:cubicBezTo>
                  <a:cubicBezTo>
                    <a:pt x="135" y="0"/>
                    <a:pt x="0" y="0"/>
                    <a:pt x="0" y="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2809559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peaker Slide with picture">
    <p:bg>
      <p:bgPr>
        <a:gradFill>
          <a:gsLst>
            <a:gs pos="0">
              <a:schemeClr val="tx2"/>
            </a:gs>
            <a:gs pos="100000">
              <a:schemeClr val="accent1"/>
            </a:gs>
          </a:gsLst>
          <a:lin ang="2700000" scaled="1"/>
        </a:gradFill>
        <a:effectLst/>
      </p:bgPr>
    </p:bg>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4389245" y="3731425"/>
            <a:ext cx="7453649" cy="892630"/>
          </a:xfrm>
        </p:spPr>
        <p:txBody>
          <a:bodyPr>
            <a:normAutofit/>
          </a:bodyPr>
          <a:lstStyle>
            <a:lvl1pPr marL="0" indent="0" algn="l">
              <a:lnSpc>
                <a:spcPct val="80000"/>
              </a:lnSpc>
              <a:spcBef>
                <a:spcPts val="0"/>
              </a:spcBef>
              <a:buNone/>
              <a:defRPr sz="2800">
                <a:solidFill>
                  <a:schemeClr val="tx2">
                    <a:lumMod val="20000"/>
                    <a:lumOff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Picture Placeholder 2"/>
          <p:cNvSpPr>
            <a:spLocks noGrp="1"/>
          </p:cNvSpPr>
          <p:nvPr>
            <p:ph type="pic" sz="quarter" idx="13" hasCustomPrompt="1"/>
          </p:nvPr>
        </p:nvSpPr>
        <p:spPr>
          <a:xfrm>
            <a:off x="4369433" y="1812175"/>
            <a:ext cx="5306582" cy="1072948"/>
          </a:xfrm>
        </p:spPr>
        <p:txBody>
          <a:bodyPr anchor="ctr"/>
          <a:lstStyle>
            <a:lvl1pPr marL="0" indent="0">
              <a:buNone/>
              <a:defRPr>
                <a:solidFill>
                  <a:schemeClr val="bg1"/>
                </a:solidFill>
              </a:defRPr>
            </a:lvl1pPr>
          </a:lstStyle>
          <a:p>
            <a:r>
              <a:rPr lang="en-US"/>
              <a:t>Add company logo here</a:t>
            </a:r>
          </a:p>
        </p:txBody>
      </p:sp>
      <p:sp>
        <p:nvSpPr>
          <p:cNvPr id="36" name="Picture Placeholder 26"/>
          <p:cNvSpPr>
            <a:spLocks noGrp="1"/>
          </p:cNvSpPr>
          <p:nvPr>
            <p:ph type="pic" sz="quarter" idx="12" hasCustomPrompt="1"/>
          </p:nvPr>
        </p:nvSpPr>
        <p:spPr>
          <a:xfrm>
            <a:off x="1492517" y="1984189"/>
            <a:ext cx="2532888" cy="2532888"/>
          </a:xfrm>
          <a:prstGeom prst="ellipse">
            <a:avLst/>
          </a:prstGeom>
        </p:spPr>
        <p:txBody>
          <a:bodyPr/>
          <a:lstStyle>
            <a:lvl1pPr>
              <a:defRPr baseline="0">
                <a:solidFill>
                  <a:schemeClr val="bg1"/>
                </a:solidFill>
              </a:defRPr>
            </a:lvl1pPr>
          </a:lstStyle>
          <a:p>
            <a:r>
              <a:rPr lang="en-US"/>
              <a:t>1:1 ratio photo</a:t>
            </a:r>
          </a:p>
        </p:txBody>
      </p:sp>
      <p:sp>
        <p:nvSpPr>
          <p:cNvPr id="9" name="Title 1"/>
          <p:cNvSpPr>
            <a:spLocks noGrp="1"/>
          </p:cNvSpPr>
          <p:nvPr>
            <p:ph type="ctrTitle"/>
          </p:nvPr>
        </p:nvSpPr>
        <p:spPr>
          <a:xfrm>
            <a:off x="4390006" y="2819716"/>
            <a:ext cx="7432568" cy="899331"/>
          </a:xfrm>
        </p:spPr>
        <p:txBody>
          <a:bodyPr anchor="b" anchorCtr="0"/>
          <a:lstStyle>
            <a:lvl1pPr algn="l">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40866942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estions">
    <p:bg>
      <p:bgPr>
        <a:gradFill>
          <a:gsLst>
            <a:gs pos="0">
              <a:schemeClr val="tx2"/>
            </a:gs>
            <a:gs pos="100000">
              <a:schemeClr val="accent1"/>
            </a:gs>
          </a:gsLst>
          <a:lin ang="2700000" scaled="1"/>
        </a:gradFill>
        <a:effectLst/>
      </p:bgPr>
    </p:bg>
    <p:spTree>
      <p:nvGrpSpPr>
        <p:cNvPr id="1" name=""/>
        <p:cNvGrpSpPr/>
        <p:nvPr/>
      </p:nvGrpSpPr>
      <p:grpSpPr>
        <a:xfrm>
          <a:off x="0" y="0"/>
          <a:ext cx="0" cy="0"/>
          <a:chOff x="0" y="0"/>
          <a:chExt cx="0" cy="0"/>
        </a:xfrm>
      </p:grpSpPr>
      <p:sp>
        <p:nvSpPr>
          <p:cNvPr id="8" name="Freeform 7"/>
          <p:cNvSpPr>
            <a:spLocks noEditPoints="1"/>
          </p:cNvSpPr>
          <p:nvPr userDrawn="1"/>
        </p:nvSpPr>
        <p:spPr bwMode="auto">
          <a:xfrm>
            <a:off x="5156200" y="1813011"/>
            <a:ext cx="1879600" cy="1870075"/>
          </a:xfrm>
          <a:custGeom>
            <a:avLst/>
            <a:gdLst>
              <a:gd name="T0" fmla="*/ 113 w 226"/>
              <a:gd name="T1" fmla="*/ 0 h 226"/>
              <a:gd name="T2" fmla="*/ 0 w 226"/>
              <a:gd name="T3" fmla="*/ 113 h 226"/>
              <a:gd name="T4" fmla="*/ 19 w 226"/>
              <a:gd name="T5" fmla="*/ 175 h 226"/>
              <a:gd name="T6" fmla="*/ 7 w 226"/>
              <a:gd name="T7" fmla="*/ 217 h 226"/>
              <a:gd name="T8" fmla="*/ 49 w 226"/>
              <a:gd name="T9" fmla="*/ 206 h 226"/>
              <a:gd name="T10" fmla="*/ 113 w 226"/>
              <a:gd name="T11" fmla="*/ 226 h 226"/>
              <a:gd name="T12" fmla="*/ 226 w 226"/>
              <a:gd name="T13" fmla="*/ 113 h 226"/>
              <a:gd name="T14" fmla="*/ 113 w 226"/>
              <a:gd name="T15" fmla="*/ 0 h 226"/>
              <a:gd name="T16" fmla="*/ 111 w 226"/>
              <a:gd name="T17" fmla="*/ 182 h 226"/>
              <a:gd name="T18" fmla="*/ 92 w 226"/>
              <a:gd name="T19" fmla="*/ 164 h 226"/>
              <a:gd name="T20" fmla="*/ 111 w 226"/>
              <a:gd name="T21" fmla="*/ 145 h 226"/>
              <a:gd name="T22" fmla="*/ 130 w 226"/>
              <a:gd name="T23" fmla="*/ 164 h 226"/>
              <a:gd name="T24" fmla="*/ 111 w 226"/>
              <a:gd name="T25" fmla="*/ 182 h 226"/>
              <a:gd name="T26" fmla="*/ 128 w 226"/>
              <a:gd name="T27" fmla="*/ 127 h 226"/>
              <a:gd name="T28" fmla="*/ 128 w 226"/>
              <a:gd name="T29" fmla="*/ 138 h 226"/>
              <a:gd name="T30" fmla="*/ 96 w 226"/>
              <a:gd name="T31" fmla="*/ 138 h 226"/>
              <a:gd name="T32" fmla="*/ 96 w 226"/>
              <a:gd name="T33" fmla="*/ 123 h 226"/>
              <a:gd name="T34" fmla="*/ 123 w 226"/>
              <a:gd name="T35" fmla="*/ 85 h 226"/>
              <a:gd name="T36" fmla="*/ 110 w 226"/>
              <a:gd name="T37" fmla="*/ 73 h 226"/>
              <a:gd name="T38" fmla="*/ 91 w 226"/>
              <a:gd name="T39" fmla="*/ 87 h 226"/>
              <a:gd name="T40" fmla="*/ 71 w 226"/>
              <a:gd name="T41" fmla="*/ 69 h 226"/>
              <a:gd name="T42" fmla="*/ 114 w 226"/>
              <a:gd name="T43" fmla="*/ 44 h 226"/>
              <a:gd name="T44" fmla="*/ 155 w 226"/>
              <a:gd name="T45" fmla="*/ 85 h 226"/>
              <a:gd name="T46" fmla="*/ 128 w 226"/>
              <a:gd name="T47" fmla="*/ 12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6" h="226">
                <a:moveTo>
                  <a:pt x="113" y="0"/>
                </a:moveTo>
                <a:cubicBezTo>
                  <a:pt x="51" y="0"/>
                  <a:pt x="0" y="51"/>
                  <a:pt x="0" y="113"/>
                </a:cubicBezTo>
                <a:cubicBezTo>
                  <a:pt x="0" y="136"/>
                  <a:pt x="7" y="157"/>
                  <a:pt x="19" y="175"/>
                </a:cubicBezTo>
                <a:cubicBezTo>
                  <a:pt x="7" y="217"/>
                  <a:pt x="7" y="217"/>
                  <a:pt x="7" y="217"/>
                </a:cubicBezTo>
                <a:cubicBezTo>
                  <a:pt x="49" y="206"/>
                  <a:pt x="49" y="206"/>
                  <a:pt x="49" y="206"/>
                </a:cubicBezTo>
                <a:cubicBezTo>
                  <a:pt x="67" y="218"/>
                  <a:pt x="89" y="226"/>
                  <a:pt x="113" y="226"/>
                </a:cubicBezTo>
                <a:cubicBezTo>
                  <a:pt x="175" y="226"/>
                  <a:pt x="226" y="175"/>
                  <a:pt x="226" y="113"/>
                </a:cubicBezTo>
                <a:cubicBezTo>
                  <a:pt x="226" y="51"/>
                  <a:pt x="175" y="0"/>
                  <a:pt x="113" y="0"/>
                </a:cubicBezTo>
                <a:close/>
                <a:moveTo>
                  <a:pt x="111" y="182"/>
                </a:moveTo>
                <a:cubicBezTo>
                  <a:pt x="101" y="182"/>
                  <a:pt x="92" y="174"/>
                  <a:pt x="92" y="164"/>
                </a:cubicBezTo>
                <a:cubicBezTo>
                  <a:pt x="92" y="153"/>
                  <a:pt x="101" y="145"/>
                  <a:pt x="111" y="145"/>
                </a:cubicBezTo>
                <a:cubicBezTo>
                  <a:pt x="121" y="145"/>
                  <a:pt x="130" y="153"/>
                  <a:pt x="130" y="164"/>
                </a:cubicBezTo>
                <a:cubicBezTo>
                  <a:pt x="130" y="174"/>
                  <a:pt x="121" y="182"/>
                  <a:pt x="111" y="182"/>
                </a:cubicBezTo>
                <a:close/>
                <a:moveTo>
                  <a:pt x="128" y="127"/>
                </a:moveTo>
                <a:cubicBezTo>
                  <a:pt x="128" y="138"/>
                  <a:pt x="128" y="138"/>
                  <a:pt x="128" y="138"/>
                </a:cubicBezTo>
                <a:cubicBezTo>
                  <a:pt x="96" y="138"/>
                  <a:pt x="96" y="138"/>
                  <a:pt x="96" y="138"/>
                </a:cubicBezTo>
                <a:cubicBezTo>
                  <a:pt x="96" y="123"/>
                  <a:pt x="96" y="123"/>
                  <a:pt x="96" y="123"/>
                </a:cubicBezTo>
                <a:cubicBezTo>
                  <a:pt x="96" y="105"/>
                  <a:pt x="123" y="95"/>
                  <a:pt x="123" y="85"/>
                </a:cubicBezTo>
                <a:cubicBezTo>
                  <a:pt x="123" y="78"/>
                  <a:pt x="116" y="73"/>
                  <a:pt x="110" y="73"/>
                </a:cubicBezTo>
                <a:cubicBezTo>
                  <a:pt x="103" y="73"/>
                  <a:pt x="97" y="80"/>
                  <a:pt x="91" y="87"/>
                </a:cubicBezTo>
                <a:cubicBezTo>
                  <a:pt x="71" y="69"/>
                  <a:pt x="71" y="69"/>
                  <a:pt x="71" y="69"/>
                </a:cubicBezTo>
                <a:cubicBezTo>
                  <a:pt x="83" y="53"/>
                  <a:pt x="97" y="44"/>
                  <a:pt x="114" y="44"/>
                </a:cubicBezTo>
                <a:cubicBezTo>
                  <a:pt x="137" y="44"/>
                  <a:pt x="155" y="60"/>
                  <a:pt x="155" y="85"/>
                </a:cubicBezTo>
                <a:cubicBezTo>
                  <a:pt x="155" y="110"/>
                  <a:pt x="128" y="116"/>
                  <a:pt x="128" y="127"/>
                </a:cubicBezTo>
                <a:close/>
              </a:path>
            </a:pathLst>
          </a:custGeom>
          <a:solidFill>
            <a:srgbClr val="FFFFFF"/>
          </a:solidFill>
          <a:ln w="285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 name="TextBox 2"/>
          <p:cNvSpPr txBox="1"/>
          <p:nvPr userDrawn="1"/>
        </p:nvSpPr>
        <p:spPr>
          <a:xfrm>
            <a:off x="4099368" y="4244406"/>
            <a:ext cx="3993265" cy="1015663"/>
          </a:xfrm>
          <a:prstGeom prst="rect">
            <a:avLst/>
          </a:prstGeom>
          <a:noFill/>
          <a:ln>
            <a:noFill/>
          </a:ln>
        </p:spPr>
        <p:txBody>
          <a:bodyPr wrap="square" rtlCol="0">
            <a:spAutoFit/>
          </a:bodyPr>
          <a:lstStyle/>
          <a:p>
            <a:pPr algn="ctr"/>
            <a:r>
              <a:rPr lang="en-US" sz="6000">
                <a:solidFill>
                  <a:schemeClr val="bg1"/>
                </a:solidFill>
              </a:rPr>
              <a:t>Questions</a:t>
            </a:r>
          </a:p>
        </p:txBody>
      </p:sp>
    </p:spTree>
    <p:extLst>
      <p:ext uri="{BB962C8B-B14F-4D97-AF65-F5344CB8AC3E}">
        <p14:creationId xmlns:p14="http://schemas.microsoft.com/office/powerpoint/2010/main" val="179371998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gradFill>
          <a:gsLst>
            <a:gs pos="0">
              <a:schemeClr val="tx2"/>
            </a:gs>
            <a:gs pos="100000">
              <a:schemeClr val="accent1"/>
            </a:gs>
          </a:gsLst>
          <a:lin ang="2700000" scaled="1"/>
        </a:gradFill>
        <a:effectLst/>
      </p:bgPr>
    </p:bg>
    <p:spTree>
      <p:nvGrpSpPr>
        <p:cNvPr id="1" name=""/>
        <p:cNvGrpSpPr/>
        <p:nvPr/>
      </p:nvGrpSpPr>
      <p:grpSpPr>
        <a:xfrm>
          <a:off x="0" y="0"/>
          <a:ext cx="0" cy="0"/>
          <a:chOff x="0" y="0"/>
          <a:chExt cx="0" cy="0"/>
        </a:xfrm>
      </p:grpSpPr>
      <p:sp>
        <p:nvSpPr>
          <p:cNvPr id="14" name="TextBox 13"/>
          <p:cNvSpPr txBox="1"/>
          <p:nvPr userDrawn="1"/>
        </p:nvSpPr>
        <p:spPr>
          <a:xfrm>
            <a:off x="4099368" y="4244406"/>
            <a:ext cx="3993265" cy="1015663"/>
          </a:xfrm>
          <a:prstGeom prst="rect">
            <a:avLst/>
          </a:prstGeom>
          <a:noFill/>
          <a:ln>
            <a:noFill/>
          </a:ln>
        </p:spPr>
        <p:txBody>
          <a:bodyPr wrap="square" rtlCol="0">
            <a:spAutoFit/>
          </a:bodyPr>
          <a:lstStyle/>
          <a:p>
            <a:pPr algn="ctr"/>
            <a:r>
              <a:rPr lang="en-US" sz="6000">
                <a:solidFill>
                  <a:schemeClr val="bg1"/>
                </a:solidFill>
              </a:rPr>
              <a:t>Thank you</a:t>
            </a:r>
          </a:p>
        </p:txBody>
      </p:sp>
      <p:grpSp>
        <p:nvGrpSpPr>
          <p:cNvPr id="9" name="Group 4"/>
          <p:cNvGrpSpPr>
            <a:grpSpLocks noChangeAspect="1"/>
          </p:cNvGrpSpPr>
          <p:nvPr userDrawn="1"/>
        </p:nvGrpSpPr>
        <p:grpSpPr bwMode="auto">
          <a:xfrm>
            <a:off x="5363368" y="2079884"/>
            <a:ext cx="1465263" cy="1498600"/>
            <a:chOff x="5098" y="1275"/>
            <a:chExt cx="923" cy="944"/>
          </a:xfrm>
        </p:grpSpPr>
        <p:sp>
          <p:nvSpPr>
            <p:cNvPr id="10" name="AutoShape 3"/>
            <p:cNvSpPr>
              <a:spLocks noChangeAspect="1" noChangeArrowheads="1" noTextEdit="1"/>
            </p:cNvSpPr>
            <p:nvPr userDrawn="1"/>
          </p:nvSpPr>
          <p:spPr bwMode="auto">
            <a:xfrm>
              <a:off x="5098" y="1275"/>
              <a:ext cx="923" cy="9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5098" y="1276"/>
              <a:ext cx="923" cy="942"/>
            </a:xfrm>
            <a:custGeom>
              <a:avLst/>
              <a:gdLst>
                <a:gd name="T0" fmla="*/ 0 w 923"/>
                <a:gd name="T1" fmla="*/ 0 h 942"/>
                <a:gd name="T2" fmla="*/ 160 w 923"/>
                <a:gd name="T3" fmla="*/ 0 h 942"/>
                <a:gd name="T4" fmla="*/ 464 w 923"/>
                <a:gd name="T5" fmla="*/ 616 h 942"/>
                <a:gd name="T6" fmla="*/ 765 w 923"/>
                <a:gd name="T7" fmla="*/ 0 h 942"/>
                <a:gd name="T8" fmla="*/ 923 w 923"/>
                <a:gd name="T9" fmla="*/ 0 h 942"/>
                <a:gd name="T10" fmla="*/ 463 w 923"/>
                <a:gd name="T11" fmla="*/ 942 h 942"/>
                <a:gd name="T12" fmla="*/ 0 w 923"/>
                <a:gd name="T13" fmla="*/ 0 h 942"/>
              </a:gdLst>
              <a:ahLst/>
              <a:cxnLst>
                <a:cxn ang="0">
                  <a:pos x="T0" y="T1"/>
                </a:cxn>
                <a:cxn ang="0">
                  <a:pos x="T2" y="T3"/>
                </a:cxn>
                <a:cxn ang="0">
                  <a:pos x="T4" y="T5"/>
                </a:cxn>
                <a:cxn ang="0">
                  <a:pos x="T6" y="T7"/>
                </a:cxn>
                <a:cxn ang="0">
                  <a:pos x="T8" y="T9"/>
                </a:cxn>
                <a:cxn ang="0">
                  <a:pos x="T10" y="T11"/>
                </a:cxn>
                <a:cxn ang="0">
                  <a:pos x="T12" y="T13"/>
                </a:cxn>
              </a:cxnLst>
              <a:rect l="0" t="0" r="r" b="b"/>
              <a:pathLst>
                <a:path w="923" h="942">
                  <a:moveTo>
                    <a:pt x="0" y="0"/>
                  </a:moveTo>
                  <a:lnTo>
                    <a:pt x="160" y="0"/>
                  </a:lnTo>
                  <a:lnTo>
                    <a:pt x="464" y="616"/>
                  </a:lnTo>
                  <a:lnTo>
                    <a:pt x="765" y="0"/>
                  </a:lnTo>
                  <a:lnTo>
                    <a:pt x="923" y="0"/>
                  </a:lnTo>
                  <a:lnTo>
                    <a:pt x="463" y="942"/>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p:cNvSpPr>
            <p:nvPr userDrawn="1"/>
          </p:nvSpPr>
          <p:spPr bwMode="auto">
            <a:xfrm>
              <a:off x="5352" y="1278"/>
              <a:ext cx="415" cy="417"/>
            </a:xfrm>
            <a:custGeom>
              <a:avLst/>
              <a:gdLst>
                <a:gd name="T0" fmla="*/ 0 w 340"/>
                <a:gd name="T1" fmla="*/ 1 h 340"/>
                <a:gd name="T2" fmla="*/ 170 w 340"/>
                <a:gd name="T3" fmla="*/ 340 h 340"/>
                <a:gd name="T4" fmla="*/ 340 w 340"/>
                <a:gd name="T5" fmla="*/ 1 h 340"/>
                <a:gd name="T6" fmla="*/ 0 w 340"/>
                <a:gd name="T7" fmla="*/ 1 h 340"/>
              </a:gdLst>
              <a:ahLst/>
              <a:cxnLst>
                <a:cxn ang="0">
                  <a:pos x="T0" y="T1"/>
                </a:cxn>
                <a:cxn ang="0">
                  <a:pos x="T2" y="T3"/>
                </a:cxn>
                <a:cxn ang="0">
                  <a:pos x="T4" y="T5"/>
                </a:cxn>
                <a:cxn ang="0">
                  <a:pos x="T6" y="T7"/>
                </a:cxn>
              </a:cxnLst>
              <a:rect l="0" t="0" r="r" b="b"/>
              <a:pathLst>
                <a:path w="340" h="340">
                  <a:moveTo>
                    <a:pt x="0" y="1"/>
                  </a:moveTo>
                  <a:cubicBezTo>
                    <a:pt x="170" y="340"/>
                    <a:pt x="170" y="340"/>
                    <a:pt x="170" y="340"/>
                  </a:cubicBezTo>
                  <a:cubicBezTo>
                    <a:pt x="340" y="1"/>
                    <a:pt x="340" y="1"/>
                    <a:pt x="340" y="1"/>
                  </a:cubicBezTo>
                  <a:cubicBezTo>
                    <a:pt x="340" y="1"/>
                    <a:pt x="0" y="0"/>
                    <a:pt x="0"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371273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Orange">
    <p:bg>
      <p:bgPr>
        <a:gradFill>
          <a:gsLst>
            <a:gs pos="0">
              <a:schemeClr val="tx2"/>
            </a:gs>
            <a:gs pos="99000">
              <a:schemeClr val="accent1"/>
            </a:gs>
          </a:gsLst>
          <a:lin ang="2700000" scaled="1"/>
        </a:gra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6ACBAAB-B5D4-4EFE-94DD-62E2364FDB44}"/>
              </a:ext>
            </a:extLst>
          </p:cNvPr>
          <p:cNvSpPr txBox="1"/>
          <p:nvPr userDrawn="1"/>
        </p:nvSpPr>
        <p:spPr>
          <a:xfrm>
            <a:off x="11017792" y="6521025"/>
            <a:ext cx="1019596" cy="246221"/>
          </a:xfrm>
          <a:prstGeom prst="rect">
            <a:avLst/>
          </a:prstGeom>
          <a:noFill/>
        </p:spPr>
        <p:txBody>
          <a:bodyPr wrap="square" rtlCol="0">
            <a:spAutoFit/>
          </a:bodyPr>
          <a:lstStyle/>
          <a:p>
            <a:pPr algn="r"/>
            <a:fld id="{44515CC9-B04E-49D1-8DBC-3EBC45FAC8C9}" type="slidenum">
              <a:rPr lang="en-US" sz="1000" kern="1200" smtClean="0">
                <a:solidFill>
                  <a:schemeClr val="tx2">
                    <a:lumMod val="40000"/>
                    <a:lumOff val="60000"/>
                  </a:schemeClr>
                </a:solidFill>
                <a:latin typeface="+mn-lt"/>
                <a:ea typeface="+mn-ea"/>
                <a:cs typeface="+mn-cs"/>
              </a:rPr>
              <a:pPr algn="r"/>
              <a:t>‹#›</a:t>
            </a:fld>
            <a:endParaRPr lang="en-US" sz="1000" kern="1200">
              <a:solidFill>
                <a:schemeClr val="tx2">
                  <a:lumMod val="40000"/>
                  <a:lumOff val="60000"/>
                </a:schemeClr>
              </a:solidFill>
              <a:latin typeface="+mn-lt"/>
              <a:ea typeface="+mn-ea"/>
              <a:cs typeface="+mn-cs"/>
            </a:endParaRPr>
          </a:p>
        </p:txBody>
      </p:sp>
      <p:sp>
        <p:nvSpPr>
          <p:cNvPr id="22" name="TextBox 21">
            <a:extLst>
              <a:ext uri="{FF2B5EF4-FFF2-40B4-BE49-F238E27FC236}">
                <a16:creationId xmlns:a16="http://schemas.microsoft.com/office/drawing/2014/main" id="{CC48C95D-837A-4474-9319-1A0FBA7CBA06}"/>
              </a:ext>
            </a:extLst>
          </p:cNvPr>
          <p:cNvSpPr txBox="1"/>
          <p:nvPr userDrawn="1"/>
        </p:nvSpPr>
        <p:spPr>
          <a:xfrm>
            <a:off x="5142983" y="6521025"/>
            <a:ext cx="190603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600">
                <a:solidFill>
                  <a:schemeClr val="tx2">
                    <a:lumMod val="40000"/>
                    <a:lumOff val="60000"/>
                  </a:schemeClr>
                </a:solidFill>
                <a:latin typeface="+mn-lt"/>
                <a:ea typeface="ＭＳ Ｐゴシック" charset="0"/>
              </a:rPr>
              <a:t>Copyright © Veeva Systems 2021</a:t>
            </a:r>
          </a:p>
        </p:txBody>
      </p:sp>
      <p:pic>
        <p:nvPicPr>
          <p:cNvPr id="7" name="Picture 6">
            <a:extLst>
              <a:ext uri="{FF2B5EF4-FFF2-40B4-BE49-F238E27FC236}">
                <a16:creationId xmlns:a16="http://schemas.microsoft.com/office/drawing/2014/main" id="{AD09648E-76BB-F142-8C75-4FEA9D7B6480}"/>
              </a:ext>
            </a:extLst>
          </p:cNvPr>
          <p:cNvPicPr>
            <a:picLocks noChangeAspect="1"/>
          </p:cNvPicPr>
          <p:nvPr userDrawn="1"/>
        </p:nvPicPr>
        <p:blipFill>
          <a:blip r:embed="rId2"/>
          <a:stretch>
            <a:fillRect/>
          </a:stretch>
        </p:blipFill>
        <p:spPr>
          <a:xfrm>
            <a:off x="266700" y="6376988"/>
            <a:ext cx="1508746" cy="356232"/>
          </a:xfrm>
          <a:prstGeom prst="rect">
            <a:avLst/>
          </a:prstGeom>
        </p:spPr>
      </p:pic>
    </p:spTree>
    <p:extLst>
      <p:ext uri="{BB962C8B-B14F-4D97-AF65-F5344CB8AC3E}">
        <p14:creationId xmlns:p14="http://schemas.microsoft.com/office/powerpoint/2010/main" val="42113223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Full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265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266700" y="1086686"/>
            <a:ext cx="10660063" cy="579664"/>
          </a:xfrm>
        </p:spPr>
        <p:txBody>
          <a:bodyPr>
            <a:noAutofit/>
          </a:bodyPr>
          <a:lstStyle>
            <a:lvl1pPr marL="0" indent="0" algn="l">
              <a:buNone/>
              <a:defRPr sz="2600">
                <a:solidFill>
                  <a:srgbClr val="87888D"/>
                </a:solidFill>
              </a:defRPr>
            </a:lvl1pPr>
          </a:lstStyle>
          <a:p>
            <a:pPr lvl="0"/>
            <a:r>
              <a:rPr lang="en-US"/>
              <a:t>Subtitle</a:t>
            </a:r>
          </a:p>
        </p:txBody>
      </p:sp>
      <p:sp>
        <p:nvSpPr>
          <p:cNvPr id="5" name="Title 1">
            <a:extLst>
              <a:ext uri="{FF2B5EF4-FFF2-40B4-BE49-F238E27FC236}">
                <a16:creationId xmlns:a16="http://schemas.microsoft.com/office/drawing/2014/main" id="{B9DC95D2-566E-884F-B3F4-10BFFD269E54}"/>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10786847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Заголовок и объект" userDrawn="1">
  <p:cSld name="Заголовок и объект">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276303" y="240653"/>
            <a:ext cx="11463413" cy="1101213"/>
          </a:xfrm>
          <a:prstGeom prst="rect">
            <a:avLst/>
          </a:prstGeom>
          <a:noFill/>
          <a:ln>
            <a:noFill/>
          </a:ln>
        </p:spPr>
        <p:txBody>
          <a:bodyPr spcFirstLastPara="1"/>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r>
              <a:rPr lang="en-GB"/>
              <a:t>Click to edit Master title style</a:t>
            </a:r>
            <a:endParaRPr/>
          </a:p>
        </p:txBody>
      </p:sp>
      <p:sp>
        <p:nvSpPr>
          <p:cNvPr id="19" name="Google Shape;19;p3"/>
          <p:cNvSpPr txBox="1">
            <a:spLocks noGrp="1"/>
          </p:cNvSpPr>
          <p:nvPr>
            <p:ph type="body" idx="1"/>
          </p:nvPr>
        </p:nvSpPr>
        <p:spPr>
          <a:xfrm>
            <a:off x="276303" y="1445343"/>
            <a:ext cx="11463413" cy="4731620"/>
          </a:xfrm>
          <a:prstGeom prst="rect">
            <a:avLst/>
          </a:prstGeom>
          <a:noFill/>
          <a:ln>
            <a:noFill/>
          </a:ln>
        </p:spPr>
        <p:txBody>
          <a:bodyPr spcFirstLastPara="1"/>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GB"/>
              <a:t>Click to edit Master text styles</a:t>
            </a:r>
          </a:p>
        </p:txBody>
      </p:sp>
    </p:spTree>
    <p:extLst>
      <p:ext uri="{BB962C8B-B14F-4D97-AF65-F5344CB8AC3E}">
        <p14:creationId xmlns:p14="http://schemas.microsoft.com/office/powerpoint/2010/main" val="10311273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6"/>
            <a:ext cx="11639394" cy="982881"/>
          </a:xfrm>
        </p:spPr>
        <p:txBody>
          <a:bodyPr/>
          <a:lstStyle/>
          <a:p>
            <a:r>
              <a:rPr lang="en-US"/>
              <a:t>Click to edit Master title style</a:t>
            </a:r>
          </a:p>
        </p:txBody>
      </p:sp>
    </p:spTree>
    <p:extLst>
      <p:ext uri="{BB962C8B-B14F-4D97-AF65-F5344CB8AC3E}">
        <p14:creationId xmlns:p14="http://schemas.microsoft.com/office/powerpoint/2010/main" val="2878155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6"/>
            <a:ext cx="11639394" cy="970524"/>
          </a:xfrm>
        </p:spPr>
        <p:txBody>
          <a:bodyPr/>
          <a:lstStyle/>
          <a:p>
            <a:r>
              <a:rPr lang="en-US"/>
              <a:t>Click to edit Master title style</a:t>
            </a:r>
          </a:p>
        </p:txBody>
      </p:sp>
      <p:sp>
        <p:nvSpPr>
          <p:cNvPr id="4" name="Text Placeholder 6">
            <a:extLst>
              <a:ext uri="{FF2B5EF4-FFF2-40B4-BE49-F238E27FC236}">
                <a16:creationId xmlns:a16="http://schemas.microsoft.com/office/drawing/2014/main" id="{2AC331BD-B2D2-49AA-B79F-08337B3E34F0}"/>
              </a:ext>
            </a:extLst>
          </p:cNvPr>
          <p:cNvSpPr>
            <a:spLocks noGrp="1"/>
          </p:cNvSpPr>
          <p:nvPr>
            <p:ph type="body" sz="quarter" idx="14" hasCustomPrompt="1"/>
          </p:nvPr>
        </p:nvSpPr>
        <p:spPr>
          <a:xfrm>
            <a:off x="765969" y="907082"/>
            <a:ext cx="10660063" cy="579664"/>
          </a:xfrm>
        </p:spPr>
        <p:txBody>
          <a:bodyPr>
            <a:noAutofit/>
          </a:bodyPr>
          <a:lstStyle>
            <a:lvl1pPr marL="0" indent="0" algn="ctr">
              <a:buNone/>
              <a:defRPr sz="2600">
                <a:solidFill>
                  <a:srgbClr val="87888D"/>
                </a:solidFill>
              </a:defRPr>
            </a:lvl1pPr>
          </a:lstStyle>
          <a:p>
            <a:pPr lvl="0"/>
            <a:r>
              <a:rPr lang="en-US"/>
              <a:t>Subtitle</a:t>
            </a:r>
          </a:p>
        </p:txBody>
      </p:sp>
    </p:spTree>
    <p:extLst>
      <p:ext uri="{BB962C8B-B14F-4D97-AF65-F5344CB8AC3E}">
        <p14:creationId xmlns:p14="http://schemas.microsoft.com/office/powerpoint/2010/main" val="420506015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descr="A close up of a logo&#10;&#10;Description automatically generated">
            <a:extLst>
              <a:ext uri="{FF2B5EF4-FFF2-40B4-BE49-F238E27FC236}">
                <a16:creationId xmlns:a16="http://schemas.microsoft.com/office/drawing/2014/main" id="{D4EC7FEB-3003-CF4D-A0F5-0CC93E0860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92277" y="5549296"/>
            <a:ext cx="2976331" cy="568003"/>
          </a:xfrm>
          <a:prstGeom prst="rect">
            <a:avLst/>
          </a:prstGeom>
        </p:spPr>
      </p:pic>
      <p:pic>
        <p:nvPicPr>
          <p:cNvPr id="12" name="Picture 11" descr="A picture containing computer&#10;&#10;Description automatically generated">
            <a:extLst>
              <a:ext uri="{FF2B5EF4-FFF2-40B4-BE49-F238E27FC236}">
                <a16:creationId xmlns:a16="http://schemas.microsoft.com/office/drawing/2014/main" id="{49E3826A-D34B-9245-A792-8736A1692CD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494"/>
          <a:stretch/>
        </p:blipFill>
        <p:spPr>
          <a:xfrm>
            <a:off x="1" y="0"/>
            <a:ext cx="12192000" cy="6858000"/>
          </a:xfrm>
          <a:prstGeom prst="rect">
            <a:avLst/>
          </a:prstGeom>
        </p:spPr>
      </p:pic>
      <p:sp>
        <p:nvSpPr>
          <p:cNvPr id="2" name="Title 1"/>
          <p:cNvSpPr>
            <a:spLocks noGrp="1"/>
          </p:cNvSpPr>
          <p:nvPr>
            <p:ph type="ctrTitle" hasCustomPrompt="1"/>
          </p:nvPr>
        </p:nvSpPr>
        <p:spPr>
          <a:xfrm>
            <a:off x="2252133" y="2452620"/>
            <a:ext cx="7696200" cy="1119449"/>
          </a:xfrm>
          <a:prstGeom prst="rect">
            <a:avLst/>
          </a:prstGeom>
        </p:spPr>
        <p:txBody>
          <a:bodyPr lIns="0" tIns="0" rIns="0" bIns="0" anchor="b"/>
          <a:lstStyle>
            <a:lvl1pPr algn="l">
              <a:defRPr sz="4000">
                <a:solidFill>
                  <a:schemeClr val="accent1"/>
                </a:solidFill>
                <a:latin typeface="Arial" panose="020B0604020202020204" pitchFamily="34" charset="0"/>
                <a:cs typeface="Arial" panose="020B0604020202020204" pitchFamily="34" charset="0"/>
              </a:defRPr>
            </a:lvl1pPr>
          </a:lstStyle>
          <a:p>
            <a:r>
              <a:rPr lang="en-US"/>
              <a:t>Click to add title</a:t>
            </a:r>
          </a:p>
        </p:txBody>
      </p:sp>
      <p:cxnSp>
        <p:nvCxnSpPr>
          <p:cNvPr id="13" name="Straight Connector 12">
            <a:extLst>
              <a:ext uri="{FF2B5EF4-FFF2-40B4-BE49-F238E27FC236}">
                <a16:creationId xmlns:a16="http://schemas.microsoft.com/office/drawing/2014/main" id="{56AFF936-6769-5E4F-9013-92A64286AAAC}"/>
              </a:ext>
            </a:extLst>
          </p:cNvPr>
          <p:cNvCxnSpPr>
            <a:cxnSpLocks/>
          </p:cNvCxnSpPr>
          <p:nvPr userDrawn="1"/>
        </p:nvCxnSpPr>
        <p:spPr>
          <a:xfrm>
            <a:off x="2252133" y="3572069"/>
            <a:ext cx="7696200"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33AC4FD4-8040-1940-A5A6-CB21B9EFADCA}"/>
              </a:ext>
            </a:extLst>
          </p:cNvPr>
          <p:cNvSpPr>
            <a:spLocks noGrp="1"/>
          </p:cNvSpPr>
          <p:nvPr>
            <p:ph type="body" sz="quarter" idx="10" hasCustomPrompt="1"/>
          </p:nvPr>
        </p:nvSpPr>
        <p:spPr>
          <a:xfrm>
            <a:off x="2252133" y="3750733"/>
            <a:ext cx="7696200" cy="524933"/>
          </a:xfrm>
          <a:prstGeom prst="rect">
            <a:avLst/>
          </a:prstGeom>
        </p:spPr>
        <p:txBody>
          <a:bodyPr lIns="0" tIns="0" rIns="0" bIns="0"/>
          <a:lstStyle>
            <a:lvl1pPr marL="0" indent="0">
              <a:buNone/>
              <a:defRPr sz="14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Master subtitle style</a:t>
            </a:r>
          </a:p>
        </p:txBody>
      </p:sp>
      <p:sp>
        <p:nvSpPr>
          <p:cNvPr id="20" name="Text Placeholder 18">
            <a:extLst>
              <a:ext uri="{FF2B5EF4-FFF2-40B4-BE49-F238E27FC236}">
                <a16:creationId xmlns:a16="http://schemas.microsoft.com/office/drawing/2014/main" id="{4B34FC74-1D5B-C143-891E-3E826BD73FDB}"/>
              </a:ext>
            </a:extLst>
          </p:cNvPr>
          <p:cNvSpPr>
            <a:spLocks noGrp="1"/>
          </p:cNvSpPr>
          <p:nvPr>
            <p:ph type="body" sz="quarter" idx="11" hasCustomPrompt="1"/>
          </p:nvPr>
        </p:nvSpPr>
        <p:spPr>
          <a:xfrm>
            <a:off x="2252134" y="4592302"/>
            <a:ext cx="2742949" cy="216765"/>
          </a:xfrm>
          <a:prstGeom prst="rect">
            <a:avLst/>
          </a:prstGeom>
        </p:spPr>
        <p:txBody>
          <a:bodyPr lIns="0" tIns="0" rIns="0" bIns="0"/>
          <a:lstStyle>
            <a:lvl1pPr marL="0" indent="0">
              <a:buNone/>
              <a:defRPr sz="1067">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add date</a:t>
            </a:r>
          </a:p>
        </p:txBody>
      </p:sp>
      <p:sp>
        <p:nvSpPr>
          <p:cNvPr id="14" name="Text Placeholder 18">
            <a:extLst>
              <a:ext uri="{FF2B5EF4-FFF2-40B4-BE49-F238E27FC236}">
                <a16:creationId xmlns:a16="http://schemas.microsoft.com/office/drawing/2014/main" id="{BAC81BB4-212F-F341-80DB-09B1016D348C}"/>
              </a:ext>
            </a:extLst>
          </p:cNvPr>
          <p:cNvSpPr>
            <a:spLocks noGrp="1"/>
          </p:cNvSpPr>
          <p:nvPr>
            <p:ph type="body" sz="quarter" idx="13" hasCustomPrompt="1"/>
          </p:nvPr>
        </p:nvSpPr>
        <p:spPr>
          <a:xfrm>
            <a:off x="2252134" y="5857970"/>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10" name="Picture 9" descr="A close up of a sign&#10;&#10;Description automatically generated">
            <a:extLst>
              <a:ext uri="{FF2B5EF4-FFF2-40B4-BE49-F238E27FC236}">
                <a16:creationId xmlns:a16="http://schemas.microsoft.com/office/drawing/2014/main" id="{62486E00-792C-4543-B570-6D54CEF7D7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272768" y="886933"/>
            <a:ext cx="2759417" cy="759947"/>
          </a:xfrm>
          <a:prstGeom prst="rect">
            <a:avLst/>
          </a:prstGeom>
        </p:spPr>
      </p:pic>
    </p:spTree>
    <p:extLst>
      <p:ext uri="{BB962C8B-B14F-4D97-AF65-F5344CB8AC3E}">
        <p14:creationId xmlns:p14="http://schemas.microsoft.com/office/powerpoint/2010/main" val="39337799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60D4D6-C6A9-4342-AAFE-6F94FB21CA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2" name="Title 1"/>
          <p:cNvSpPr>
            <a:spLocks noGrp="1"/>
          </p:cNvSpPr>
          <p:nvPr>
            <p:ph type="ctrTitle"/>
          </p:nvPr>
        </p:nvSpPr>
        <p:spPr>
          <a:xfrm>
            <a:off x="863600" y="1797051"/>
            <a:ext cx="10464800" cy="2731407"/>
          </a:xfrm>
          <a:prstGeom prst="rect">
            <a:avLst/>
          </a:prstGeom>
        </p:spPr>
        <p:txBody>
          <a:bodyPr lIns="0" tIns="0" rIns="0" bIns="0" anchor="ctr"/>
          <a:lstStyle>
            <a:lvl1pPr algn="ctr">
              <a:defRPr sz="4000">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Picture 4" descr="A close up of a logo&#10;&#10;Description automatically generated">
            <a:extLst>
              <a:ext uri="{FF2B5EF4-FFF2-40B4-BE49-F238E27FC236}">
                <a16:creationId xmlns:a16="http://schemas.microsoft.com/office/drawing/2014/main" id="{3243E947-ECA8-1E4D-9828-568C2A74E4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91667"/>
            <a:ext cx="2491497" cy="1759935"/>
          </a:xfrm>
          <a:prstGeom prst="rect">
            <a:avLst/>
          </a:prstGeom>
        </p:spPr>
      </p:pic>
    </p:spTree>
    <p:extLst>
      <p:ext uri="{BB962C8B-B14F-4D97-AF65-F5344CB8AC3E}">
        <p14:creationId xmlns:p14="http://schemas.microsoft.com/office/powerpoint/2010/main" val="1071025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20463829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363A195-CE96-D842-9603-C967A7C7DB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630836" y="6459446"/>
            <a:ext cx="601133" cy="171449"/>
          </a:xfrm>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8">
            <a:extLst>
              <a:ext uri="{FF2B5EF4-FFF2-40B4-BE49-F238E27FC236}">
                <a16:creationId xmlns:a16="http://schemas.microsoft.com/office/drawing/2014/main" id="{E87BDDA0-37D6-374F-8CD6-794707DCF6B5}"/>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6" name="Text Placeholder 8">
            <a:extLst>
              <a:ext uri="{FF2B5EF4-FFF2-40B4-BE49-F238E27FC236}">
                <a16:creationId xmlns:a16="http://schemas.microsoft.com/office/drawing/2014/main" id="{BF959AB0-4E19-5643-AEF5-198333A5FA31}"/>
              </a:ext>
            </a:extLst>
          </p:cNvPr>
          <p:cNvSpPr>
            <a:spLocks noGrp="1"/>
          </p:cNvSpPr>
          <p:nvPr>
            <p:ph type="body" sz="quarter" idx="14"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9" name="Text Placeholder 18">
            <a:extLst>
              <a:ext uri="{FF2B5EF4-FFF2-40B4-BE49-F238E27FC236}">
                <a16:creationId xmlns:a16="http://schemas.microsoft.com/office/drawing/2014/main" id="{57F8215E-591F-2447-B058-033F7A5F49C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5E04DBA0-A8F2-BD4F-B20A-C1A4AECA4F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05657523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B4D8C5D-2A98-6746-B2C9-B3F01796E64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0" name="Picture 9" descr="A picture containing food&#10;&#10;Description automatically generated">
            <a:extLst>
              <a:ext uri="{FF2B5EF4-FFF2-40B4-BE49-F238E27FC236}">
                <a16:creationId xmlns:a16="http://schemas.microsoft.com/office/drawing/2014/main" id="{7F4FAF77-E84D-2240-9062-F25F34D1198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19373506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66E420-28E6-E142-B1C4-384F0C26A1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1797052"/>
            <a:ext cx="10464800" cy="4032249"/>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2C1030D3-4C88-E241-BC5F-ED0CCACA76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7540321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D6F0515-DD29-764E-8F2E-9E615FCF45D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878776"/>
            <a:ext cx="10464800"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D4328970-8600-5544-AFEF-04A9B4380FF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73785326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tandard Title &amp; Text</a:t>
            </a:r>
          </a:p>
        </p:txBody>
      </p:sp>
      <p:sp>
        <p:nvSpPr>
          <p:cNvPr id="5" name="Content Placeholder 2">
            <a:extLst>
              <a:ext uri="{FF2B5EF4-FFF2-40B4-BE49-F238E27FC236}">
                <a16:creationId xmlns:a16="http://schemas.microsoft.com/office/drawing/2014/main" id="{253119B7-D23E-C442-8641-B3E1BAB3173C}"/>
              </a:ext>
            </a:extLst>
          </p:cNvPr>
          <p:cNvSpPr>
            <a:spLocks noGrp="1"/>
          </p:cNvSpPr>
          <p:nvPr>
            <p:ph idx="10" hasCustomPrompt="1"/>
          </p:nvPr>
        </p:nvSpPr>
        <p:spPr>
          <a:xfrm>
            <a:off x="276303" y="1593462"/>
            <a:ext cx="11639394" cy="4073412"/>
          </a:xfrm>
        </p:spPr>
        <p:txBody>
          <a:bodyPr/>
          <a:lstStyle>
            <a:lvl1pPr marL="342900" indent="-342900" algn="l">
              <a:lnSpc>
                <a:spcPct val="80000"/>
              </a:lnSpc>
              <a:spcBef>
                <a:spcPts val="1000"/>
              </a:spcBef>
              <a:buFont typeface="Arial" panose="020B0604020202020204" pitchFamily="34" charset="0"/>
              <a:buChar char="•"/>
              <a:defRPr sz="2000">
                <a:solidFill>
                  <a:schemeClr val="tx1">
                    <a:lumMod val="20000"/>
                    <a:lumOff val="80000"/>
                  </a:schemeClr>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Tree>
    <p:extLst>
      <p:ext uri="{BB962C8B-B14F-4D97-AF65-F5344CB8AC3E}">
        <p14:creationId xmlns:p14="http://schemas.microsoft.com/office/powerpoint/2010/main" val="266583000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FD8C13-2F89-1242-A1B3-BF115D26F6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6275789"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A6D42A49-1496-0E41-AAE2-53504FCBDB1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382059431"/>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2E0F9E-1B89-1A44-B589-26AED4514D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627579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6275790"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863600"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sp>
        <p:nvSpPr>
          <p:cNvPr id="12" name="Text Placeholder 18">
            <a:extLst>
              <a:ext uri="{FF2B5EF4-FFF2-40B4-BE49-F238E27FC236}">
                <a16:creationId xmlns:a16="http://schemas.microsoft.com/office/drawing/2014/main" id="{D7E715AC-2F65-9D48-9C31-DC2EA363E1D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3" name="Picture 12" descr="A picture containing food&#10;&#10;Description automatically generated">
            <a:extLst>
              <a:ext uri="{FF2B5EF4-FFF2-40B4-BE49-F238E27FC236}">
                <a16:creationId xmlns:a16="http://schemas.microsoft.com/office/drawing/2014/main" id="{AF90011C-BABB-F147-886E-E51EC07CEEA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65866685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860CE29-A07C-E24F-86E6-33E3860C48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2" name="Title 1">
            <a:extLst>
              <a:ext uri="{FF2B5EF4-FFF2-40B4-BE49-F238E27FC236}">
                <a16:creationId xmlns:a16="http://schemas.microsoft.com/office/drawing/2014/main" id="{DD80434B-45BC-724F-86CA-DB078C2762EE}"/>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2" name="Text Placeholder 9">
            <a:extLst>
              <a:ext uri="{FF2B5EF4-FFF2-40B4-BE49-F238E27FC236}">
                <a16:creationId xmlns:a16="http://schemas.microsoft.com/office/drawing/2014/main" id="{9A455E9F-B1B6-CC4B-ADB7-FE762C83FC00}"/>
              </a:ext>
            </a:extLst>
          </p:cNvPr>
          <p:cNvSpPr>
            <a:spLocks noGrp="1"/>
          </p:cNvSpPr>
          <p:nvPr>
            <p:ph type="body" sz="quarter" idx="14"/>
          </p:nvPr>
        </p:nvSpPr>
        <p:spPr>
          <a:xfrm>
            <a:off x="863601" y="1797052"/>
            <a:ext cx="1046479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683D25DA-F533-E449-9C72-EFA5288FF94C}"/>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14" name="Text Placeholder 10">
            <a:extLst>
              <a:ext uri="{FF2B5EF4-FFF2-40B4-BE49-F238E27FC236}">
                <a16:creationId xmlns:a16="http://schemas.microsoft.com/office/drawing/2014/main" id="{CA09709B-93D1-5846-BF92-D12943FA2C35}"/>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6" name="Text Placeholder 18">
            <a:extLst>
              <a:ext uri="{FF2B5EF4-FFF2-40B4-BE49-F238E27FC236}">
                <a16:creationId xmlns:a16="http://schemas.microsoft.com/office/drawing/2014/main" id="{7EF141EE-5539-1E48-B306-D1F0A858730F}"/>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9" name="Text Placeholder 18">
            <a:extLst>
              <a:ext uri="{FF2B5EF4-FFF2-40B4-BE49-F238E27FC236}">
                <a16:creationId xmlns:a16="http://schemas.microsoft.com/office/drawing/2014/main" id="{D6E552D1-BAD2-FC4B-AD94-43053B4ABC12}"/>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5" name="Picture 4" descr="A picture containing food&#10;&#10;Description automatically generated">
            <a:extLst>
              <a:ext uri="{FF2B5EF4-FFF2-40B4-BE49-F238E27FC236}">
                <a16:creationId xmlns:a16="http://schemas.microsoft.com/office/drawing/2014/main" id="{CF562FFE-D301-974C-A769-E835F8377A5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83193057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37DF505-FAF6-7A4F-BDF3-BDD09CAE27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userDrawn="1">
            <p:ph type="body" sz="quarter" idx="15"/>
          </p:nvPr>
        </p:nvSpPr>
        <p:spPr>
          <a:xfrm>
            <a:off x="6275790"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8">
            <a:extLst>
              <a:ext uri="{FF2B5EF4-FFF2-40B4-BE49-F238E27FC236}">
                <a16:creationId xmlns:a16="http://schemas.microsoft.com/office/drawing/2014/main" id="{468750AA-7237-184E-A7B9-579FE9B791F1}"/>
              </a:ext>
            </a:extLst>
          </p:cNvPr>
          <p:cNvSpPr>
            <a:spLocks noGrp="1"/>
          </p:cNvSpPr>
          <p:nvPr>
            <p:ph type="body" sz="quarter" idx="16" hasCustomPrompt="1"/>
          </p:nvPr>
        </p:nvSpPr>
        <p:spPr>
          <a:xfrm>
            <a:off x="863599" y="6436788"/>
            <a:ext cx="773253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35F48131-D77A-0B47-806E-66BEAA9F02E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5" name="Picture 14" descr="A picture containing food&#10;&#10;Description automatically generated">
            <a:extLst>
              <a:ext uri="{FF2B5EF4-FFF2-40B4-BE49-F238E27FC236}">
                <a16:creationId xmlns:a16="http://schemas.microsoft.com/office/drawing/2014/main" id="{736730F5-6A73-044A-85F1-02198CFBF2F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90671870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2BA6798-D065-0746-BEBD-1923E07F6D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p:ph type="body" sz="quarter" idx="15"/>
          </p:nvPr>
        </p:nvSpPr>
        <p:spPr>
          <a:xfrm>
            <a:off x="8842736"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A3818016-5C96-2B44-884F-78BB62E2084C}"/>
              </a:ext>
            </a:extLst>
          </p:cNvPr>
          <p:cNvSpPr>
            <a:spLocks noGrp="1"/>
          </p:cNvSpPr>
          <p:nvPr userDrawn="1">
            <p:ph type="body" sz="quarter" idx="17"/>
          </p:nvPr>
        </p:nvSpPr>
        <p:spPr>
          <a:xfrm>
            <a:off x="130170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1" name="Text Placeholder 18">
            <a:extLst>
              <a:ext uri="{FF2B5EF4-FFF2-40B4-BE49-F238E27FC236}">
                <a16:creationId xmlns:a16="http://schemas.microsoft.com/office/drawing/2014/main" id="{680852F8-925F-F747-9419-8ED70D56B858}"/>
              </a:ext>
            </a:extLst>
          </p:cNvPr>
          <p:cNvSpPr>
            <a:spLocks noGrp="1"/>
          </p:cNvSpPr>
          <p:nvPr>
            <p:ph type="body" sz="quarter" idx="18"/>
          </p:nvPr>
        </p:nvSpPr>
        <p:spPr>
          <a:xfrm>
            <a:off x="396767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3" name="Text Placeholder 18">
            <a:extLst>
              <a:ext uri="{FF2B5EF4-FFF2-40B4-BE49-F238E27FC236}">
                <a16:creationId xmlns:a16="http://schemas.microsoft.com/office/drawing/2014/main" id="{98DD4382-CCED-7C4E-85DC-CA00337C4B30}"/>
              </a:ext>
            </a:extLst>
          </p:cNvPr>
          <p:cNvSpPr>
            <a:spLocks noGrp="1"/>
          </p:cNvSpPr>
          <p:nvPr>
            <p:ph type="body" sz="quarter" idx="19"/>
          </p:nvPr>
        </p:nvSpPr>
        <p:spPr>
          <a:xfrm>
            <a:off x="661691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5" name="Text Placeholder 18">
            <a:extLst>
              <a:ext uri="{FF2B5EF4-FFF2-40B4-BE49-F238E27FC236}">
                <a16:creationId xmlns:a16="http://schemas.microsoft.com/office/drawing/2014/main" id="{0E053E3C-116F-A740-8A63-D11633115E2B}"/>
              </a:ext>
            </a:extLst>
          </p:cNvPr>
          <p:cNvSpPr>
            <a:spLocks noGrp="1"/>
          </p:cNvSpPr>
          <p:nvPr>
            <p:ph type="body" sz="quarter" idx="20"/>
          </p:nvPr>
        </p:nvSpPr>
        <p:spPr>
          <a:xfrm>
            <a:off x="928448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normalizeH="0"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0" name="Text Placeholder 9">
            <a:extLst>
              <a:ext uri="{FF2B5EF4-FFF2-40B4-BE49-F238E27FC236}">
                <a16:creationId xmlns:a16="http://schemas.microsoft.com/office/drawing/2014/main" id="{C8EACA12-8FC8-D944-8F1A-2ED7D797F39A}"/>
              </a:ext>
            </a:extLst>
          </p:cNvPr>
          <p:cNvSpPr>
            <a:spLocks noGrp="1"/>
          </p:cNvSpPr>
          <p:nvPr>
            <p:ph type="body" sz="quarter" idx="22"/>
          </p:nvPr>
        </p:nvSpPr>
        <p:spPr>
          <a:xfrm>
            <a:off x="3536755"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a:extLst>
              <a:ext uri="{FF2B5EF4-FFF2-40B4-BE49-F238E27FC236}">
                <a16:creationId xmlns:a16="http://schemas.microsoft.com/office/drawing/2014/main" id="{A5362241-D360-4341-B421-C79188810AEA}"/>
              </a:ext>
            </a:extLst>
          </p:cNvPr>
          <p:cNvSpPr>
            <a:spLocks noGrp="1"/>
          </p:cNvSpPr>
          <p:nvPr>
            <p:ph type="body" sz="quarter" idx="23"/>
          </p:nvPr>
        </p:nvSpPr>
        <p:spPr>
          <a:xfrm>
            <a:off x="6187189"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27" name="Text Placeholder 18">
            <a:extLst>
              <a:ext uri="{FF2B5EF4-FFF2-40B4-BE49-F238E27FC236}">
                <a16:creationId xmlns:a16="http://schemas.microsoft.com/office/drawing/2014/main" id="{9014FE69-157F-3845-AA60-171FEC92227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9" name="Picture 28" descr="A picture containing food&#10;&#10;Description automatically generated">
            <a:extLst>
              <a:ext uri="{FF2B5EF4-FFF2-40B4-BE49-F238E27FC236}">
                <a16:creationId xmlns:a16="http://schemas.microsoft.com/office/drawing/2014/main" id="{1D46319A-51C9-1A4C-976D-5DBFF1BD42B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25629152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8A6D4D4-8209-3345-A637-D0217991F8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31" name="Rounded Rectangle 30">
            <a:extLst>
              <a:ext uri="{FF2B5EF4-FFF2-40B4-BE49-F238E27FC236}">
                <a16:creationId xmlns:a16="http://schemas.microsoft.com/office/drawing/2014/main" id="{7F7611B0-AEF8-294E-B9B5-36365DE4D6DE}"/>
              </a:ext>
            </a:extLst>
          </p:cNvPr>
          <p:cNvSpPr/>
          <p:nvPr userDrawn="1"/>
        </p:nvSpPr>
        <p:spPr>
          <a:xfrm>
            <a:off x="863601"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2" name="Text Placeholder 9">
            <a:extLst>
              <a:ext uri="{FF2B5EF4-FFF2-40B4-BE49-F238E27FC236}">
                <a16:creationId xmlns:a16="http://schemas.microsoft.com/office/drawing/2014/main" id="{93D6D5C0-A05A-594C-919D-81D4F19F3681}"/>
              </a:ext>
            </a:extLst>
          </p:cNvPr>
          <p:cNvSpPr>
            <a:spLocks noGrp="1"/>
          </p:cNvSpPr>
          <p:nvPr>
            <p:ph type="body" sz="quarter" idx="24"/>
          </p:nvPr>
        </p:nvSpPr>
        <p:spPr>
          <a:xfrm>
            <a:off x="1103704"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
            <a:extLst>
              <a:ext uri="{FF2B5EF4-FFF2-40B4-BE49-F238E27FC236}">
                <a16:creationId xmlns:a16="http://schemas.microsoft.com/office/drawing/2014/main" id="{9B550DAC-D03A-BB46-9632-38951808369F}"/>
              </a:ext>
            </a:extLst>
          </p:cNvPr>
          <p:cNvSpPr>
            <a:spLocks noGrp="1"/>
          </p:cNvSpPr>
          <p:nvPr>
            <p:ph type="body" sz="quarter" idx="16" hasCustomPrompt="1"/>
          </p:nvPr>
        </p:nvSpPr>
        <p:spPr>
          <a:xfrm>
            <a:off x="863602"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4" name="Rectangle 33">
            <a:extLst>
              <a:ext uri="{FF2B5EF4-FFF2-40B4-BE49-F238E27FC236}">
                <a16:creationId xmlns:a16="http://schemas.microsoft.com/office/drawing/2014/main" id="{F7785605-5E70-484D-852E-E62D263C437A}"/>
              </a:ext>
            </a:extLst>
          </p:cNvPr>
          <p:cNvSpPr/>
          <p:nvPr userDrawn="1"/>
        </p:nvSpPr>
        <p:spPr>
          <a:xfrm>
            <a:off x="863602"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6" name="Rounded Rectangle 35">
            <a:extLst>
              <a:ext uri="{FF2B5EF4-FFF2-40B4-BE49-F238E27FC236}">
                <a16:creationId xmlns:a16="http://schemas.microsoft.com/office/drawing/2014/main" id="{E2CAB3FA-A240-1544-9F00-90FED28AEDD4}"/>
              </a:ext>
            </a:extLst>
          </p:cNvPr>
          <p:cNvSpPr/>
          <p:nvPr userDrawn="1"/>
        </p:nvSpPr>
        <p:spPr>
          <a:xfrm>
            <a:off x="8832746"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7" name="Text Placeholder 9">
            <a:extLst>
              <a:ext uri="{FF2B5EF4-FFF2-40B4-BE49-F238E27FC236}">
                <a16:creationId xmlns:a16="http://schemas.microsoft.com/office/drawing/2014/main" id="{85DE3F2F-40CA-514E-A735-725DC8A9858E}"/>
              </a:ext>
            </a:extLst>
          </p:cNvPr>
          <p:cNvSpPr>
            <a:spLocks noGrp="1"/>
          </p:cNvSpPr>
          <p:nvPr>
            <p:ph type="body" sz="quarter" idx="25"/>
          </p:nvPr>
        </p:nvSpPr>
        <p:spPr>
          <a:xfrm>
            <a:off x="9072849"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2">
            <a:extLst>
              <a:ext uri="{FF2B5EF4-FFF2-40B4-BE49-F238E27FC236}">
                <a16:creationId xmlns:a16="http://schemas.microsoft.com/office/drawing/2014/main" id="{AE33E935-9726-AE4A-90AB-D0454CEE6C1E}"/>
              </a:ext>
            </a:extLst>
          </p:cNvPr>
          <p:cNvSpPr>
            <a:spLocks noGrp="1"/>
          </p:cNvSpPr>
          <p:nvPr>
            <p:ph type="body" sz="quarter" idx="26" hasCustomPrompt="1"/>
          </p:nvPr>
        </p:nvSpPr>
        <p:spPr>
          <a:xfrm>
            <a:off x="8832747"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9" name="Rectangle 38">
            <a:extLst>
              <a:ext uri="{FF2B5EF4-FFF2-40B4-BE49-F238E27FC236}">
                <a16:creationId xmlns:a16="http://schemas.microsoft.com/office/drawing/2014/main" id="{13D0C71D-BF52-AD40-8CEC-51F5CEFBC8B7}"/>
              </a:ext>
            </a:extLst>
          </p:cNvPr>
          <p:cNvSpPr/>
          <p:nvPr userDrawn="1"/>
        </p:nvSpPr>
        <p:spPr>
          <a:xfrm>
            <a:off x="8832747"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0" name="Rounded Rectangle 39">
            <a:extLst>
              <a:ext uri="{FF2B5EF4-FFF2-40B4-BE49-F238E27FC236}">
                <a16:creationId xmlns:a16="http://schemas.microsoft.com/office/drawing/2014/main" id="{9BD885CE-38EA-414B-871F-D34C618F7798}"/>
              </a:ext>
            </a:extLst>
          </p:cNvPr>
          <p:cNvSpPr/>
          <p:nvPr userDrawn="1"/>
        </p:nvSpPr>
        <p:spPr>
          <a:xfrm>
            <a:off x="6177199"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1" name="Text Placeholder 9">
            <a:extLst>
              <a:ext uri="{FF2B5EF4-FFF2-40B4-BE49-F238E27FC236}">
                <a16:creationId xmlns:a16="http://schemas.microsoft.com/office/drawing/2014/main" id="{5AA70F9F-715E-604A-9F09-1E2D9F0E7728}"/>
              </a:ext>
            </a:extLst>
          </p:cNvPr>
          <p:cNvSpPr>
            <a:spLocks noGrp="1"/>
          </p:cNvSpPr>
          <p:nvPr>
            <p:ph type="body" sz="quarter" idx="27"/>
          </p:nvPr>
        </p:nvSpPr>
        <p:spPr>
          <a:xfrm>
            <a:off x="6417302"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2">
            <a:extLst>
              <a:ext uri="{FF2B5EF4-FFF2-40B4-BE49-F238E27FC236}">
                <a16:creationId xmlns:a16="http://schemas.microsoft.com/office/drawing/2014/main" id="{B47E00C1-754D-024B-BCE6-1DB1A85C3B78}"/>
              </a:ext>
            </a:extLst>
          </p:cNvPr>
          <p:cNvSpPr>
            <a:spLocks noGrp="1"/>
          </p:cNvSpPr>
          <p:nvPr>
            <p:ph type="body" sz="quarter" idx="28" hasCustomPrompt="1"/>
          </p:nvPr>
        </p:nvSpPr>
        <p:spPr>
          <a:xfrm>
            <a:off x="6177201"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3" name="Rectangle 42">
            <a:extLst>
              <a:ext uri="{FF2B5EF4-FFF2-40B4-BE49-F238E27FC236}">
                <a16:creationId xmlns:a16="http://schemas.microsoft.com/office/drawing/2014/main" id="{E2DEAA2F-6124-5345-9CF4-2E835CCDE9C8}"/>
              </a:ext>
            </a:extLst>
          </p:cNvPr>
          <p:cNvSpPr/>
          <p:nvPr userDrawn="1"/>
        </p:nvSpPr>
        <p:spPr>
          <a:xfrm>
            <a:off x="6177200"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9" name="Rounded Rectangle 48">
            <a:extLst>
              <a:ext uri="{FF2B5EF4-FFF2-40B4-BE49-F238E27FC236}">
                <a16:creationId xmlns:a16="http://schemas.microsoft.com/office/drawing/2014/main" id="{FCDCC53D-2C00-D34B-B93B-F91346938C44}"/>
              </a:ext>
            </a:extLst>
          </p:cNvPr>
          <p:cNvSpPr/>
          <p:nvPr userDrawn="1"/>
        </p:nvSpPr>
        <p:spPr>
          <a:xfrm>
            <a:off x="3518793"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0" name="Text Placeholder 9">
            <a:extLst>
              <a:ext uri="{FF2B5EF4-FFF2-40B4-BE49-F238E27FC236}">
                <a16:creationId xmlns:a16="http://schemas.microsoft.com/office/drawing/2014/main" id="{7F8FE733-3114-0E47-BE26-3D8F5F08FEE4}"/>
              </a:ext>
            </a:extLst>
          </p:cNvPr>
          <p:cNvSpPr>
            <a:spLocks noGrp="1"/>
          </p:cNvSpPr>
          <p:nvPr>
            <p:ph type="body" sz="quarter" idx="29"/>
          </p:nvPr>
        </p:nvSpPr>
        <p:spPr>
          <a:xfrm>
            <a:off x="3758896"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
            <a:extLst>
              <a:ext uri="{FF2B5EF4-FFF2-40B4-BE49-F238E27FC236}">
                <a16:creationId xmlns:a16="http://schemas.microsoft.com/office/drawing/2014/main" id="{22B555CE-4667-2F4F-84E2-67951FC1DCEC}"/>
              </a:ext>
            </a:extLst>
          </p:cNvPr>
          <p:cNvSpPr>
            <a:spLocks noGrp="1"/>
          </p:cNvSpPr>
          <p:nvPr>
            <p:ph type="body" sz="quarter" idx="30" hasCustomPrompt="1"/>
          </p:nvPr>
        </p:nvSpPr>
        <p:spPr>
          <a:xfrm>
            <a:off x="3518794"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2" name="Rectangle 51">
            <a:extLst>
              <a:ext uri="{FF2B5EF4-FFF2-40B4-BE49-F238E27FC236}">
                <a16:creationId xmlns:a16="http://schemas.microsoft.com/office/drawing/2014/main" id="{FFB30E6E-8CDE-F144-90FA-7D85002BD66E}"/>
              </a:ext>
            </a:extLst>
          </p:cNvPr>
          <p:cNvSpPr/>
          <p:nvPr userDrawn="1"/>
        </p:nvSpPr>
        <p:spPr>
          <a:xfrm>
            <a:off x="3518794"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3" name="Straight Connector 52">
            <a:extLst>
              <a:ext uri="{FF2B5EF4-FFF2-40B4-BE49-F238E27FC236}">
                <a16:creationId xmlns:a16="http://schemas.microsoft.com/office/drawing/2014/main" id="{37854BBA-939F-F844-BEC1-E1C866928E11}"/>
              </a:ext>
            </a:extLst>
          </p:cNvPr>
          <p:cNvCxnSpPr>
            <a:cxnSpLocks/>
          </p:cNvCxnSpPr>
          <p:nvPr userDrawn="1"/>
        </p:nvCxnSpPr>
        <p:spPr>
          <a:xfrm>
            <a:off x="863600"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EA6D89C-E52A-4141-813F-0D60B78B3973}"/>
              </a:ext>
            </a:extLst>
          </p:cNvPr>
          <p:cNvCxnSpPr>
            <a:cxnSpLocks/>
          </p:cNvCxnSpPr>
          <p:nvPr userDrawn="1"/>
        </p:nvCxnSpPr>
        <p:spPr>
          <a:xfrm>
            <a:off x="3512839"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5AF21D6-BB36-CB49-AD04-2ECEAEC1CF60}"/>
              </a:ext>
            </a:extLst>
          </p:cNvPr>
          <p:cNvCxnSpPr>
            <a:cxnSpLocks/>
          </p:cNvCxnSpPr>
          <p:nvPr userDrawn="1"/>
        </p:nvCxnSpPr>
        <p:spPr>
          <a:xfrm>
            <a:off x="61804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242FCC4-A226-E142-B41A-468507FFB947}"/>
              </a:ext>
            </a:extLst>
          </p:cNvPr>
          <p:cNvCxnSpPr>
            <a:cxnSpLocks/>
          </p:cNvCxnSpPr>
          <p:nvPr userDrawn="1"/>
        </p:nvCxnSpPr>
        <p:spPr>
          <a:xfrm>
            <a:off x="88419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8" name="Text Placeholder 18">
            <a:extLst>
              <a:ext uri="{FF2B5EF4-FFF2-40B4-BE49-F238E27FC236}">
                <a16:creationId xmlns:a16="http://schemas.microsoft.com/office/drawing/2014/main" id="{48762971-3C37-D649-8FF2-3A25E28ECA27}"/>
              </a:ext>
            </a:extLst>
          </p:cNvPr>
          <p:cNvSpPr>
            <a:spLocks noGrp="1"/>
          </p:cNvSpPr>
          <p:nvPr>
            <p:ph type="body" sz="quarter" idx="31"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5" name="Picture 34" descr="A picture containing food&#10;&#10;Description automatically generated">
            <a:extLst>
              <a:ext uri="{FF2B5EF4-FFF2-40B4-BE49-F238E27FC236}">
                <a16:creationId xmlns:a16="http://schemas.microsoft.com/office/drawing/2014/main" id="{12D49F86-BDDB-DD43-9209-80C4DF2FBE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78574720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EF4E8F0-E43E-A74C-91E1-6E1FD8D1E7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0" name="Rounded Rectangle 19">
            <a:extLst>
              <a:ext uri="{FF2B5EF4-FFF2-40B4-BE49-F238E27FC236}">
                <a16:creationId xmlns:a16="http://schemas.microsoft.com/office/drawing/2014/main" id="{2499861F-00E2-1148-B38A-E12B8B2BF820}"/>
              </a:ext>
            </a:extLst>
          </p:cNvPr>
          <p:cNvSpPr/>
          <p:nvPr userDrawn="1"/>
        </p:nvSpPr>
        <p:spPr>
          <a:xfrm>
            <a:off x="863600"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1210349"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042DEF93-380D-3B47-9E80-5662FED8C0B3}"/>
              </a:ext>
            </a:extLst>
          </p:cNvPr>
          <p:cNvSpPr>
            <a:spLocks noGrp="1"/>
          </p:cNvSpPr>
          <p:nvPr>
            <p:ph type="body" sz="quarter" idx="17" hasCustomPrompt="1"/>
          </p:nvPr>
        </p:nvSpPr>
        <p:spPr>
          <a:xfrm>
            <a:off x="863602"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23" name="Rectangle 22">
            <a:extLst>
              <a:ext uri="{FF2B5EF4-FFF2-40B4-BE49-F238E27FC236}">
                <a16:creationId xmlns:a16="http://schemas.microsoft.com/office/drawing/2014/main" id="{BA20C2B7-C762-0745-A0C1-322189BEDABC}"/>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4" name="Straight Connector 23">
            <a:extLst>
              <a:ext uri="{FF2B5EF4-FFF2-40B4-BE49-F238E27FC236}">
                <a16:creationId xmlns:a16="http://schemas.microsoft.com/office/drawing/2014/main" id="{BA8C81C5-38CC-1747-88CF-619160A4AA6D}"/>
              </a:ext>
            </a:extLst>
          </p:cNvPr>
          <p:cNvCxnSpPr>
            <a:cxnSpLocks/>
          </p:cNvCxnSpPr>
          <p:nvPr userDrawn="1"/>
        </p:nvCxnSpPr>
        <p:spPr>
          <a:xfrm>
            <a:off x="863601"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AF47650E-BC51-E04D-931C-6D33E554D71D}"/>
              </a:ext>
            </a:extLst>
          </p:cNvPr>
          <p:cNvSpPr/>
          <p:nvPr userDrawn="1"/>
        </p:nvSpPr>
        <p:spPr>
          <a:xfrm>
            <a:off x="6275789"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7E282F56-A7E9-B44A-98D8-8D640527D4DB}"/>
              </a:ext>
            </a:extLst>
          </p:cNvPr>
          <p:cNvSpPr>
            <a:spLocks noGrp="1"/>
          </p:cNvSpPr>
          <p:nvPr>
            <p:ph type="body" sz="quarter" idx="18"/>
          </p:nvPr>
        </p:nvSpPr>
        <p:spPr>
          <a:xfrm>
            <a:off x="6622538"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
            <a:extLst>
              <a:ext uri="{FF2B5EF4-FFF2-40B4-BE49-F238E27FC236}">
                <a16:creationId xmlns:a16="http://schemas.microsoft.com/office/drawing/2014/main" id="{64F90CFB-8BA0-C64A-AC81-45A7C7333E59}"/>
              </a:ext>
            </a:extLst>
          </p:cNvPr>
          <p:cNvSpPr>
            <a:spLocks noGrp="1"/>
          </p:cNvSpPr>
          <p:nvPr>
            <p:ph type="body" sz="quarter" idx="19" hasCustomPrompt="1"/>
          </p:nvPr>
        </p:nvSpPr>
        <p:spPr>
          <a:xfrm>
            <a:off x="6275791"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DD05F69A-30E4-8D4C-9B3D-829782E15F84}"/>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A747264E-E94F-9044-B27E-E74ED1400239}"/>
              </a:ext>
            </a:extLst>
          </p:cNvPr>
          <p:cNvCxnSpPr>
            <a:cxnSpLocks/>
          </p:cNvCxnSpPr>
          <p:nvPr userDrawn="1"/>
        </p:nvCxnSpPr>
        <p:spPr>
          <a:xfrm>
            <a:off x="6275790"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6E4D2569-7DD1-1241-B244-4BA0A18AC9D6}"/>
              </a:ext>
            </a:extLst>
          </p:cNvPr>
          <p:cNvSpPr>
            <a:spLocks noGrp="1"/>
          </p:cNvSpPr>
          <p:nvPr>
            <p:ph type="body" sz="quarter" idx="13" hasCustomPrompt="1"/>
          </p:nvPr>
        </p:nvSpPr>
        <p:spPr>
          <a:xfrm>
            <a:off x="863599" y="6436788"/>
            <a:ext cx="794087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7" name="Text Placeholder 18">
            <a:extLst>
              <a:ext uri="{FF2B5EF4-FFF2-40B4-BE49-F238E27FC236}">
                <a16:creationId xmlns:a16="http://schemas.microsoft.com/office/drawing/2014/main" id="{411BDA96-5809-5341-BAD3-9F7BB3E2FBF6}"/>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9" name="Text Placeholder 8">
            <a:extLst>
              <a:ext uri="{FF2B5EF4-FFF2-40B4-BE49-F238E27FC236}">
                <a16:creationId xmlns:a16="http://schemas.microsoft.com/office/drawing/2014/main" id="{D2395642-DBA4-1140-9D7A-1389F8A55EF0}"/>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pic>
        <p:nvPicPr>
          <p:cNvPr id="26" name="Picture 25" descr="A picture containing food&#10;&#10;Description automatically generated">
            <a:extLst>
              <a:ext uri="{FF2B5EF4-FFF2-40B4-BE49-F238E27FC236}">
                <a16:creationId xmlns:a16="http://schemas.microsoft.com/office/drawing/2014/main" id="{1F5EA692-C4E3-514C-98CC-90CE83146E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06563130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68FC3FB0-CF43-D541-A532-3CFC6D2DAA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118687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65E05213-E9A3-5A4D-A76C-3CC50B0AB28A}"/>
              </a:ext>
            </a:extLst>
          </p:cNvPr>
          <p:cNvSpPr>
            <a:spLocks noGrp="1"/>
          </p:cNvSpPr>
          <p:nvPr>
            <p:ph type="body" sz="quarter" idx="16" hasCustomPrompt="1"/>
          </p:nvPr>
        </p:nvSpPr>
        <p:spPr>
          <a:xfrm>
            <a:off x="863602"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4" name="Rectangle 23">
            <a:extLst>
              <a:ext uri="{FF2B5EF4-FFF2-40B4-BE49-F238E27FC236}">
                <a16:creationId xmlns:a16="http://schemas.microsoft.com/office/drawing/2014/main" id="{60417850-FA45-B549-AD14-868BE1ED9F18}"/>
              </a:ext>
            </a:extLst>
          </p:cNvPr>
          <p:cNvSpPr/>
          <p:nvPr userDrawn="1"/>
        </p:nvSpPr>
        <p:spPr>
          <a:xfrm>
            <a:off x="86360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5" name="Straight Connector 24">
            <a:extLst>
              <a:ext uri="{FF2B5EF4-FFF2-40B4-BE49-F238E27FC236}">
                <a16:creationId xmlns:a16="http://schemas.microsoft.com/office/drawing/2014/main" id="{6D4DA29B-4AE0-4D46-9E0C-DE58C9059C0C}"/>
              </a:ext>
            </a:extLst>
          </p:cNvPr>
          <p:cNvCxnSpPr>
            <a:cxnSpLocks/>
          </p:cNvCxnSpPr>
          <p:nvPr userDrawn="1"/>
        </p:nvCxnSpPr>
        <p:spPr>
          <a:xfrm>
            <a:off x="863600"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3" name="Text Placeholder 9">
            <a:extLst>
              <a:ext uri="{FF2B5EF4-FFF2-40B4-BE49-F238E27FC236}">
                <a16:creationId xmlns:a16="http://schemas.microsoft.com/office/drawing/2014/main" id="{6BE9C0CC-593B-CC48-A2EF-0A2E34839697}"/>
              </a:ext>
            </a:extLst>
          </p:cNvPr>
          <p:cNvSpPr>
            <a:spLocks noGrp="1"/>
          </p:cNvSpPr>
          <p:nvPr>
            <p:ph type="body" sz="quarter" idx="17"/>
          </p:nvPr>
        </p:nvSpPr>
        <p:spPr>
          <a:xfrm>
            <a:off x="4752803"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a:extLst>
              <a:ext uri="{FF2B5EF4-FFF2-40B4-BE49-F238E27FC236}">
                <a16:creationId xmlns:a16="http://schemas.microsoft.com/office/drawing/2014/main" id="{A6F7B96B-AC5A-3348-9FAC-C9EC6B90D918}"/>
              </a:ext>
            </a:extLst>
          </p:cNvPr>
          <p:cNvSpPr>
            <a:spLocks noGrp="1"/>
          </p:cNvSpPr>
          <p:nvPr>
            <p:ph type="body" sz="quarter" idx="18" hasCustomPrompt="1"/>
          </p:nvPr>
        </p:nvSpPr>
        <p:spPr>
          <a:xfrm>
            <a:off x="4429534"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22AA3D2D-FAB7-D648-A95A-8E8FB2EEA1AF}"/>
              </a:ext>
            </a:extLst>
          </p:cNvPr>
          <p:cNvSpPr/>
          <p:nvPr userDrawn="1"/>
        </p:nvSpPr>
        <p:spPr>
          <a:xfrm>
            <a:off x="4429533"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205B53C4-6BCC-9F41-8DC6-C1C441D5CEFF}"/>
              </a:ext>
            </a:extLst>
          </p:cNvPr>
          <p:cNvCxnSpPr>
            <a:cxnSpLocks/>
          </p:cNvCxnSpPr>
          <p:nvPr userDrawn="1"/>
        </p:nvCxnSpPr>
        <p:spPr>
          <a:xfrm>
            <a:off x="4429532"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3" name="Text Placeholder 9">
            <a:extLst>
              <a:ext uri="{FF2B5EF4-FFF2-40B4-BE49-F238E27FC236}">
                <a16:creationId xmlns:a16="http://schemas.microsoft.com/office/drawing/2014/main" id="{C6527C99-B704-3948-A8EB-E762CC3DC870}"/>
              </a:ext>
            </a:extLst>
          </p:cNvPr>
          <p:cNvSpPr>
            <a:spLocks noGrp="1"/>
          </p:cNvSpPr>
          <p:nvPr>
            <p:ph type="body" sz="quarter" idx="19"/>
          </p:nvPr>
        </p:nvSpPr>
        <p:spPr>
          <a:xfrm>
            <a:off x="830040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2">
            <a:extLst>
              <a:ext uri="{FF2B5EF4-FFF2-40B4-BE49-F238E27FC236}">
                <a16:creationId xmlns:a16="http://schemas.microsoft.com/office/drawing/2014/main" id="{1759688E-CD1B-B540-B666-B135DBCD6DAE}"/>
              </a:ext>
            </a:extLst>
          </p:cNvPr>
          <p:cNvSpPr>
            <a:spLocks noGrp="1"/>
          </p:cNvSpPr>
          <p:nvPr>
            <p:ph type="body" sz="quarter" idx="20" hasCustomPrompt="1"/>
          </p:nvPr>
        </p:nvSpPr>
        <p:spPr>
          <a:xfrm>
            <a:off x="7977131"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45" name="Rectangle 44">
            <a:extLst>
              <a:ext uri="{FF2B5EF4-FFF2-40B4-BE49-F238E27FC236}">
                <a16:creationId xmlns:a16="http://schemas.microsoft.com/office/drawing/2014/main" id="{CBBB20A2-9C1B-9B4E-90FE-1034AF294ECD}"/>
              </a:ext>
            </a:extLst>
          </p:cNvPr>
          <p:cNvSpPr/>
          <p:nvPr userDrawn="1"/>
        </p:nvSpPr>
        <p:spPr>
          <a:xfrm>
            <a:off x="797713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B5FE0ADB-0F95-C24C-98B6-0975C8F64CD4}"/>
              </a:ext>
            </a:extLst>
          </p:cNvPr>
          <p:cNvCxnSpPr>
            <a:cxnSpLocks/>
          </p:cNvCxnSpPr>
          <p:nvPr userDrawn="1"/>
        </p:nvCxnSpPr>
        <p:spPr>
          <a:xfrm>
            <a:off x="7977129"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Text Placeholder 18">
            <a:extLst>
              <a:ext uri="{FF2B5EF4-FFF2-40B4-BE49-F238E27FC236}">
                <a16:creationId xmlns:a16="http://schemas.microsoft.com/office/drawing/2014/main" id="{9F3F5BE7-6635-F941-8B5E-750365C7E379}"/>
              </a:ext>
            </a:extLst>
          </p:cNvPr>
          <p:cNvSpPr>
            <a:spLocks noGrp="1"/>
          </p:cNvSpPr>
          <p:nvPr>
            <p:ph type="body" sz="quarter" idx="21" hasCustomPrompt="1"/>
          </p:nvPr>
        </p:nvSpPr>
        <p:spPr>
          <a:xfrm>
            <a:off x="863600" y="6436788"/>
            <a:ext cx="788686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2" name="Text Placeholder 18">
            <a:extLst>
              <a:ext uri="{FF2B5EF4-FFF2-40B4-BE49-F238E27FC236}">
                <a16:creationId xmlns:a16="http://schemas.microsoft.com/office/drawing/2014/main" id="{318FA5D8-1B42-C544-B87A-65D4F2C26BB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6" name="Picture 25" descr="A picture containing food&#10;&#10;Description automatically generated">
            <a:extLst>
              <a:ext uri="{FF2B5EF4-FFF2-40B4-BE49-F238E27FC236}">
                <a16:creationId xmlns:a16="http://schemas.microsoft.com/office/drawing/2014/main" id="{83283C0E-634B-F243-BF1E-CA70CA3688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88383629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9670A263-B582-FE40-BD7E-C4DCD3E0B74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32" name="Rounded Rectangle 31">
            <a:extLst>
              <a:ext uri="{FF2B5EF4-FFF2-40B4-BE49-F238E27FC236}">
                <a16:creationId xmlns:a16="http://schemas.microsoft.com/office/drawing/2014/main" id="{F9563CBF-5735-6447-A93D-0D4AFA601026}"/>
              </a:ext>
            </a:extLst>
          </p:cNvPr>
          <p:cNvSpPr/>
          <p:nvPr userDrawn="1"/>
        </p:nvSpPr>
        <p:spPr>
          <a:xfrm>
            <a:off x="863600"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3" name="Text Placeholder 9">
            <a:extLst>
              <a:ext uri="{FF2B5EF4-FFF2-40B4-BE49-F238E27FC236}">
                <a16:creationId xmlns:a16="http://schemas.microsoft.com/office/drawing/2014/main" id="{249D3357-0AE1-4F41-BAB8-A10DCDD2B4DC}"/>
              </a:ext>
            </a:extLst>
          </p:cNvPr>
          <p:cNvSpPr>
            <a:spLocks noGrp="1"/>
          </p:cNvSpPr>
          <p:nvPr>
            <p:ph type="body" sz="quarter" idx="18"/>
          </p:nvPr>
        </p:nvSpPr>
        <p:spPr>
          <a:xfrm>
            <a:off x="1210349"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4" name="Text Placeholder 2">
            <a:extLst>
              <a:ext uri="{FF2B5EF4-FFF2-40B4-BE49-F238E27FC236}">
                <a16:creationId xmlns:a16="http://schemas.microsoft.com/office/drawing/2014/main" id="{1046F5D6-5875-AD43-8F9B-656508FD1436}"/>
              </a:ext>
            </a:extLst>
          </p:cNvPr>
          <p:cNvSpPr>
            <a:spLocks noGrp="1"/>
          </p:cNvSpPr>
          <p:nvPr>
            <p:ph type="body" sz="quarter" idx="19" hasCustomPrompt="1"/>
          </p:nvPr>
        </p:nvSpPr>
        <p:spPr>
          <a:xfrm>
            <a:off x="863602"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A8C20629-DF0F-2A4C-93E4-004CED5DE1B0}"/>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C8019043-5300-8C49-8542-A1B1C5350662}"/>
              </a:ext>
            </a:extLst>
          </p:cNvPr>
          <p:cNvCxnSpPr>
            <a:cxnSpLocks/>
          </p:cNvCxnSpPr>
          <p:nvPr userDrawn="1"/>
        </p:nvCxnSpPr>
        <p:spPr>
          <a:xfrm>
            <a:off x="863601"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7" name="Rounded Rectangle 36">
            <a:extLst>
              <a:ext uri="{FF2B5EF4-FFF2-40B4-BE49-F238E27FC236}">
                <a16:creationId xmlns:a16="http://schemas.microsoft.com/office/drawing/2014/main" id="{4EB59C99-B5FF-F046-94EF-7C45AB324076}"/>
              </a:ext>
            </a:extLst>
          </p:cNvPr>
          <p:cNvSpPr/>
          <p:nvPr userDrawn="1"/>
        </p:nvSpPr>
        <p:spPr>
          <a:xfrm>
            <a:off x="6275789"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8" name="Text Placeholder 9">
            <a:extLst>
              <a:ext uri="{FF2B5EF4-FFF2-40B4-BE49-F238E27FC236}">
                <a16:creationId xmlns:a16="http://schemas.microsoft.com/office/drawing/2014/main" id="{26494BA1-9106-434A-B9C6-4051B09B390C}"/>
              </a:ext>
            </a:extLst>
          </p:cNvPr>
          <p:cNvSpPr>
            <a:spLocks noGrp="1"/>
          </p:cNvSpPr>
          <p:nvPr>
            <p:ph type="body" sz="quarter" idx="20"/>
          </p:nvPr>
        </p:nvSpPr>
        <p:spPr>
          <a:xfrm>
            <a:off x="6622538"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marL="139197" marR="0" lvl="0" indent="-139197" algn="l" defTabSz="914377" rtl="0" eaLnBrk="1" fontAlgn="auto" latinLnBrk="0" hangingPunct="1">
              <a:lnSpc>
                <a:spcPct val="90000"/>
              </a:lnSpc>
              <a:spcBef>
                <a:spcPts val="1000"/>
              </a:spcBef>
              <a:spcAft>
                <a:spcPts val="800"/>
              </a:spcAft>
              <a:buClr>
                <a:schemeClr val="accent2"/>
              </a:buClr>
              <a:buSzTx/>
              <a:buFont typeface="Arial" panose="020B0604020202020204" pitchFamily="34" charset="0"/>
              <a:buChar char="•"/>
              <a:tabLst/>
              <a:defRPr/>
            </a:pPr>
            <a:r>
              <a:rPr lang="en-US"/>
              <a:t>Edit Master text styles</a:t>
            </a:r>
          </a:p>
          <a:p>
            <a:pPr lvl="1"/>
            <a:r>
              <a:rPr lang="en-US"/>
              <a:t>Second level</a:t>
            </a:r>
          </a:p>
        </p:txBody>
      </p:sp>
      <p:sp>
        <p:nvSpPr>
          <p:cNvPr id="39" name="Text Placeholder 2">
            <a:extLst>
              <a:ext uri="{FF2B5EF4-FFF2-40B4-BE49-F238E27FC236}">
                <a16:creationId xmlns:a16="http://schemas.microsoft.com/office/drawing/2014/main" id="{C28240EA-EBCE-F842-ACD1-3E8EBFC37CB8}"/>
              </a:ext>
            </a:extLst>
          </p:cNvPr>
          <p:cNvSpPr>
            <a:spLocks noGrp="1"/>
          </p:cNvSpPr>
          <p:nvPr>
            <p:ph type="body" sz="quarter" idx="21" hasCustomPrompt="1"/>
          </p:nvPr>
        </p:nvSpPr>
        <p:spPr>
          <a:xfrm>
            <a:off x="6275791"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0" name="Rectangle 39">
            <a:extLst>
              <a:ext uri="{FF2B5EF4-FFF2-40B4-BE49-F238E27FC236}">
                <a16:creationId xmlns:a16="http://schemas.microsoft.com/office/drawing/2014/main" id="{167AAC37-D8DE-444C-A917-ECCD6FF197DB}"/>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1" name="Straight Connector 40">
            <a:extLst>
              <a:ext uri="{FF2B5EF4-FFF2-40B4-BE49-F238E27FC236}">
                <a16:creationId xmlns:a16="http://schemas.microsoft.com/office/drawing/2014/main" id="{A16DD487-CF6E-F046-B48E-0AADA528410A}"/>
              </a:ext>
            </a:extLst>
          </p:cNvPr>
          <p:cNvCxnSpPr>
            <a:cxnSpLocks/>
          </p:cNvCxnSpPr>
          <p:nvPr userDrawn="1"/>
        </p:nvCxnSpPr>
        <p:spPr>
          <a:xfrm>
            <a:off x="6275790"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68448A1C-51A0-B949-82E7-7CC2B1BC1999}"/>
              </a:ext>
            </a:extLst>
          </p:cNvPr>
          <p:cNvSpPr/>
          <p:nvPr userDrawn="1"/>
        </p:nvSpPr>
        <p:spPr>
          <a:xfrm>
            <a:off x="863600"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3" name="Text Placeholder 9">
            <a:extLst>
              <a:ext uri="{FF2B5EF4-FFF2-40B4-BE49-F238E27FC236}">
                <a16:creationId xmlns:a16="http://schemas.microsoft.com/office/drawing/2014/main" id="{EB7BFD81-9BE9-BF4A-B728-5CC78FB36F94}"/>
              </a:ext>
            </a:extLst>
          </p:cNvPr>
          <p:cNvSpPr>
            <a:spLocks noGrp="1"/>
          </p:cNvSpPr>
          <p:nvPr>
            <p:ph type="body" sz="quarter" idx="22"/>
          </p:nvPr>
        </p:nvSpPr>
        <p:spPr>
          <a:xfrm>
            <a:off x="1210349"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4" name="Text Placeholder 2">
            <a:extLst>
              <a:ext uri="{FF2B5EF4-FFF2-40B4-BE49-F238E27FC236}">
                <a16:creationId xmlns:a16="http://schemas.microsoft.com/office/drawing/2014/main" id="{46FD692E-0D7D-4846-B050-98C3F5840F0E}"/>
              </a:ext>
            </a:extLst>
          </p:cNvPr>
          <p:cNvSpPr>
            <a:spLocks noGrp="1"/>
          </p:cNvSpPr>
          <p:nvPr>
            <p:ph type="body" sz="quarter" idx="23" hasCustomPrompt="1"/>
          </p:nvPr>
        </p:nvSpPr>
        <p:spPr>
          <a:xfrm>
            <a:off x="863602"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5" name="Rectangle 44">
            <a:extLst>
              <a:ext uri="{FF2B5EF4-FFF2-40B4-BE49-F238E27FC236}">
                <a16:creationId xmlns:a16="http://schemas.microsoft.com/office/drawing/2014/main" id="{CBBEF0A7-763B-B940-AE76-BDA098AAE936}"/>
              </a:ext>
            </a:extLst>
          </p:cNvPr>
          <p:cNvSpPr/>
          <p:nvPr userDrawn="1"/>
        </p:nvSpPr>
        <p:spPr>
          <a:xfrm>
            <a:off x="863601"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8A771312-DCC6-B94F-B004-8E9DE59F70C9}"/>
              </a:ext>
            </a:extLst>
          </p:cNvPr>
          <p:cNvCxnSpPr>
            <a:cxnSpLocks/>
          </p:cNvCxnSpPr>
          <p:nvPr userDrawn="1"/>
        </p:nvCxnSpPr>
        <p:spPr>
          <a:xfrm>
            <a:off x="863601"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Rounded Rectangle 46">
            <a:extLst>
              <a:ext uri="{FF2B5EF4-FFF2-40B4-BE49-F238E27FC236}">
                <a16:creationId xmlns:a16="http://schemas.microsoft.com/office/drawing/2014/main" id="{6217734D-41E6-EC49-81D6-7F6E340EF91F}"/>
              </a:ext>
            </a:extLst>
          </p:cNvPr>
          <p:cNvSpPr/>
          <p:nvPr userDrawn="1"/>
        </p:nvSpPr>
        <p:spPr>
          <a:xfrm>
            <a:off x="6275789"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8" name="Text Placeholder 9">
            <a:extLst>
              <a:ext uri="{FF2B5EF4-FFF2-40B4-BE49-F238E27FC236}">
                <a16:creationId xmlns:a16="http://schemas.microsoft.com/office/drawing/2014/main" id="{61F89409-BFC5-464A-B894-FE92CD3B1CF5}"/>
              </a:ext>
            </a:extLst>
          </p:cNvPr>
          <p:cNvSpPr>
            <a:spLocks noGrp="1"/>
          </p:cNvSpPr>
          <p:nvPr>
            <p:ph type="body" sz="quarter" idx="24"/>
          </p:nvPr>
        </p:nvSpPr>
        <p:spPr>
          <a:xfrm>
            <a:off x="6622538"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9" name="Text Placeholder 2">
            <a:extLst>
              <a:ext uri="{FF2B5EF4-FFF2-40B4-BE49-F238E27FC236}">
                <a16:creationId xmlns:a16="http://schemas.microsoft.com/office/drawing/2014/main" id="{C156DF22-B940-3D43-A980-6CF14EFE2093}"/>
              </a:ext>
            </a:extLst>
          </p:cNvPr>
          <p:cNvSpPr>
            <a:spLocks noGrp="1"/>
          </p:cNvSpPr>
          <p:nvPr>
            <p:ph type="body" sz="quarter" idx="25" hasCustomPrompt="1"/>
          </p:nvPr>
        </p:nvSpPr>
        <p:spPr>
          <a:xfrm>
            <a:off x="6275791"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0" name="Rectangle 49">
            <a:extLst>
              <a:ext uri="{FF2B5EF4-FFF2-40B4-BE49-F238E27FC236}">
                <a16:creationId xmlns:a16="http://schemas.microsoft.com/office/drawing/2014/main" id="{BBAA0C18-140E-8C41-8199-68406BFCB914}"/>
              </a:ext>
            </a:extLst>
          </p:cNvPr>
          <p:cNvSpPr/>
          <p:nvPr userDrawn="1"/>
        </p:nvSpPr>
        <p:spPr>
          <a:xfrm>
            <a:off x="6275790"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1" name="Straight Connector 50">
            <a:extLst>
              <a:ext uri="{FF2B5EF4-FFF2-40B4-BE49-F238E27FC236}">
                <a16:creationId xmlns:a16="http://schemas.microsoft.com/office/drawing/2014/main" id="{77396826-4C94-F049-9A3C-722635B60709}"/>
              </a:ext>
            </a:extLst>
          </p:cNvPr>
          <p:cNvCxnSpPr>
            <a:cxnSpLocks/>
          </p:cNvCxnSpPr>
          <p:nvPr userDrawn="1"/>
        </p:nvCxnSpPr>
        <p:spPr>
          <a:xfrm>
            <a:off x="6275790"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4859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7" name="Title 1">
            <a:extLst>
              <a:ext uri="{FF2B5EF4-FFF2-40B4-BE49-F238E27FC236}">
                <a16:creationId xmlns:a16="http://schemas.microsoft.com/office/drawing/2014/main" id="{FD1C421C-78F1-4448-A619-55E0DC24C1E6}"/>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9" name="Text Placeholder 18">
            <a:extLst>
              <a:ext uri="{FF2B5EF4-FFF2-40B4-BE49-F238E27FC236}">
                <a16:creationId xmlns:a16="http://schemas.microsoft.com/office/drawing/2014/main" id="{A563FB27-CF07-3B44-840A-2AE6E576920C}"/>
              </a:ext>
            </a:extLst>
          </p:cNvPr>
          <p:cNvSpPr>
            <a:spLocks noGrp="1"/>
          </p:cNvSpPr>
          <p:nvPr>
            <p:ph type="body" sz="quarter" idx="2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1" name="Picture 30" descr="A picture containing food&#10;&#10;Description automatically generated">
            <a:extLst>
              <a:ext uri="{FF2B5EF4-FFF2-40B4-BE49-F238E27FC236}">
                <a16:creationId xmlns:a16="http://schemas.microsoft.com/office/drawing/2014/main" id="{58538397-5740-5641-9179-53714A648B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81934682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FAF84E0-0949-F840-A9B4-1521ADCBC1B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56309"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31" name="Text Placeholder 9">
            <a:extLst>
              <a:ext uri="{FF2B5EF4-FFF2-40B4-BE49-F238E27FC236}">
                <a16:creationId xmlns:a16="http://schemas.microsoft.com/office/drawing/2014/main" id="{7A87D5D9-86A7-8849-914E-249E506784C7}"/>
              </a:ext>
            </a:extLst>
          </p:cNvPr>
          <p:cNvSpPr>
            <a:spLocks noGrp="1"/>
          </p:cNvSpPr>
          <p:nvPr>
            <p:ph type="body" sz="quarter" idx="14"/>
          </p:nvPr>
        </p:nvSpPr>
        <p:spPr>
          <a:xfrm>
            <a:off x="863602"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A680962B-FBC1-9647-B4A1-88289458B734}"/>
              </a:ext>
            </a:extLst>
          </p:cNvPr>
          <p:cNvSpPr>
            <a:spLocks noGrp="1"/>
          </p:cNvSpPr>
          <p:nvPr>
            <p:ph type="body" sz="quarter" idx="30" hasCustomPrompt="1"/>
          </p:nvPr>
        </p:nvSpPr>
        <p:spPr>
          <a:xfrm>
            <a:off x="863602"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1" name="Text Placeholder 9">
            <a:extLst>
              <a:ext uri="{FF2B5EF4-FFF2-40B4-BE49-F238E27FC236}">
                <a16:creationId xmlns:a16="http://schemas.microsoft.com/office/drawing/2014/main" id="{FCDFBAC7-F0E7-DA46-91A5-892B642C9469}"/>
              </a:ext>
            </a:extLst>
          </p:cNvPr>
          <p:cNvSpPr>
            <a:spLocks noGrp="1"/>
          </p:cNvSpPr>
          <p:nvPr>
            <p:ph type="body" sz="quarter" idx="31"/>
          </p:nvPr>
        </p:nvSpPr>
        <p:spPr>
          <a:xfrm>
            <a:off x="6262915"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a:t>
            </a:r>
            <a:r>
              <a:rPr lang="en-US" err="1"/>
              <a:t>leve</a:t>
            </a:r>
            <a:endParaRPr lang="en-US"/>
          </a:p>
        </p:txBody>
      </p:sp>
      <p:sp>
        <p:nvSpPr>
          <p:cNvPr id="62" name="Text Placeholder 9">
            <a:extLst>
              <a:ext uri="{FF2B5EF4-FFF2-40B4-BE49-F238E27FC236}">
                <a16:creationId xmlns:a16="http://schemas.microsoft.com/office/drawing/2014/main" id="{7B136980-B961-E344-B037-CE91E072CEA1}"/>
              </a:ext>
            </a:extLst>
          </p:cNvPr>
          <p:cNvSpPr>
            <a:spLocks noGrp="1"/>
          </p:cNvSpPr>
          <p:nvPr>
            <p:ph type="body" sz="quarter" idx="32"/>
          </p:nvPr>
        </p:nvSpPr>
        <p:spPr>
          <a:xfrm>
            <a:off x="6262915"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3" name="Text Placeholder 9">
            <a:extLst>
              <a:ext uri="{FF2B5EF4-FFF2-40B4-BE49-F238E27FC236}">
                <a16:creationId xmlns:a16="http://schemas.microsoft.com/office/drawing/2014/main" id="{1CC64DD4-9725-AC4B-AF81-20A94999D28D}"/>
              </a:ext>
            </a:extLst>
          </p:cNvPr>
          <p:cNvSpPr>
            <a:spLocks noGrp="1"/>
          </p:cNvSpPr>
          <p:nvPr>
            <p:ph type="body" sz="quarter" idx="33"/>
          </p:nvPr>
        </p:nvSpPr>
        <p:spPr>
          <a:xfrm>
            <a:off x="863602"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4" name="Text Placeholder 9">
            <a:extLst>
              <a:ext uri="{FF2B5EF4-FFF2-40B4-BE49-F238E27FC236}">
                <a16:creationId xmlns:a16="http://schemas.microsoft.com/office/drawing/2014/main" id="{A935D7D4-BBC8-E446-8C28-6EB0C64BFDE7}"/>
              </a:ext>
            </a:extLst>
          </p:cNvPr>
          <p:cNvSpPr>
            <a:spLocks noGrp="1"/>
          </p:cNvSpPr>
          <p:nvPr>
            <p:ph type="body" sz="quarter" idx="34"/>
          </p:nvPr>
        </p:nvSpPr>
        <p:spPr>
          <a:xfrm>
            <a:off x="863602" y="3954283"/>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5" name="Text Placeholder 9">
            <a:extLst>
              <a:ext uri="{FF2B5EF4-FFF2-40B4-BE49-F238E27FC236}">
                <a16:creationId xmlns:a16="http://schemas.microsoft.com/office/drawing/2014/main" id="{39802B60-38D9-854E-B65D-91DC64263CA0}"/>
              </a:ext>
            </a:extLst>
          </p:cNvPr>
          <p:cNvSpPr>
            <a:spLocks noGrp="1"/>
          </p:cNvSpPr>
          <p:nvPr>
            <p:ph type="body" sz="quarter" idx="35"/>
          </p:nvPr>
        </p:nvSpPr>
        <p:spPr>
          <a:xfrm>
            <a:off x="6262915"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6" name="Text Placeholder 9">
            <a:extLst>
              <a:ext uri="{FF2B5EF4-FFF2-40B4-BE49-F238E27FC236}">
                <a16:creationId xmlns:a16="http://schemas.microsoft.com/office/drawing/2014/main" id="{555417B1-BB88-4E49-8E03-E3C2C2852149}"/>
              </a:ext>
            </a:extLst>
          </p:cNvPr>
          <p:cNvSpPr>
            <a:spLocks noGrp="1"/>
          </p:cNvSpPr>
          <p:nvPr>
            <p:ph type="body" sz="quarter" idx="36" hasCustomPrompt="1"/>
          </p:nvPr>
        </p:nvSpPr>
        <p:spPr>
          <a:xfrm>
            <a:off x="6262915" y="3854151"/>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7" name="Title 1">
            <a:extLst>
              <a:ext uri="{FF2B5EF4-FFF2-40B4-BE49-F238E27FC236}">
                <a16:creationId xmlns:a16="http://schemas.microsoft.com/office/drawing/2014/main" id="{0E4BF7D6-5186-EA48-A17C-60D39815141B}"/>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6" name="Text Placeholder 18">
            <a:extLst>
              <a:ext uri="{FF2B5EF4-FFF2-40B4-BE49-F238E27FC236}">
                <a16:creationId xmlns:a16="http://schemas.microsoft.com/office/drawing/2014/main" id="{D13F3180-DADD-1F4D-855F-78F1B16F2DC0}"/>
              </a:ext>
            </a:extLst>
          </p:cNvPr>
          <p:cNvSpPr>
            <a:spLocks noGrp="1"/>
          </p:cNvSpPr>
          <p:nvPr>
            <p:ph type="body" sz="quarter" idx="3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9" name="Picture 18" descr="A picture containing food&#10;&#10;Description automatically generated">
            <a:extLst>
              <a:ext uri="{FF2B5EF4-FFF2-40B4-BE49-F238E27FC236}">
                <a16:creationId xmlns:a16="http://schemas.microsoft.com/office/drawing/2014/main" id="{96E5E451-2BD1-3A49-8DED-E9FA81C45A2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25963580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6303" y="2204637"/>
            <a:ext cx="4752896" cy="1755648"/>
          </a:xfrm>
        </p:spPr>
        <p:txBody>
          <a:bodyPr/>
          <a:lstStyle/>
          <a:p>
            <a:r>
              <a:rPr lang="en-US"/>
              <a:t>Middle Aligned Title</a:t>
            </a:r>
          </a:p>
        </p:txBody>
      </p:sp>
      <p:sp>
        <p:nvSpPr>
          <p:cNvPr id="5" name="Content Placeholder 2">
            <a:extLst>
              <a:ext uri="{FF2B5EF4-FFF2-40B4-BE49-F238E27FC236}">
                <a16:creationId xmlns:a16="http://schemas.microsoft.com/office/drawing/2014/main" id="{253119B7-D23E-C442-8641-B3E1BAB3173C}"/>
              </a:ext>
            </a:extLst>
          </p:cNvPr>
          <p:cNvSpPr>
            <a:spLocks noGrp="1"/>
          </p:cNvSpPr>
          <p:nvPr>
            <p:ph idx="10" hasCustomPrompt="1"/>
          </p:nvPr>
        </p:nvSpPr>
        <p:spPr>
          <a:xfrm>
            <a:off x="5029199" y="1182915"/>
            <a:ext cx="6886497" cy="4073412"/>
          </a:xfrm>
        </p:spPr>
        <p:txBody>
          <a:bodyPr anchor="ctr"/>
          <a:lstStyle>
            <a:lvl1pPr marL="0" indent="0" algn="ctr">
              <a:lnSpc>
                <a:spcPct val="80000"/>
              </a:lnSpc>
              <a:spcBef>
                <a:spcPts val="1000"/>
              </a:spcBef>
              <a:buFont typeface="Arial" panose="020B0604020202020204" pitchFamily="34" charset="0"/>
              <a:buNone/>
              <a:defRPr sz="2000">
                <a:solidFill>
                  <a:schemeClr val="tx1">
                    <a:lumMod val="20000"/>
                    <a:lumOff val="80000"/>
                  </a:schemeClr>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Infographic / Diagram / Objective</a:t>
            </a:r>
          </a:p>
        </p:txBody>
      </p:sp>
    </p:spTree>
    <p:extLst>
      <p:ext uri="{BB962C8B-B14F-4D97-AF65-F5344CB8AC3E}">
        <p14:creationId xmlns:p14="http://schemas.microsoft.com/office/powerpoint/2010/main" val="95316610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5FB098-55A4-BA46-A9E1-D2D8D0008D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2800"/>
            <a:ext cx="5052604"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8"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E7DF1266-DFF3-1F47-9AF9-C4DB6C6FEA3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26061952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44C795-8967-2545-9806-79E6156E734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321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3"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79426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00E74B1D-D901-E84E-9EC7-49DF125A0785}"/>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993FBC66-A669-A64C-8C35-852C386C60C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0330828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696200C-4F23-AB48-98AA-F1C3718B478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7968299" y="152403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7968299"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801980"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24D5D6F4-BFDF-DB45-BE4F-24A1172D259B}"/>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4741AF9A-9588-8B45-A10C-A133D87E9D6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48573814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E2EE154-1D04-A944-85D3-3DCC3AF4DB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9">
            <a:extLst>
              <a:ext uri="{FF2B5EF4-FFF2-40B4-BE49-F238E27FC236}">
                <a16:creationId xmlns:a16="http://schemas.microsoft.com/office/drawing/2014/main" id="{DA53D7EC-8354-E14A-A7FA-81AD863786A4}"/>
              </a:ext>
            </a:extLst>
          </p:cNvPr>
          <p:cNvSpPr>
            <a:spLocks noGrp="1"/>
          </p:cNvSpPr>
          <p:nvPr>
            <p:ph type="body" sz="quarter" idx="17"/>
          </p:nvPr>
        </p:nvSpPr>
        <p:spPr>
          <a:xfrm>
            <a:off x="6272082" y="2456463"/>
            <a:ext cx="5050671"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8">
            <a:extLst>
              <a:ext uri="{FF2B5EF4-FFF2-40B4-BE49-F238E27FC236}">
                <a16:creationId xmlns:a16="http://schemas.microsoft.com/office/drawing/2014/main" id="{BCFA1914-78AE-134E-8209-EA026A7331BA}"/>
              </a:ext>
            </a:extLst>
          </p:cNvPr>
          <p:cNvSpPr>
            <a:spLocks noGrp="1"/>
          </p:cNvSpPr>
          <p:nvPr>
            <p:ph type="body" sz="quarter" idx="13" hasCustomPrompt="1"/>
          </p:nvPr>
        </p:nvSpPr>
        <p:spPr>
          <a:xfrm>
            <a:off x="863600" y="6436788"/>
            <a:ext cx="7832845"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4" name="Title 1">
            <a:extLst>
              <a:ext uri="{FF2B5EF4-FFF2-40B4-BE49-F238E27FC236}">
                <a16:creationId xmlns:a16="http://schemas.microsoft.com/office/drawing/2014/main" id="{CBD0110D-75B4-F04E-931A-5176A6DAA014}"/>
              </a:ext>
            </a:extLst>
          </p:cNvPr>
          <p:cNvSpPr>
            <a:spLocks noGrp="1"/>
          </p:cNvSpPr>
          <p:nvPr>
            <p:ph type="title" hasCustomPrompt="1"/>
          </p:nvPr>
        </p:nvSpPr>
        <p:spPr>
          <a:xfrm>
            <a:off x="6277728" y="1523420"/>
            <a:ext cx="5050672"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10" name="Text Placeholder 18">
            <a:extLst>
              <a:ext uri="{FF2B5EF4-FFF2-40B4-BE49-F238E27FC236}">
                <a16:creationId xmlns:a16="http://schemas.microsoft.com/office/drawing/2014/main" id="{D3849F72-96AA-DC45-B908-A4B8D4257A5F}"/>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Text Placeholder 9">
            <a:extLst>
              <a:ext uri="{FF2B5EF4-FFF2-40B4-BE49-F238E27FC236}">
                <a16:creationId xmlns:a16="http://schemas.microsoft.com/office/drawing/2014/main" id="{65C2E079-38A2-634C-ADF9-5C40352E90D0}"/>
              </a:ext>
            </a:extLst>
          </p:cNvPr>
          <p:cNvSpPr>
            <a:spLocks noGrp="1"/>
          </p:cNvSpPr>
          <p:nvPr>
            <p:ph type="body" sz="quarter" idx="28"/>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picture containing food&#10;&#10;Description automatically generated">
            <a:extLst>
              <a:ext uri="{FF2B5EF4-FFF2-40B4-BE49-F238E27FC236}">
                <a16:creationId xmlns:a16="http://schemas.microsoft.com/office/drawing/2014/main" id="{56622307-1967-9547-BEF7-EFEE04D4B69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76533543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E982B460-7034-244F-8EB8-CD53BC66BE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0" y="2640647"/>
            <a:ext cx="5052605" cy="1576708"/>
          </a:xfrm>
          <a:prstGeom prst="rect">
            <a:avLst/>
          </a:prstGeom>
        </p:spPr>
        <p:txBody>
          <a:bodyPr lIns="0" tIns="0" rIns="0" bIns="0" anchor="ctr"/>
          <a:lstStyle>
            <a:lvl1pPr>
              <a:spcAft>
                <a:spcPts val="800"/>
              </a:spcAft>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 Click </a:t>
            </a:r>
            <a:br>
              <a:rPr lang="en-US"/>
            </a:br>
            <a:r>
              <a:rPr lang="en-US"/>
              <a:t>to edit Master title style Click to edit Master title style</a:t>
            </a:r>
          </a:p>
        </p:txBody>
      </p:sp>
      <p:sp>
        <p:nvSpPr>
          <p:cNvPr id="9" name="Rounded Rectangle 8">
            <a:extLst>
              <a:ext uri="{FF2B5EF4-FFF2-40B4-BE49-F238E27FC236}">
                <a16:creationId xmlns:a16="http://schemas.microsoft.com/office/drawing/2014/main" id="{E45EC2D0-2066-7C46-B4A9-56BE033DFDC7}"/>
              </a:ext>
            </a:extLst>
          </p:cNvPr>
          <p:cNvSpPr/>
          <p:nvPr userDrawn="1"/>
        </p:nvSpPr>
        <p:spPr>
          <a:xfrm>
            <a:off x="6275789" y="1348510"/>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0" name="Text Placeholder 9">
            <a:extLst>
              <a:ext uri="{FF2B5EF4-FFF2-40B4-BE49-F238E27FC236}">
                <a16:creationId xmlns:a16="http://schemas.microsoft.com/office/drawing/2014/main" id="{E7D74F64-410F-C140-BEF2-50EB28C1F10A}"/>
              </a:ext>
            </a:extLst>
          </p:cNvPr>
          <p:cNvSpPr>
            <a:spLocks noGrp="1"/>
          </p:cNvSpPr>
          <p:nvPr>
            <p:ph type="body" sz="quarter" idx="20"/>
          </p:nvPr>
        </p:nvSpPr>
        <p:spPr>
          <a:xfrm>
            <a:off x="6622538" y="1504953"/>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12" name="Text Placeholder 2">
            <a:extLst>
              <a:ext uri="{FF2B5EF4-FFF2-40B4-BE49-F238E27FC236}">
                <a16:creationId xmlns:a16="http://schemas.microsoft.com/office/drawing/2014/main" id="{7534475F-C46F-B44B-A7AB-22F233A73D4F}"/>
              </a:ext>
            </a:extLst>
          </p:cNvPr>
          <p:cNvSpPr>
            <a:spLocks noGrp="1"/>
          </p:cNvSpPr>
          <p:nvPr>
            <p:ph type="body" sz="quarter" idx="21" hasCustomPrompt="1"/>
          </p:nvPr>
        </p:nvSpPr>
        <p:spPr>
          <a:xfrm>
            <a:off x="6275791" y="90918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13" name="Rectangle 12">
            <a:extLst>
              <a:ext uri="{FF2B5EF4-FFF2-40B4-BE49-F238E27FC236}">
                <a16:creationId xmlns:a16="http://schemas.microsoft.com/office/drawing/2014/main" id="{F71F2941-1391-9F41-9B05-2564737D1CA5}"/>
              </a:ext>
            </a:extLst>
          </p:cNvPr>
          <p:cNvSpPr/>
          <p:nvPr userDrawn="1"/>
        </p:nvSpPr>
        <p:spPr>
          <a:xfrm>
            <a:off x="6275790" y="86169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14" name="Straight Connector 13">
            <a:extLst>
              <a:ext uri="{FF2B5EF4-FFF2-40B4-BE49-F238E27FC236}">
                <a16:creationId xmlns:a16="http://schemas.microsoft.com/office/drawing/2014/main" id="{C9897074-7CD0-7547-BD7C-BD20A83DACB8}"/>
              </a:ext>
            </a:extLst>
          </p:cNvPr>
          <p:cNvCxnSpPr>
            <a:cxnSpLocks/>
          </p:cNvCxnSpPr>
          <p:nvPr userDrawn="1"/>
        </p:nvCxnSpPr>
        <p:spPr>
          <a:xfrm>
            <a:off x="6275790" y="132608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4" name="Rounded Rectangle 23">
            <a:extLst>
              <a:ext uri="{FF2B5EF4-FFF2-40B4-BE49-F238E27FC236}">
                <a16:creationId xmlns:a16="http://schemas.microsoft.com/office/drawing/2014/main" id="{543C7861-043E-244B-A15E-3DF348BA7133}"/>
              </a:ext>
            </a:extLst>
          </p:cNvPr>
          <p:cNvSpPr/>
          <p:nvPr userDrawn="1"/>
        </p:nvSpPr>
        <p:spPr>
          <a:xfrm>
            <a:off x="6275789" y="3062723"/>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6" name="Text Placeholder 9">
            <a:extLst>
              <a:ext uri="{FF2B5EF4-FFF2-40B4-BE49-F238E27FC236}">
                <a16:creationId xmlns:a16="http://schemas.microsoft.com/office/drawing/2014/main" id="{1F6C341A-8889-374B-BFD0-8BFB09C03A61}"/>
              </a:ext>
            </a:extLst>
          </p:cNvPr>
          <p:cNvSpPr>
            <a:spLocks noGrp="1"/>
          </p:cNvSpPr>
          <p:nvPr>
            <p:ph type="body" sz="quarter" idx="22"/>
          </p:nvPr>
        </p:nvSpPr>
        <p:spPr>
          <a:xfrm>
            <a:off x="6622538" y="3219167"/>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27" name="Text Placeholder 2">
            <a:extLst>
              <a:ext uri="{FF2B5EF4-FFF2-40B4-BE49-F238E27FC236}">
                <a16:creationId xmlns:a16="http://schemas.microsoft.com/office/drawing/2014/main" id="{8EB5CC2A-8814-AD4C-94A8-AAB9E739A572}"/>
              </a:ext>
            </a:extLst>
          </p:cNvPr>
          <p:cNvSpPr>
            <a:spLocks noGrp="1"/>
          </p:cNvSpPr>
          <p:nvPr>
            <p:ph type="body" sz="quarter" idx="23" hasCustomPrompt="1"/>
          </p:nvPr>
        </p:nvSpPr>
        <p:spPr>
          <a:xfrm>
            <a:off x="6275791" y="2623397"/>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8" name="Rectangle 27">
            <a:extLst>
              <a:ext uri="{FF2B5EF4-FFF2-40B4-BE49-F238E27FC236}">
                <a16:creationId xmlns:a16="http://schemas.microsoft.com/office/drawing/2014/main" id="{E9A1A5C2-4744-F145-A9EE-D5FFC29D9377}"/>
              </a:ext>
            </a:extLst>
          </p:cNvPr>
          <p:cNvSpPr/>
          <p:nvPr userDrawn="1"/>
        </p:nvSpPr>
        <p:spPr>
          <a:xfrm>
            <a:off x="6275790" y="2575905"/>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9" name="Straight Connector 28">
            <a:extLst>
              <a:ext uri="{FF2B5EF4-FFF2-40B4-BE49-F238E27FC236}">
                <a16:creationId xmlns:a16="http://schemas.microsoft.com/office/drawing/2014/main" id="{8549CC34-F23B-FB44-8393-64C036694B05}"/>
              </a:ext>
            </a:extLst>
          </p:cNvPr>
          <p:cNvCxnSpPr>
            <a:cxnSpLocks/>
          </p:cNvCxnSpPr>
          <p:nvPr userDrawn="1"/>
        </p:nvCxnSpPr>
        <p:spPr>
          <a:xfrm>
            <a:off x="6275790" y="3040300"/>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67D46D13-1898-BE48-8476-8DDF1462B5E0}"/>
              </a:ext>
            </a:extLst>
          </p:cNvPr>
          <p:cNvSpPr/>
          <p:nvPr userDrawn="1"/>
        </p:nvSpPr>
        <p:spPr>
          <a:xfrm>
            <a:off x="6275789" y="4776937"/>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1D5DF601-A9E2-AF4C-9435-B4DAF08F9F04}"/>
              </a:ext>
            </a:extLst>
          </p:cNvPr>
          <p:cNvSpPr>
            <a:spLocks noGrp="1"/>
          </p:cNvSpPr>
          <p:nvPr>
            <p:ph type="body" sz="quarter" idx="24"/>
          </p:nvPr>
        </p:nvSpPr>
        <p:spPr>
          <a:xfrm>
            <a:off x="6622538" y="4933380"/>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2" name="Text Placeholder 2">
            <a:extLst>
              <a:ext uri="{FF2B5EF4-FFF2-40B4-BE49-F238E27FC236}">
                <a16:creationId xmlns:a16="http://schemas.microsoft.com/office/drawing/2014/main" id="{604AE032-B3A3-C442-B8DC-8F7A485F12AA}"/>
              </a:ext>
            </a:extLst>
          </p:cNvPr>
          <p:cNvSpPr>
            <a:spLocks noGrp="1"/>
          </p:cNvSpPr>
          <p:nvPr>
            <p:ph type="body" sz="quarter" idx="25" hasCustomPrompt="1"/>
          </p:nvPr>
        </p:nvSpPr>
        <p:spPr>
          <a:xfrm>
            <a:off x="6275791" y="4337610"/>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FF4874F8-D35C-B34B-AB7A-97BE3CD53502}"/>
              </a:ext>
            </a:extLst>
          </p:cNvPr>
          <p:cNvSpPr/>
          <p:nvPr userDrawn="1"/>
        </p:nvSpPr>
        <p:spPr>
          <a:xfrm>
            <a:off x="6275790" y="4290118"/>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DE1A1E44-7E0A-484E-AFB5-1E7B861E02F7}"/>
              </a:ext>
            </a:extLst>
          </p:cNvPr>
          <p:cNvCxnSpPr>
            <a:cxnSpLocks/>
          </p:cNvCxnSpPr>
          <p:nvPr userDrawn="1"/>
        </p:nvCxnSpPr>
        <p:spPr>
          <a:xfrm>
            <a:off x="6275790" y="4754513"/>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5F351E5A-10FB-0542-BE75-9A4B4820BFAA}"/>
              </a:ext>
            </a:extLst>
          </p:cNvPr>
          <p:cNvSpPr>
            <a:spLocks noGrp="1"/>
          </p:cNvSpPr>
          <p:nvPr>
            <p:ph type="body" sz="quarter" idx="13" hasCustomPrompt="1"/>
          </p:nvPr>
        </p:nvSpPr>
        <p:spPr>
          <a:xfrm>
            <a:off x="863600" y="643678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1" name="Text Placeholder 18">
            <a:extLst>
              <a:ext uri="{FF2B5EF4-FFF2-40B4-BE49-F238E27FC236}">
                <a16:creationId xmlns:a16="http://schemas.microsoft.com/office/drawing/2014/main" id="{FAEE7216-519C-264E-BC91-04B7F295070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5" name="Picture 24" descr="A picture containing food&#10;&#10;Description automatically generated">
            <a:extLst>
              <a:ext uri="{FF2B5EF4-FFF2-40B4-BE49-F238E27FC236}">
                <a16:creationId xmlns:a16="http://schemas.microsoft.com/office/drawing/2014/main" id="{8D35097E-1DE5-7C4C-A9B3-3A1800DAFB2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0184815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2" y="274638"/>
            <a:ext cx="11127409" cy="927999"/>
          </a:xfrm>
          <a:prstGeom prst="rect">
            <a:avLst/>
          </a:prstGeom>
        </p:spPr>
        <p:txBody>
          <a:bodyPr lIns="0" anchor="b" anchorCtr="0"/>
          <a:lstStyle>
            <a:lvl1pPr>
              <a:lnSpc>
                <a:spcPts val="2400"/>
              </a:lnSpc>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508001" y="1600201"/>
            <a:ext cx="11093451" cy="4004691"/>
          </a:xfrm>
          <a:prstGeom prst="rect">
            <a:avLst/>
          </a:prstGeom>
        </p:spPr>
        <p:txBody>
          <a:bodyPr/>
          <a:lstStyle>
            <a:lvl1pPr>
              <a:buClr>
                <a:schemeClr val="accent1"/>
              </a:buClr>
              <a:defRPr/>
            </a:lvl1pPr>
            <a:lvl2pPr marL="349242" indent="-180970">
              <a:buClr>
                <a:schemeClr val="accent1"/>
              </a:buClr>
              <a:defRPr/>
            </a:lvl2pPr>
            <a:lvl3pPr marL="517512" indent="-168270">
              <a:buClr>
                <a:schemeClr val="accent1"/>
              </a:buClr>
              <a:defRPr/>
            </a:lvl3pPr>
            <a:lvl4pPr marL="685783" indent="-168270">
              <a:buClr>
                <a:schemeClr val="accent1"/>
              </a:buClr>
              <a:defRPr/>
            </a:lvl4pPr>
            <a:lvl5pPr marL="806431" indent="-120648">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9CACADA9-C812-48D8-B8B9-E9A775436C3E}"/>
              </a:ext>
            </a:extLst>
          </p:cNvPr>
          <p:cNvSpPr>
            <a:spLocks noGrp="1"/>
          </p:cNvSpPr>
          <p:nvPr>
            <p:ph type="ftr" sz="quarter" idx="10"/>
          </p:nvPr>
        </p:nvSpPr>
        <p:spPr/>
        <p:txBody>
          <a:bodyPr/>
          <a:lstStyle>
            <a:lvl1pPr>
              <a:defRPr/>
            </a:lvl1pPr>
          </a:lstStyle>
          <a:p>
            <a:pPr>
              <a:defRPr/>
            </a:pPr>
            <a:r>
              <a:rPr lang="en-US"/>
              <a:t>GILEAD CONFIDENTIAL AND PROPRIETARY</a:t>
            </a:r>
          </a:p>
        </p:txBody>
      </p:sp>
      <p:sp>
        <p:nvSpPr>
          <p:cNvPr id="8" name="Slide Number Placeholder 5">
            <a:extLst>
              <a:ext uri="{FF2B5EF4-FFF2-40B4-BE49-F238E27FC236}">
                <a16:creationId xmlns:a16="http://schemas.microsoft.com/office/drawing/2014/main" id="{176AF96B-F142-47AB-A4A1-AD6EE21B5572}"/>
              </a:ext>
            </a:extLst>
          </p:cNvPr>
          <p:cNvSpPr>
            <a:spLocks noGrp="1"/>
          </p:cNvSpPr>
          <p:nvPr>
            <p:ph type="sldNum" sz="quarter" idx="11"/>
          </p:nvPr>
        </p:nvSpPr>
        <p:spPr/>
        <p:txBody>
          <a:bodyPr/>
          <a:lstStyle>
            <a:lvl1pPr>
              <a:defRPr smtClean="0"/>
            </a:lvl1pPr>
          </a:lstStyle>
          <a:p>
            <a:pPr>
              <a:defRPr/>
            </a:pPr>
            <a:fld id="{702BD659-9FDC-409B-A85B-D43EDDA21183}" type="slidenum">
              <a:rPr lang="en-US" altLang="en-US"/>
              <a:pPr>
                <a:defRPr/>
              </a:pPr>
              <a:t>‹#›</a:t>
            </a:fld>
            <a:endParaRPr lang="en-US" altLang="en-US"/>
          </a:p>
        </p:txBody>
      </p:sp>
    </p:spTree>
    <p:extLst>
      <p:ext uri="{BB962C8B-B14F-4D97-AF65-F5344CB8AC3E}">
        <p14:creationId xmlns:p14="http://schemas.microsoft.com/office/powerpoint/2010/main" val="20313542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9/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338801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6303" y="609600"/>
            <a:ext cx="5819697" cy="1101213"/>
          </a:xfrm>
        </p:spPr>
        <p:txBody>
          <a:bodyPr anchor="t"/>
          <a:lstStyle>
            <a:lvl1pPr marL="0" marR="0" indent="0" algn="l" defTabSz="914400" rtl="0" eaLnBrk="1" fontAlgn="auto" latinLnBrk="0" hangingPunct="1">
              <a:lnSpc>
                <a:spcPct val="70000"/>
              </a:lnSpc>
              <a:spcBef>
                <a:spcPct val="0"/>
              </a:spcBef>
              <a:spcAft>
                <a:spcPts val="0"/>
              </a:spcAft>
              <a:buClrTx/>
              <a:buSzTx/>
              <a:buFontTx/>
              <a:buNone/>
              <a:tabLst/>
              <a:defRPr lang="en-GB" b="0" i="0" smtClean="0">
                <a:effectLst/>
              </a:defRPr>
            </a:lvl1pPr>
          </a:lstStyle>
          <a:p>
            <a:r>
              <a:rPr lang="en-US"/>
              <a:t>Example Header Left hand side aligned for use with infographic</a:t>
            </a:r>
          </a:p>
        </p:txBody>
      </p:sp>
      <p:sp>
        <p:nvSpPr>
          <p:cNvPr id="7" name="Content Placeholder 2">
            <a:extLst>
              <a:ext uri="{FF2B5EF4-FFF2-40B4-BE49-F238E27FC236}">
                <a16:creationId xmlns:a16="http://schemas.microsoft.com/office/drawing/2014/main" id="{5568C4A5-C82E-2242-AB83-89AEA5F795B6}"/>
              </a:ext>
            </a:extLst>
          </p:cNvPr>
          <p:cNvSpPr>
            <a:spLocks noGrp="1"/>
          </p:cNvSpPr>
          <p:nvPr>
            <p:ph idx="10" hasCustomPrompt="1"/>
          </p:nvPr>
        </p:nvSpPr>
        <p:spPr>
          <a:xfrm>
            <a:off x="6986015" y="1392294"/>
            <a:ext cx="4228379" cy="4073412"/>
          </a:xfrm>
        </p:spPr>
        <p:txBody>
          <a:bodyPr/>
          <a:lstStyle>
            <a:lvl1pPr marL="0" indent="0" algn="ctr">
              <a:lnSpc>
                <a:spcPct val="80000"/>
              </a:lnSpc>
              <a:spcBef>
                <a:spcPts val="1000"/>
              </a:spcBef>
              <a:buNone/>
              <a:defRPr sz="2400">
                <a:solidFill>
                  <a:schemeClr val="tx1">
                    <a:lumMod val="20000"/>
                    <a:lumOff val="80000"/>
                  </a:schemeClr>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Object Here</a:t>
            </a:r>
          </a:p>
        </p:txBody>
      </p:sp>
      <p:sp>
        <p:nvSpPr>
          <p:cNvPr id="8" name="Content Placeholder 2">
            <a:extLst>
              <a:ext uri="{FF2B5EF4-FFF2-40B4-BE49-F238E27FC236}">
                <a16:creationId xmlns:a16="http://schemas.microsoft.com/office/drawing/2014/main" id="{E6ECC51D-E815-534D-81FE-D02EFA80C3A2}"/>
              </a:ext>
            </a:extLst>
          </p:cNvPr>
          <p:cNvSpPr>
            <a:spLocks noGrp="1"/>
          </p:cNvSpPr>
          <p:nvPr>
            <p:ph idx="11" hasCustomPrompt="1"/>
          </p:nvPr>
        </p:nvSpPr>
        <p:spPr>
          <a:xfrm>
            <a:off x="276303" y="2048256"/>
            <a:ext cx="5819697" cy="3618618"/>
          </a:xfrm>
        </p:spPr>
        <p:txBody>
          <a:bodyPr/>
          <a:lstStyle>
            <a:lvl1pPr marL="0" indent="0" algn="l">
              <a:lnSpc>
                <a:spcPct val="80000"/>
              </a:lnSpc>
              <a:spcBef>
                <a:spcPts val="1000"/>
              </a:spcBef>
              <a:buFont typeface="Arial" panose="020B0604020202020204" pitchFamily="34" charset="0"/>
              <a:buNone/>
              <a:defRPr sz="2400">
                <a:solidFill>
                  <a:schemeClr val="tx1"/>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Tree>
    <p:extLst>
      <p:ext uri="{BB962C8B-B14F-4D97-AF65-F5344CB8AC3E}">
        <p14:creationId xmlns:p14="http://schemas.microsoft.com/office/powerpoint/2010/main" val="1224997303"/>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Bla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43F38A4-B4F1-E84E-B892-2CF75AD7B27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441192" y="0"/>
            <a:ext cx="4750808" cy="6858000"/>
          </a:xfrm>
          <a:prstGeom prst="rect">
            <a:avLst/>
          </a:prstGeom>
        </p:spPr>
      </p:pic>
      <p:sp>
        <p:nvSpPr>
          <p:cNvPr id="11" name="Rectangle 10">
            <a:extLst>
              <a:ext uri="{FF2B5EF4-FFF2-40B4-BE49-F238E27FC236}">
                <a16:creationId xmlns:a16="http://schemas.microsoft.com/office/drawing/2014/main" id="{F05477C2-FA00-2A4D-8005-C5201C8D414D}"/>
              </a:ext>
            </a:extLst>
          </p:cNvPr>
          <p:cNvSpPr/>
          <p:nvPr userDrawn="1"/>
        </p:nvSpPr>
        <p:spPr>
          <a:xfrm>
            <a:off x="5527049" y="0"/>
            <a:ext cx="5006839" cy="6858000"/>
          </a:xfrm>
          <a:prstGeom prst="rect">
            <a:avLst/>
          </a:prstGeom>
          <a:gradFill flip="none" rotWithShape="1">
            <a:gsLst>
              <a:gs pos="43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Roboto Light" panose="02000000000000000000" pitchFamily="2" charset="0"/>
              <a:ea typeface="+mn-ea"/>
              <a:cs typeface="+mn-cs"/>
            </a:endParaRPr>
          </a:p>
        </p:txBody>
      </p:sp>
      <p:sp>
        <p:nvSpPr>
          <p:cNvPr id="2" name="Title 1"/>
          <p:cNvSpPr>
            <a:spLocks noGrp="1"/>
          </p:cNvSpPr>
          <p:nvPr>
            <p:ph type="title" hasCustomPrompt="1"/>
          </p:nvPr>
        </p:nvSpPr>
        <p:spPr>
          <a:xfrm>
            <a:off x="276303" y="609600"/>
            <a:ext cx="5819697" cy="1101213"/>
          </a:xfrm>
        </p:spPr>
        <p:txBody>
          <a:bodyPr anchor="t"/>
          <a:lstStyle>
            <a:lvl1pPr marL="0" marR="0" indent="0" algn="l" defTabSz="914400" rtl="0" eaLnBrk="1" fontAlgn="auto" latinLnBrk="0" hangingPunct="1">
              <a:lnSpc>
                <a:spcPct val="70000"/>
              </a:lnSpc>
              <a:spcBef>
                <a:spcPct val="0"/>
              </a:spcBef>
              <a:spcAft>
                <a:spcPts val="0"/>
              </a:spcAft>
              <a:buClrTx/>
              <a:buSzTx/>
              <a:buFontTx/>
              <a:buNone/>
              <a:tabLst/>
              <a:defRPr lang="en-GB" b="0" i="0" smtClean="0">
                <a:effectLst/>
              </a:defRPr>
            </a:lvl1pPr>
          </a:lstStyle>
          <a:p>
            <a:r>
              <a:rPr lang="en-US"/>
              <a:t>Example Header Left hand side aligned for use with faded image</a:t>
            </a:r>
          </a:p>
        </p:txBody>
      </p:sp>
      <p:sp>
        <p:nvSpPr>
          <p:cNvPr id="8" name="Content Placeholder 2">
            <a:extLst>
              <a:ext uri="{FF2B5EF4-FFF2-40B4-BE49-F238E27FC236}">
                <a16:creationId xmlns:a16="http://schemas.microsoft.com/office/drawing/2014/main" id="{E6ECC51D-E815-534D-81FE-D02EFA80C3A2}"/>
              </a:ext>
            </a:extLst>
          </p:cNvPr>
          <p:cNvSpPr>
            <a:spLocks noGrp="1"/>
          </p:cNvSpPr>
          <p:nvPr>
            <p:ph idx="11" hasCustomPrompt="1"/>
          </p:nvPr>
        </p:nvSpPr>
        <p:spPr>
          <a:xfrm>
            <a:off x="276303" y="2048256"/>
            <a:ext cx="5819697" cy="3618618"/>
          </a:xfrm>
        </p:spPr>
        <p:txBody>
          <a:bodyPr/>
          <a:lstStyle>
            <a:lvl1pPr marL="0" indent="0" algn="l">
              <a:lnSpc>
                <a:spcPct val="80000"/>
              </a:lnSpc>
              <a:spcBef>
                <a:spcPts val="1000"/>
              </a:spcBef>
              <a:buFont typeface="Arial" panose="020B0604020202020204" pitchFamily="34" charset="0"/>
              <a:buNone/>
              <a:defRPr sz="2400">
                <a:solidFill>
                  <a:schemeClr val="tx1"/>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
        <p:nvSpPr>
          <p:cNvPr id="12" name="TextBox 11">
            <a:extLst>
              <a:ext uri="{FF2B5EF4-FFF2-40B4-BE49-F238E27FC236}">
                <a16:creationId xmlns:a16="http://schemas.microsoft.com/office/drawing/2014/main" id="{7068E8E0-BA52-4A43-BC86-9DE31B3EEA15}"/>
              </a:ext>
            </a:extLst>
          </p:cNvPr>
          <p:cNvSpPr txBox="1"/>
          <p:nvPr userDrawn="1"/>
        </p:nvSpPr>
        <p:spPr>
          <a:xfrm>
            <a:off x="11017792" y="6521025"/>
            <a:ext cx="1019596" cy="246221"/>
          </a:xfrm>
          <a:prstGeom prst="rect">
            <a:avLst/>
          </a:prstGeom>
          <a:noFill/>
        </p:spPr>
        <p:txBody>
          <a:bodyPr wrap="square" rtlCol="0">
            <a:spAutoFit/>
          </a:bodyPr>
          <a:lstStyle/>
          <a:p>
            <a:pPr algn="r"/>
            <a:fld id="{44515CC9-B04E-49D1-8DBC-3EBC45FAC8C9}" type="slidenum">
              <a:rPr lang="en-US" sz="1000" kern="1200" smtClean="0">
                <a:solidFill>
                  <a:schemeClr val="bg1"/>
                </a:solidFill>
                <a:latin typeface="+mn-lt"/>
                <a:ea typeface="+mn-ea"/>
                <a:cs typeface="+mn-cs"/>
              </a:rPr>
              <a:pPr algn="r"/>
              <a:t>‹#›</a:t>
            </a:fld>
            <a:endParaRPr lang="en-US" sz="1000" kern="120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2A856464-10DC-104B-8D9E-884C2CDAE5C3}"/>
              </a:ext>
            </a:extLst>
          </p:cNvPr>
          <p:cNvSpPr txBox="1"/>
          <p:nvPr userDrawn="1"/>
        </p:nvSpPr>
        <p:spPr>
          <a:xfrm>
            <a:off x="5142982" y="6521025"/>
            <a:ext cx="190603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600">
                <a:solidFill>
                  <a:schemeClr val="bg2">
                    <a:lumMod val="75000"/>
                  </a:schemeClr>
                </a:solidFill>
                <a:latin typeface="+mn-lt"/>
                <a:ea typeface="ＭＳ Ｐゴシック" charset="0"/>
              </a:rPr>
              <a:t>Copyright © Veeva Systems 2021</a:t>
            </a:r>
          </a:p>
        </p:txBody>
      </p:sp>
    </p:spTree>
    <p:extLst>
      <p:ext uri="{BB962C8B-B14F-4D97-AF65-F5344CB8AC3E}">
        <p14:creationId xmlns:p14="http://schemas.microsoft.com/office/powerpoint/2010/main" val="186725199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Horisontal">
    <p:spTree>
      <p:nvGrpSpPr>
        <p:cNvPr id="1" name=""/>
        <p:cNvGrpSpPr/>
        <p:nvPr/>
      </p:nvGrpSpPr>
      <p:grpSpPr>
        <a:xfrm>
          <a:off x="0" y="0"/>
          <a:ext cx="0" cy="0"/>
          <a:chOff x="0" y="0"/>
          <a:chExt cx="0" cy="0"/>
        </a:xfrm>
      </p:grpSpPr>
      <p:sp>
        <p:nvSpPr>
          <p:cNvPr id="3" name="Rectangle 2"/>
          <p:cNvSpPr/>
          <p:nvPr userDrawn="1"/>
        </p:nvSpPr>
        <p:spPr>
          <a:xfrm>
            <a:off x="0" y="0"/>
            <a:ext cx="4935794" cy="6858000"/>
          </a:xfrm>
          <a:prstGeom prst="rect">
            <a:avLst/>
          </a:prstGeom>
          <a:gradFill>
            <a:gsLst>
              <a:gs pos="0">
                <a:schemeClr val="tx2"/>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76303" y="2673884"/>
            <a:ext cx="4423516" cy="1101213"/>
          </a:xfrm>
        </p:spPr>
        <p:txBody>
          <a:bodyPr anchor="ctr" anchorCtr="0"/>
          <a:lstStyle>
            <a:lvl1pPr>
              <a:defRPr>
                <a:solidFill>
                  <a:schemeClr val="bg1"/>
                </a:solidFill>
              </a:defRPr>
            </a:lvl1pPr>
          </a:lstStyle>
          <a:p>
            <a:r>
              <a:rPr lang="en-US"/>
              <a:t>Title Example Text</a:t>
            </a:r>
          </a:p>
        </p:txBody>
      </p:sp>
      <p:sp>
        <p:nvSpPr>
          <p:cNvPr id="10" name="Content Placeholder 2"/>
          <p:cNvSpPr>
            <a:spLocks noGrp="1"/>
          </p:cNvSpPr>
          <p:nvPr>
            <p:ph idx="1" hasCustomPrompt="1"/>
          </p:nvPr>
        </p:nvSpPr>
        <p:spPr>
          <a:xfrm>
            <a:off x="5358808" y="1485900"/>
            <a:ext cx="6368904" cy="4991099"/>
          </a:xfrm>
        </p:spPr>
        <p:txBody>
          <a:bodyPr/>
          <a:lstStyle>
            <a:lvl1pPr marL="0" indent="0">
              <a:lnSpc>
                <a:spcPct val="80000"/>
              </a:lnSpc>
              <a:spcBef>
                <a:spcPts val="1000"/>
              </a:spcBef>
              <a:buNone/>
              <a:defRPr/>
            </a:lvl1pPr>
            <a:lvl2pPr>
              <a:lnSpc>
                <a:spcPct val="80000"/>
              </a:lnSpc>
              <a:spcBef>
                <a:spcPts val="600"/>
              </a:spcBef>
              <a:defRPr/>
            </a:lvl2pPr>
            <a:lvl3pPr>
              <a:lnSpc>
                <a:spcPct val="80000"/>
              </a:lnSpc>
              <a:spcBef>
                <a:spcPts val="600"/>
              </a:spcBef>
              <a:defRPr/>
            </a:lvl3pPr>
            <a:lvl4pPr>
              <a:lnSpc>
                <a:spcPct val="80000"/>
              </a:lnSpc>
              <a:spcBef>
                <a:spcPts val="600"/>
              </a:spcBef>
              <a:defRPr/>
            </a:lvl4pPr>
            <a:lvl5pPr>
              <a:lnSpc>
                <a:spcPct val="80000"/>
              </a:lnSpc>
              <a:spcBef>
                <a:spcPts val="600"/>
              </a:spcBef>
              <a:defRPr/>
            </a:lvl5pPr>
          </a:lstStyle>
          <a:p>
            <a:pPr lvl="0"/>
            <a:r>
              <a:rPr lang="en-US"/>
              <a:t>Insert Text / Object / Infographic</a:t>
            </a:r>
          </a:p>
          <a:p>
            <a:pPr lvl="1"/>
            <a:r>
              <a:rPr lang="en-US"/>
              <a:t>Second level</a:t>
            </a:r>
          </a:p>
          <a:p>
            <a:pPr lvl="2"/>
            <a:r>
              <a:rPr lang="en-US"/>
              <a:t>Third level</a:t>
            </a:r>
          </a:p>
          <a:p>
            <a:pPr lvl="3"/>
            <a:r>
              <a:rPr lang="en-US"/>
              <a:t>Fourth level</a:t>
            </a:r>
          </a:p>
          <a:p>
            <a:pPr lvl="4"/>
            <a:r>
              <a:rPr lang="en-US"/>
              <a:t>Fifth level</a:t>
            </a:r>
          </a:p>
        </p:txBody>
      </p:sp>
      <p:pic>
        <p:nvPicPr>
          <p:cNvPr id="25" name="Picture 24">
            <a:extLst>
              <a:ext uri="{FF2B5EF4-FFF2-40B4-BE49-F238E27FC236}">
                <a16:creationId xmlns:a16="http://schemas.microsoft.com/office/drawing/2014/main" id="{ADFE99CD-1B27-3841-8702-C70CDCDD9CA6}"/>
              </a:ext>
            </a:extLst>
          </p:cNvPr>
          <p:cNvPicPr>
            <a:picLocks noChangeAspect="1"/>
          </p:cNvPicPr>
          <p:nvPr userDrawn="1"/>
        </p:nvPicPr>
        <p:blipFill>
          <a:blip r:embed="rId2"/>
          <a:stretch>
            <a:fillRect/>
          </a:stretch>
        </p:blipFill>
        <p:spPr>
          <a:xfrm>
            <a:off x="266700" y="6376988"/>
            <a:ext cx="1508746" cy="356232"/>
          </a:xfrm>
          <a:prstGeom prst="rect">
            <a:avLst/>
          </a:prstGeom>
        </p:spPr>
      </p:pic>
    </p:spTree>
    <p:extLst>
      <p:ext uri="{BB962C8B-B14F-4D97-AF65-F5344CB8AC3E}">
        <p14:creationId xmlns:p14="http://schemas.microsoft.com/office/powerpoint/2010/main" val="10757787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mpare Orange White">
    <p:bg>
      <p:bgPr>
        <a:gradFill>
          <a:gsLst>
            <a:gs pos="0">
              <a:schemeClr val="tx2"/>
            </a:gs>
            <a:gs pos="100000">
              <a:schemeClr val="accent1"/>
            </a:gs>
          </a:gsLst>
          <a:lin ang="2700000" scaled="1"/>
        </a:gradFill>
        <a:effectLst/>
      </p:bgPr>
    </p:bg>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1917" indent="-121917" algn="ctr">
              <a:spcBef>
                <a:spcPts val="1600"/>
              </a:spcBef>
              <a:buClr>
                <a:schemeClr val="tx2"/>
              </a:buClr>
            </a:pPr>
            <a:endParaRPr lang="en-US" sz="2400">
              <a:solidFill>
                <a:schemeClr val="bg1"/>
              </a:solidFill>
              <a:latin typeface="Calibri Light" panose="020F0302020204030204" pitchFamily="34" charset="0"/>
            </a:endParaRPr>
          </a:p>
        </p:txBody>
      </p:sp>
      <p:sp>
        <p:nvSpPr>
          <p:cNvPr id="15" name="TextBox 14">
            <a:extLst>
              <a:ext uri="{FF2B5EF4-FFF2-40B4-BE49-F238E27FC236}">
                <a16:creationId xmlns:a16="http://schemas.microsoft.com/office/drawing/2014/main" id="{8C482A0A-213B-467B-87D4-11D599E0E949}"/>
              </a:ext>
            </a:extLst>
          </p:cNvPr>
          <p:cNvSpPr txBox="1"/>
          <p:nvPr userDrawn="1"/>
        </p:nvSpPr>
        <p:spPr>
          <a:xfrm>
            <a:off x="6189191" y="6521025"/>
            <a:ext cx="190603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600">
                <a:solidFill>
                  <a:schemeClr val="bg1"/>
                </a:solidFill>
                <a:latin typeface="+mn-lt"/>
                <a:ea typeface="ＭＳ Ｐゴシック" charset="0"/>
              </a:rPr>
              <a:t>Copyright © Veeva Systems 2020</a:t>
            </a:r>
          </a:p>
        </p:txBody>
      </p:sp>
      <p:sp>
        <p:nvSpPr>
          <p:cNvPr id="5" name="Text Placeholder 4">
            <a:extLst>
              <a:ext uri="{FF2B5EF4-FFF2-40B4-BE49-F238E27FC236}">
                <a16:creationId xmlns:a16="http://schemas.microsoft.com/office/drawing/2014/main" id="{C647675E-6477-4288-8C9D-57958BC1D658}"/>
              </a:ext>
            </a:extLst>
          </p:cNvPr>
          <p:cNvSpPr>
            <a:spLocks noGrp="1"/>
          </p:cNvSpPr>
          <p:nvPr>
            <p:ph type="body" sz="quarter" idx="10" hasCustomPrompt="1"/>
          </p:nvPr>
        </p:nvSpPr>
        <p:spPr>
          <a:xfrm>
            <a:off x="6639869" y="1333500"/>
            <a:ext cx="4794250" cy="4128186"/>
          </a:xfrm>
        </p:spPr>
        <p:txBody>
          <a:bodyPr anchor="ctr"/>
          <a:lstStyle>
            <a:lvl1pPr marL="0" indent="0">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quote here if you want to include an image to the left side of the slide.”</a:t>
            </a:r>
          </a:p>
          <a:p>
            <a:pPr lvl="0"/>
            <a:endParaRPr lang="en-US"/>
          </a:p>
          <a:p>
            <a:pPr lvl="0"/>
            <a:r>
              <a:rPr lang="en-US" err="1"/>
              <a:t>Firstname</a:t>
            </a:r>
            <a:r>
              <a:rPr lang="en-US"/>
              <a:t> </a:t>
            </a:r>
            <a:r>
              <a:rPr lang="en-US" err="1"/>
              <a:t>Lastname</a:t>
            </a:r>
            <a:endParaRPr lang="en-US"/>
          </a:p>
        </p:txBody>
      </p:sp>
      <p:sp>
        <p:nvSpPr>
          <p:cNvPr id="16" name="TextBox 15">
            <a:extLst>
              <a:ext uri="{FF2B5EF4-FFF2-40B4-BE49-F238E27FC236}">
                <a16:creationId xmlns:a16="http://schemas.microsoft.com/office/drawing/2014/main" id="{BA35433F-BFD5-45B4-9B19-FA85C81FC7F9}"/>
              </a:ext>
            </a:extLst>
          </p:cNvPr>
          <p:cNvSpPr txBox="1"/>
          <p:nvPr userDrawn="1"/>
        </p:nvSpPr>
        <p:spPr>
          <a:xfrm>
            <a:off x="11017792" y="6521025"/>
            <a:ext cx="1019596" cy="246221"/>
          </a:xfrm>
          <a:prstGeom prst="rect">
            <a:avLst/>
          </a:prstGeom>
          <a:noFill/>
        </p:spPr>
        <p:txBody>
          <a:bodyPr wrap="square" rtlCol="0">
            <a:spAutoFit/>
          </a:bodyPr>
          <a:lstStyle/>
          <a:p>
            <a:pPr algn="r"/>
            <a:fld id="{44515CC9-B04E-49D1-8DBC-3EBC45FAC8C9}" type="slidenum">
              <a:rPr lang="en-US" sz="1000" kern="1200" smtClean="0">
                <a:solidFill>
                  <a:schemeClr val="tx2">
                    <a:lumMod val="40000"/>
                    <a:lumOff val="60000"/>
                  </a:schemeClr>
                </a:solidFill>
                <a:latin typeface="+mn-lt"/>
                <a:ea typeface="+mn-ea"/>
                <a:cs typeface="+mn-cs"/>
              </a:rPr>
              <a:pPr algn="r"/>
              <a:t>‹#›</a:t>
            </a:fld>
            <a:endParaRPr lang="en-US" sz="1000" kern="1200">
              <a:solidFill>
                <a:schemeClr val="tx2">
                  <a:lumMod val="40000"/>
                  <a:lumOff val="60000"/>
                </a:schemeClr>
              </a:solidFill>
              <a:latin typeface="+mn-lt"/>
              <a:ea typeface="+mn-ea"/>
              <a:cs typeface="+mn-cs"/>
            </a:endParaRPr>
          </a:p>
        </p:txBody>
      </p:sp>
      <p:pic>
        <p:nvPicPr>
          <p:cNvPr id="10" name="Picture 9">
            <a:extLst>
              <a:ext uri="{FF2B5EF4-FFF2-40B4-BE49-F238E27FC236}">
                <a16:creationId xmlns:a16="http://schemas.microsoft.com/office/drawing/2014/main" id="{30C2C1BC-9B90-1949-BC87-C37FDA189750}"/>
              </a:ext>
            </a:extLst>
          </p:cNvPr>
          <p:cNvPicPr>
            <a:picLocks noChangeAspect="1"/>
          </p:cNvPicPr>
          <p:nvPr userDrawn="1"/>
        </p:nvPicPr>
        <p:blipFill>
          <a:blip r:embed="rId2"/>
          <a:stretch>
            <a:fillRect/>
          </a:stretch>
        </p:blipFill>
        <p:spPr>
          <a:xfrm>
            <a:off x="276303" y="6376988"/>
            <a:ext cx="1508746" cy="356232"/>
          </a:xfrm>
          <a:prstGeom prst="rect">
            <a:avLst/>
          </a:prstGeom>
        </p:spPr>
      </p:pic>
    </p:spTree>
    <p:extLst>
      <p:ext uri="{BB962C8B-B14F-4D97-AF65-F5344CB8AC3E}">
        <p14:creationId xmlns:p14="http://schemas.microsoft.com/office/powerpoint/2010/main" val="342080163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8B3B833-D81B-F747-903E-F21E3697FC99}"/>
              </a:ext>
            </a:extLst>
          </p:cNvPr>
          <p:cNvSpPr/>
          <p:nvPr userDrawn="1"/>
        </p:nvSpPr>
        <p:spPr>
          <a:xfrm>
            <a:off x="8506046" y="0"/>
            <a:ext cx="3685953" cy="6858000"/>
          </a:xfrm>
          <a:prstGeom prst="rect">
            <a:avLst/>
          </a:prstGeom>
          <a:gradFill>
            <a:gsLst>
              <a:gs pos="0">
                <a:schemeClr val="tx2"/>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4">
            <a:extLst>
              <a:ext uri="{FF2B5EF4-FFF2-40B4-BE49-F238E27FC236}">
                <a16:creationId xmlns:a16="http://schemas.microsoft.com/office/drawing/2014/main" id="{0ADE9CCD-47BB-4345-8CA9-C48B1D5908EF}"/>
              </a:ext>
            </a:extLst>
          </p:cNvPr>
          <p:cNvSpPr>
            <a:spLocks noGrp="1"/>
          </p:cNvSpPr>
          <p:nvPr>
            <p:ph type="body" sz="quarter" idx="10" hasCustomPrompt="1"/>
          </p:nvPr>
        </p:nvSpPr>
        <p:spPr>
          <a:xfrm>
            <a:off x="8846287" y="1333500"/>
            <a:ext cx="3079013" cy="4128186"/>
          </a:xfrm>
        </p:spPr>
        <p:txBody>
          <a:bodyPr anchor="ctr"/>
          <a:lstStyle>
            <a:lvl1pPr marL="0" indent="0">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quote here if you want to include an image to the left side of the slide.”</a:t>
            </a:r>
          </a:p>
          <a:p>
            <a:pPr lvl="0"/>
            <a:endParaRPr lang="en-US"/>
          </a:p>
          <a:p>
            <a:pPr lvl="0"/>
            <a:r>
              <a:rPr lang="en-US" err="1"/>
              <a:t>Firstname</a:t>
            </a:r>
            <a:r>
              <a:rPr lang="en-US"/>
              <a:t> </a:t>
            </a:r>
            <a:r>
              <a:rPr lang="en-US" err="1"/>
              <a:t>Lastname</a:t>
            </a:r>
            <a:endParaRPr lang="en-US"/>
          </a:p>
        </p:txBody>
      </p:sp>
      <p:sp>
        <p:nvSpPr>
          <p:cNvPr id="18" name="Title 1">
            <a:extLst>
              <a:ext uri="{FF2B5EF4-FFF2-40B4-BE49-F238E27FC236}">
                <a16:creationId xmlns:a16="http://schemas.microsoft.com/office/drawing/2014/main" id="{00350A53-D60D-214B-A6E9-EB53560863E2}"/>
              </a:ext>
            </a:extLst>
          </p:cNvPr>
          <p:cNvSpPr>
            <a:spLocks noGrp="1"/>
          </p:cNvSpPr>
          <p:nvPr>
            <p:ph type="title" hasCustomPrompt="1"/>
          </p:nvPr>
        </p:nvSpPr>
        <p:spPr>
          <a:xfrm>
            <a:off x="276303" y="609600"/>
            <a:ext cx="7081427" cy="1101213"/>
          </a:xfrm>
        </p:spPr>
        <p:txBody>
          <a:bodyPr anchor="t"/>
          <a:lstStyle>
            <a:lvl1pPr marL="0" marR="0" indent="0" algn="l" defTabSz="914400" rtl="0" eaLnBrk="1" fontAlgn="auto" latinLnBrk="0" hangingPunct="1">
              <a:lnSpc>
                <a:spcPct val="70000"/>
              </a:lnSpc>
              <a:spcBef>
                <a:spcPct val="0"/>
              </a:spcBef>
              <a:spcAft>
                <a:spcPts val="0"/>
              </a:spcAft>
              <a:buClrTx/>
              <a:buSzTx/>
              <a:buFontTx/>
              <a:buNone/>
              <a:tabLst/>
              <a:defRPr lang="en-GB" b="0" i="0" smtClean="0">
                <a:effectLst/>
              </a:defRPr>
            </a:lvl1pPr>
          </a:lstStyle>
          <a:p>
            <a:r>
              <a:rPr lang="en-US"/>
              <a:t>Example Header Left hand side aligned for use with faded image</a:t>
            </a:r>
          </a:p>
        </p:txBody>
      </p:sp>
      <p:sp>
        <p:nvSpPr>
          <p:cNvPr id="19" name="Content Placeholder 2">
            <a:extLst>
              <a:ext uri="{FF2B5EF4-FFF2-40B4-BE49-F238E27FC236}">
                <a16:creationId xmlns:a16="http://schemas.microsoft.com/office/drawing/2014/main" id="{B33226C0-5D19-E344-A58D-80D2F4BA6E2A}"/>
              </a:ext>
            </a:extLst>
          </p:cNvPr>
          <p:cNvSpPr>
            <a:spLocks noGrp="1"/>
          </p:cNvSpPr>
          <p:nvPr>
            <p:ph idx="11" hasCustomPrompt="1"/>
          </p:nvPr>
        </p:nvSpPr>
        <p:spPr>
          <a:xfrm>
            <a:off x="276303" y="2048256"/>
            <a:ext cx="7081427" cy="3618618"/>
          </a:xfrm>
        </p:spPr>
        <p:txBody>
          <a:bodyPr/>
          <a:lstStyle>
            <a:lvl1pPr marL="0" indent="0" algn="l">
              <a:lnSpc>
                <a:spcPct val="80000"/>
              </a:lnSpc>
              <a:spcBef>
                <a:spcPts val="1000"/>
              </a:spcBef>
              <a:buFont typeface="Arial" panose="020B0604020202020204" pitchFamily="34" charset="0"/>
              <a:buNone/>
              <a:defRPr sz="2400">
                <a:solidFill>
                  <a:schemeClr val="tx1"/>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
        <p:nvSpPr>
          <p:cNvPr id="20" name="TextBox 19">
            <a:extLst>
              <a:ext uri="{FF2B5EF4-FFF2-40B4-BE49-F238E27FC236}">
                <a16:creationId xmlns:a16="http://schemas.microsoft.com/office/drawing/2014/main" id="{75B74C86-73D8-264E-8DBA-B95F93383879}"/>
              </a:ext>
            </a:extLst>
          </p:cNvPr>
          <p:cNvSpPr txBox="1"/>
          <p:nvPr userDrawn="1"/>
        </p:nvSpPr>
        <p:spPr>
          <a:xfrm>
            <a:off x="11017792" y="6521025"/>
            <a:ext cx="1019596" cy="246221"/>
          </a:xfrm>
          <a:prstGeom prst="rect">
            <a:avLst/>
          </a:prstGeom>
          <a:noFill/>
        </p:spPr>
        <p:txBody>
          <a:bodyPr wrap="square" rtlCol="0">
            <a:spAutoFit/>
          </a:bodyPr>
          <a:lstStyle/>
          <a:p>
            <a:pPr algn="r"/>
            <a:fld id="{44515CC9-B04E-49D1-8DBC-3EBC45FAC8C9}" type="slidenum">
              <a:rPr lang="en-US" sz="1000" kern="1200" smtClean="0">
                <a:solidFill>
                  <a:schemeClr val="bg1">
                    <a:lumMod val="75000"/>
                  </a:schemeClr>
                </a:solidFill>
                <a:latin typeface="+mn-lt"/>
                <a:ea typeface="+mn-ea"/>
                <a:cs typeface="+mn-cs"/>
              </a:rPr>
              <a:pPr algn="r"/>
              <a:t>‹#›</a:t>
            </a:fld>
            <a:endParaRPr lang="en-US" sz="1000" kern="1200">
              <a:solidFill>
                <a:schemeClr val="bg1">
                  <a:lumMod val="75000"/>
                </a:schemeClr>
              </a:solidFill>
              <a:latin typeface="+mn-lt"/>
              <a:ea typeface="+mn-ea"/>
              <a:cs typeface="+mn-cs"/>
            </a:endParaRPr>
          </a:p>
        </p:txBody>
      </p:sp>
    </p:spTree>
    <p:extLst>
      <p:ext uri="{BB962C8B-B14F-4D97-AF65-F5344CB8AC3E}">
        <p14:creationId xmlns:p14="http://schemas.microsoft.com/office/powerpoint/2010/main" val="2997859869"/>
      </p:ext>
    </p:extLst>
  </p:cSld>
  <p:clrMapOvr>
    <a:masterClrMapping/>
  </p:clrMapOvr>
  <p:transition>
    <p:fade/>
  </p:transition>
  <p:extLst>
    <p:ext uri="{DCECCB84-F9BA-43D5-87BE-67443E8EF086}">
      <p15:sldGuideLst xmlns:p15="http://schemas.microsoft.com/office/powerpoint/2012/main">
        <p15:guide id="1" orient="horz" pos="36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6303" y="240653"/>
            <a:ext cx="11639394" cy="1101213"/>
          </a:xfrm>
          <a:prstGeom prst="rect">
            <a:avLst/>
          </a:prstGeom>
        </p:spPr>
        <p:txBody>
          <a:bodyPr vert="horz" lIns="91440" tIns="45720" rIns="91440" bIns="45720" rtlCol="0" anchor="ctr" anchorCtr="0">
            <a:noAutofit/>
          </a:bodyPr>
          <a:lstStyle/>
          <a:p>
            <a:r>
              <a:rPr lang="en-US"/>
              <a:t>Click to edit Master title style</a:t>
            </a:r>
          </a:p>
        </p:txBody>
      </p:sp>
      <p:sp>
        <p:nvSpPr>
          <p:cNvPr id="3" name="Text Placeholder 2"/>
          <p:cNvSpPr>
            <a:spLocks noGrp="1"/>
          </p:cNvSpPr>
          <p:nvPr>
            <p:ph type="body" idx="1"/>
          </p:nvPr>
        </p:nvSpPr>
        <p:spPr>
          <a:xfrm>
            <a:off x="826624" y="1499616"/>
            <a:ext cx="10538752" cy="4977384"/>
          </a:xfrm>
          <a:prstGeom prst="rect">
            <a:avLst/>
          </a:prstGeom>
        </p:spPr>
        <p:txBody>
          <a:bodyPr vert="horz" wrap="square"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F75D4C3E-9815-4041-A1C2-934F4867CA55}"/>
              </a:ext>
            </a:extLst>
          </p:cNvPr>
          <p:cNvSpPr txBox="1"/>
          <p:nvPr userDrawn="1"/>
        </p:nvSpPr>
        <p:spPr>
          <a:xfrm>
            <a:off x="11017792" y="6521025"/>
            <a:ext cx="1019596" cy="246221"/>
          </a:xfrm>
          <a:prstGeom prst="rect">
            <a:avLst/>
          </a:prstGeom>
          <a:noFill/>
        </p:spPr>
        <p:txBody>
          <a:bodyPr wrap="square" rtlCol="0">
            <a:spAutoFit/>
          </a:bodyPr>
          <a:lstStyle/>
          <a:p>
            <a:pPr algn="r"/>
            <a:fld id="{44515CC9-B04E-49D1-8DBC-3EBC45FAC8C9}" type="slidenum">
              <a:rPr lang="en-US" sz="1000" kern="1200" smtClean="0">
                <a:solidFill>
                  <a:schemeClr val="tx1">
                    <a:tint val="75000"/>
                  </a:schemeClr>
                </a:solidFill>
                <a:latin typeface="+mn-lt"/>
                <a:ea typeface="+mn-ea"/>
                <a:cs typeface="+mn-cs"/>
              </a:rPr>
              <a:pPr algn="r"/>
              <a:t>‹#›</a:t>
            </a:fld>
            <a:endParaRPr lang="en-US" sz="1000" kern="1200">
              <a:solidFill>
                <a:schemeClr val="tx1">
                  <a:tint val="75000"/>
                </a:schemeClr>
              </a:solidFill>
              <a:latin typeface="+mn-lt"/>
              <a:ea typeface="+mn-ea"/>
              <a:cs typeface="+mn-cs"/>
            </a:endParaRPr>
          </a:p>
        </p:txBody>
      </p:sp>
      <p:sp>
        <p:nvSpPr>
          <p:cNvPr id="11" name="TextBox 10">
            <a:extLst>
              <a:ext uri="{FF2B5EF4-FFF2-40B4-BE49-F238E27FC236}">
                <a16:creationId xmlns:a16="http://schemas.microsoft.com/office/drawing/2014/main" id="{985A4684-0963-4276-BCD0-F5FB7C7646B5}"/>
              </a:ext>
            </a:extLst>
          </p:cNvPr>
          <p:cNvSpPr txBox="1"/>
          <p:nvPr userDrawn="1"/>
        </p:nvSpPr>
        <p:spPr>
          <a:xfrm>
            <a:off x="5142982" y="6521025"/>
            <a:ext cx="190603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600">
                <a:solidFill>
                  <a:schemeClr val="bg2">
                    <a:lumMod val="75000"/>
                  </a:schemeClr>
                </a:solidFill>
                <a:latin typeface="+mn-lt"/>
                <a:ea typeface="ＭＳ Ｐゴシック" charset="0"/>
              </a:rPr>
              <a:t>Copyright © Veeva Systems 2021</a:t>
            </a:r>
          </a:p>
        </p:txBody>
      </p:sp>
      <p:pic>
        <p:nvPicPr>
          <p:cNvPr id="12" name="Picture 11">
            <a:extLst>
              <a:ext uri="{FF2B5EF4-FFF2-40B4-BE49-F238E27FC236}">
                <a16:creationId xmlns:a16="http://schemas.microsoft.com/office/drawing/2014/main" id="{69BD3E7B-7116-1C41-BF8B-D8F3784AB5D0}"/>
              </a:ext>
            </a:extLst>
          </p:cNvPr>
          <p:cNvPicPr>
            <a:picLocks noChangeAspect="1"/>
          </p:cNvPicPr>
          <p:nvPr userDrawn="1"/>
        </p:nvPicPr>
        <p:blipFill>
          <a:blip r:embed="rId24"/>
          <a:stretch>
            <a:fillRect/>
          </a:stretch>
        </p:blipFill>
        <p:spPr>
          <a:xfrm>
            <a:off x="266700" y="6376988"/>
            <a:ext cx="1508746" cy="356232"/>
          </a:xfrm>
          <a:prstGeom prst="rect">
            <a:avLst/>
          </a:prstGeom>
        </p:spPr>
      </p:pic>
    </p:spTree>
    <p:extLst>
      <p:ext uri="{BB962C8B-B14F-4D97-AF65-F5344CB8AC3E}">
        <p14:creationId xmlns:p14="http://schemas.microsoft.com/office/powerpoint/2010/main" val="460149875"/>
      </p:ext>
    </p:extLst>
  </p:cSld>
  <p:clrMap bg1="lt1" tx1="dk1" bg2="lt2" tx2="dk2" accent1="accent1" accent2="accent2" accent3="accent3" accent4="accent4" accent5="accent5" accent6="accent6" hlink="hlink" folHlink="folHlink"/>
  <p:sldLayoutIdLst>
    <p:sldLayoutId id="2147483667" r:id="rId1"/>
    <p:sldLayoutId id="2147483669" r:id="rId2"/>
    <p:sldLayoutId id="2147483717" r:id="rId3"/>
    <p:sldLayoutId id="2147483720" r:id="rId4"/>
    <p:sldLayoutId id="2147483718" r:id="rId5"/>
    <p:sldLayoutId id="2147483719" r:id="rId6"/>
    <p:sldLayoutId id="2147483675" r:id="rId7"/>
    <p:sldLayoutId id="2147483677" r:id="rId8"/>
    <p:sldLayoutId id="2147483672" r:id="rId9"/>
    <p:sldLayoutId id="2147483725" r:id="rId10"/>
    <p:sldLayoutId id="2147483676" r:id="rId11"/>
    <p:sldLayoutId id="2147483721" r:id="rId12"/>
    <p:sldLayoutId id="2147483662" r:id="rId13"/>
    <p:sldLayoutId id="2147483663" r:id="rId14"/>
    <p:sldLayoutId id="2147483664" r:id="rId15"/>
    <p:sldLayoutId id="2147483678" r:id="rId16"/>
    <p:sldLayoutId id="2147483679" r:id="rId17"/>
    <p:sldLayoutId id="2147483674" r:id="rId18"/>
    <p:sldLayoutId id="2147483690" r:id="rId19"/>
    <p:sldLayoutId id="2147483752" r:id="rId20"/>
    <p:sldLayoutId id="2147483753" r:id="rId21"/>
    <p:sldLayoutId id="2147483754" r:id="rId22"/>
  </p:sldLayoutIdLst>
  <p:transition>
    <p:fade/>
  </p:transition>
  <p:hf sldNum="0" hdr="0" ftr="0" dt="0"/>
  <p:txStyles>
    <p:titleStyle>
      <a:lvl1pPr algn="l" defTabSz="914400" rtl="0" eaLnBrk="1" latinLnBrk="0" hangingPunct="1">
        <a:lnSpc>
          <a:spcPct val="70000"/>
        </a:lnSpc>
        <a:spcBef>
          <a:spcPct val="0"/>
        </a:spcBef>
        <a:buNone/>
        <a:defRPr sz="3600" kern="1200">
          <a:solidFill>
            <a:schemeClr val="tx2"/>
          </a:solidFill>
          <a:latin typeface="+mj-lt"/>
          <a:ea typeface="+mj-ea"/>
          <a:cs typeface="+mj-cs"/>
        </a:defRPr>
      </a:lvl1pPr>
    </p:titleStyle>
    <p:bodyStyle>
      <a:lvl1pPr marL="228600" indent="-228600" algn="l" defTabSz="914400" rtl="0" eaLnBrk="1" latinLnBrk="0" hangingPunct="1">
        <a:lnSpc>
          <a:spcPct val="80000"/>
        </a:lnSpc>
        <a:spcBef>
          <a:spcPts val="1000"/>
        </a:spcBef>
        <a:buClr>
          <a:schemeClr val="tx2"/>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80000"/>
        </a:lnSpc>
        <a:spcBef>
          <a:spcPts val="600"/>
        </a:spcBef>
        <a:buFont typeface="Calibri" panose="020F0502020204030204" pitchFamily="34" charset="0"/>
        <a:buChar char="−"/>
        <a:defRPr sz="1900" kern="1200">
          <a:solidFill>
            <a:schemeClr val="tx1">
              <a:lumMod val="75000"/>
            </a:schemeClr>
          </a:solidFill>
          <a:latin typeface="+mn-lt"/>
          <a:ea typeface="+mn-ea"/>
          <a:cs typeface="+mn-cs"/>
        </a:defRPr>
      </a:lvl2pPr>
      <a:lvl3pPr marL="1143000" indent="-228600" algn="l" defTabSz="914400" rtl="0" eaLnBrk="1" latinLnBrk="0" hangingPunct="1">
        <a:lnSpc>
          <a:spcPct val="80000"/>
        </a:lnSpc>
        <a:spcBef>
          <a:spcPts val="600"/>
        </a:spcBef>
        <a:buFont typeface="Arial" panose="020B0604020202020204" pitchFamily="34" charset="0"/>
        <a:buChar char="•"/>
        <a:defRPr sz="1600" kern="1200">
          <a:solidFill>
            <a:schemeClr val="tx1">
              <a:lumMod val="75000"/>
            </a:schemeClr>
          </a:solidFill>
          <a:latin typeface="+mn-lt"/>
          <a:ea typeface="+mn-ea"/>
          <a:cs typeface="+mn-cs"/>
        </a:defRPr>
      </a:lvl3pPr>
      <a:lvl4pPr marL="1600200" indent="-228600" algn="l" defTabSz="914400" rtl="0" eaLnBrk="1" latinLnBrk="0" hangingPunct="1">
        <a:lnSpc>
          <a:spcPct val="80000"/>
        </a:lnSpc>
        <a:spcBef>
          <a:spcPts val="6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80000"/>
        </a:lnSpc>
        <a:spcBef>
          <a:spcPts val="6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672">
          <p15:clr>
            <a:srgbClr val="F26B43"/>
          </p15:clr>
        </p15:guide>
        <p15:guide id="4" orient="horz" pos="4080">
          <p15:clr>
            <a:srgbClr val="F26B43"/>
          </p15:clr>
        </p15:guide>
        <p15:guide id="5" pos="168">
          <p15:clr>
            <a:srgbClr val="F26B43"/>
          </p15:clr>
        </p15:guide>
        <p15:guide id="6" pos="75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Date Placeholder 3">
            <a:extLst>
              <a:ext uri="{FF2B5EF4-FFF2-40B4-BE49-F238E27FC236}">
                <a16:creationId xmlns:a16="http://schemas.microsoft.com/office/drawing/2014/main" id="{6BD022E9-1AF0-D441-89FB-E4108D4E6B0E}"/>
              </a:ext>
            </a:extLst>
          </p:cNvPr>
          <p:cNvSpPr>
            <a:spLocks noGrp="1"/>
          </p:cNvSpPr>
          <p:nvPr>
            <p:ph type="dt" sz="half" idx="2"/>
          </p:nvPr>
        </p:nvSpPr>
        <p:spPr>
          <a:xfrm>
            <a:off x="874867" y="6213310"/>
            <a:ext cx="7141347" cy="325604"/>
          </a:xfrm>
          <a:prstGeom prst="rect">
            <a:avLst/>
          </a:prstGeom>
        </p:spPr>
        <p:txBody>
          <a:bodyPr lIns="0" tIns="0" rIns="0" bIns="0" anchor="b"/>
          <a:lstStyle>
            <a:lvl1pPr marL="0" marR="0" indent="0" algn="l" defTabSz="914377" rtl="0" eaLnBrk="1" fontAlgn="auto" latinLnBrk="0" hangingPunct="1">
              <a:lnSpc>
                <a:spcPct val="100000"/>
              </a:lnSpc>
              <a:spcBef>
                <a:spcPts val="0"/>
              </a:spcBef>
              <a:spcAft>
                <a:spcPts val="0"/>
              </a:spcAft>
              <a:buClrTx/>
              <a:buSzTx/>
              <a:buFontTx/>
              <a:buNone/>
              <a:tabLst/>
              <a:defRPr lang="en-CA" sz="800" b="0" i="0" u="none" strike="noStrike" cap="all" baseline="0" smtClean="0">
                <a:solidFill>
                  <a:schemeClr val="accent3"/>
                </a:solidFill>
                <a:effectLst/>
                <a:latin typeface="Arial" panose="020B0604020202020204" pitchFamily="34" charset="0"/>
                <a:cs typeface="Arial" panose="020B0604020202020204" pitchFamily="34" charset="0"/>
              </a:defRPr>
            </a:lvl1pPr>
          </a:lstStyle>
          <a:p>
            <a:r>
              <a:rPr lang="en-CA"/>
              <a:t>Disclaimer goes here</a:t>
            </a:r>
          </a:p>
        </p:txBody>
      </p:sp>
      <p:sp>
        <p:nvSpPr>
          <p:cNvPr id="15" name="Slide Number Placeholder 5">
            <a:extLst>
              <a:ext uri="{FF2B5EF4-FFF2-40B4-BE49-F238E27FC236}">
                <a16:creationId xmlns:a16="http://schemas.microsoft.com/office/drawing/2014/main" id="{BD8F4315-808C-1D48-B36E-6E6CA2B02188}"/>
              </a:ext>
            </a:extLst>
          </p:cNvPr>
          <p:cNvSpPr>
            <a:spLocks noGrp="1"/>
          </p:cNvSpPr>
          <p:nvPr>
            <p:ph type="sldNum" sz="quarter" idx="4"/>
          </p:nvPr>
        </p:nvSpPr>
        <p:spPr>
          <a:xfrm>
            <a:off x="9730272" y="6376112"/>
            <a:ext cx="601133" cy="171449"/>
          </a:xfrm>
          <a:prstGeom prst="rect">
            <a:avLst/>
          </a:prstGeom>
        </p:spPr>
        <p:txBody>
          <a:bodyPr lIns="0" tIns="0" rIns="0" bIns="0"/>
          <a:lstStyle>
            <a:lvl1pPr algn="r">
              <a:defRPr sz="933">
                <a:solidFill>
                  <a:schemeClr val="accent3"/>
                </a:solidFill>
              </a:defRPr>
            </a:lvl1pPr>
          </a:lstStyle>
          <a:p>
            <a:fld id="{72704E50-790F-004D-A3FC-F1A2CCAC1708}" type="slidenum">
              <a:rPr lang="en-US" smtClean="0"/>
              <a:pPr/>
              <a:t>‹#›</a:t>
            </a:fld>
            <a:endParaRPr lang="en-US"/>
          </a:p>
        </p:txBody>
      </p:sp>
    </p:spTree>
    <p:extLst>
      <p:ext uri="{BB962C8B-B14F-4D97-AF65-F5344CB8AC3E}">
        <p14:creationId xmlns:p14="http://schemas.microsoft.com/office/powerpoint/2010/main" val="2603259894"/>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9">
          <p15:clr>
            <a:srgbClr val="F26B43"/>
          </p15:clr>
        </p15:guide>
        <p15:guide id="2" pos="408">
          <p15:clr>
            <a:srgbClr val="F26B43"/>
          </p15:clr>
        </p15:guide>
        <p15:guide id="3" pos="5352">
          <p15:clr>
            <a:srgbClr val="F26B43"/>
          </p15:clr>
        </p15:guide>
        <p15:guide id="4" orient="horz" pos="275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1.png"/><Relationship Id="rId7"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s/_rels/slide11.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30.sv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48.svg"/><Relationship Id="rId11" Type="http://schemas.openxmlformats.org/officeDocument/2006/relationships/image" Target="../media/image29.pn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12.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svg"/><Relationship Id="rId3" Type="http://schemas.openxmlformats.org/officeDocument/2006/relationships/image" Target="../media/image54.svg"/><Relationship Id="rId7" Type="http://schemas.openxmlformats.org/officeDocument/2006/relationships/image" Target="../media/image58.svg"/><Relationship Id="rId12" Type="http://schemas.openxmlformats.org/officeDocument/2006/relationships/image" Target="../media/image63.png"/><Relationship Id="rId2" Type="http://schemas.openxmlformats.org/officeDocument/2006/relationships/image" Target="../media/image53.png"/><Relationship Id="rId1" Type="http://schemas.openxmlformats.org/officeDocument/2006/relationships/slideLayout" Target="../slideLayouts/slideLayout22.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56.sv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svg"/></Relationships>
</file>

<file path=ppt/slides/_rels/slide13.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svg"/><Relationship Id="rId18" Type="http://schemas.openxmlformats.org/officeDocument/2006/relationships/image" Target="../media/image53.png"/><Relationship Id="rId3" Type="http://schemas.openxmlformats.org/officeDocument/2006/relationships/image" Target="../media/image66.svg"/><Relationship Id="rId7" Type="http://schemas.openxmlformats.org/officeDocument/2006/relationships/image" Target="../media/image70.svg"/><Relationship Id="rId12" Type="http://schemas.openxmlformats.org/officeDocument/2006/relationships/image" Target="../media/image75.png"/><Relationship Id="rId17" Type="http://schemas.openxmlformats.org/officeDocument/2006/relationships/image" Target="../media/image80.svg"/><Relationship Id="rId2" Type="http://schemas.openxmlformats.org/officeDocument/2006/relationships/image" Target="../media/image65.png"/><Relationship Id="rId16"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69.png"/><Relationship Id="rId11" Type="http://schemas.openxmlformats.org/officeDocument/2006/relationships/image" Target="../media/image74.svg"/><Relationship Id="rId5" Type="http://schemas.openxmlformats.org/officeDocument/2006/relationships/image" Target="../media/image68.svg"/><Relationship Id="rId15" Type="http://schemas.openxmlformats.org/officeDocument/2006/relationships/image" Target="../media/image78.svg"/><Relationship Id="rId10" Type="http://schemas.openxmlformats.org/officeDocument/2006/relationships/image" Target="../media/image73.png"/><Relationship Id="rId19" Type="http://schemas.openxmlformats.org/officeDocument/2006/relationships/image" Target="../media/image54.svg"/><Relationship Id="rId4" Type="http://schemas.openxmlformats.org/officeDocument/2006/relationships/image" Target="../media/image67.png"/><Relationship Id="rId9" Type="http://schemas.openxmlformats.org/officeDocument/2006/relationships/image" Target="../media/image72.svg"/><Relationship Id="rId14" Type="http://schemas.openxmlformats.org/officeDocument/2006/relationships/image" Target="../media/image77.png"/></Relationships>
</file>

<file path=ppt/slides/_rels/slide14.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7.svg"/><Relationship Id="rId18" Type="http://schemas.openxmlformats.org/officeDocument/2006/relationships/image" Target="../media/image92.png"/><Relationship Id="rId3" Type="http://schemas.openxmlformats.org/officeDocument/2006/relationships/image" Target="../media/image51.png"/><Relationship Id="rId21" Type="http://schemas.openxmlformats.org/officeDocument/2006/relationships/image" Target="../media/image53.png"/><Relationship Id="rId7" Type="http://schemas.openxmlformats.org/officeDocument/2006/relationships/image" Target="../media/image83.png"/><Relationship Id="rId12" Type="http://schemas.openxmlformats.org/officeDocument/2006/relationships/image" Target="../media/image50.svg"/><Relationship Id="rId17" Type="http://schemas.openxmlformats.org/officeDocument/2006/relationships/image" Target="../media/image91.svg"/><Relationship Id="rId2" Type="http://schemas.openxmlformats.org/officeDocument/2006/relationships/notesSlide" Target="../notesSlides/notesSlide10.xml"/><Relationship Id="rId16" Type="http://schemas.openxmlformats.org/officeDocument/2006/relationships/image" Target="../media/image90.png"/><Relationship Id="rId20" Type="http://schemas.openxmlformats.org/officeDocument/2006/relationships/image" Target="../media/image94.png"/><Relationship Id="rId1" Type="http://schemas.openxmlformats.org/officeDocument/2006/relationships/slideLayout" Target="../slideLayouts/slideLayout9.xml"/><Relationship Id="rId6" Type="http://schemas.openxmlformats.org/officeDocument/2006/relationships/image" Target="../media/image82.svg"/><Relationship Id="rId11" Type="http://schemas.openxmlformats.org/officeDocument/2006/relationships/image" Target="../media/image49.png"/><Relationship Id="rId5" Type="http://schemas.openxmlformats.org/officeDocument/2006/relationships/image" Target="../media/image81.png"/><Relationship Id="rId15" Type="http://schemas.openxmlformats.org/officeDocument/2006/relationships/image" Target="../media/image89.svg"/><Relationship Id="rId10" Type="http://schemas.openxmlformats.org/officeDocument/2006/relationships/image" Target="../media/image86.svg"/><Relationship Id="rId19" Type="http://schemas.openxmlformats.org/officeDocument/2006/relationships/image" Target="../media/image93.svg"/><Relationship Id="rId4" Type="http://schemas.openxmlformats.org/officeDocument/2006/relationships/image" Target="../media/image52.svg"/><Relationship Id="rId9" Type="http://schemas.openxmlformats.org/officeDocument/2006/relationships/image" Target="../media/image85.png"/><Relationship Id="rId14" Type="http://schemas.openxmlformats.org/officeDocument/2006/relationships/image" Target="../media/image88.png"/><Relationship Id="rId22" Type="http://schemas.openxmlformats.org/officeDocument/2006/relationships/image" Target="../media/image54.svg"/></Relationships>
</file>

<file path=ppt/slides/_rels/slide1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5.png"/><Relationship Id="rId1" Type="http://schemas.openxmlformats.org/officeDocument/2006/relationships/slideLayout" Target="../slideLayouts/slideLayout2.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9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101.sv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99.svg"/><Relationship Id="rId9" Type="http://schemas.openxmlformats.org/officeDocument/2006/relationships/image" Target="../media/image104.png"/></Relationships>
</file>

<file path=ppt/slides/_rels/slide21.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98.png"/><Relationship Id="rId7" Type="http://schemas.openxmlformats.org/officeDocument/2006/relationships/image" Target="../media/image104.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01.svg"/><Relationship Id="rId5" Type="http://schemas.openxmlformats.org/officeDocument/2006/relationships/image" Target="../media/image100.png"/><Relationship Id="rId10" Type="http://schemas.openxmlformats.org/officeDocument/2006/relationships/image" Target="../media/image106.svg"/><Relationship Id="rId4" Type="http://schemas.openxmlformats.org/officeDocument/2006/relationships/image" Target="../media/image99.svg"/><Relationship Id="rId9" Type="http://schemas.openxmlformats.org/officeDocument/2006/relationships/image" Target="../media/image10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8" Type="http://schemas.openxmlformats.org/officeDocument/2006/relationships/image" Target="../media/image112.emf"/><Relationship Id="rId13" Type="http://schemas.openxmlformats.org/officeDocument/2006/relationships/image" Target="../media/image117.emf"/><Relationship Id="rId18" Type="http://schemas.openxmlformats.org/officeDocument/2006/relationships/image" Target="../media/image122.png"/><Relationship Id="rId3" Type="http://schemas.openxmlformats.org/officeDocument/2006/relationships/image" Target="../media/image107.emf"/><Relationship Id="rId21" Type="http://schemas.openxmlformats.org/officeDocument/2006/relationships/image" Target="../media/image125.emf"/><Relationship Id="rId7" Type="http://schemas.openxmlformats.org/officeDocument/2006/relationships/image" Target="../media/image111.png"/><Relationship Id="rId12" Type="http://schemas.openxmlformats.org/officeDocument/2006/relationships/image" Target="../media/image116.emf"/><Relationship Id="rId17" Type="http://schemas.openxmlformats.org/officeDocument/2006/relationships/image" Target="../media/image121.png"/><Relationship Id="rId25" Type="http://schemas.openxmlformats.org/officeDocument/2006/relationships/image" Target="../media/image129.png"/><Relationship Id="rId2" Type="http://schemas.openxmlformats.org/officeDocument/2006/relationships/notesSlide" Target="../notesSlides/notesSlide15.xml"/><Relationship Id="rId16" Type="http://schemas.openxmlformats.org/officeDocument/2006/relationships/image" Target="../media/image120.png"/><Relationship Id="rId20" Type="http://schemas.openxmlformats.org/officeDocument/2006/relationships/image" Target="../media/image124.emf"/><Relationship Id="rId1" Type="http://schemas.openxmlformats.org/officeDocument/2006/relationships/slideLayout" Target="../slideLayouts/slideLayout2.xml"/><Relationship Id="rId6" Type="http://schemas.openxmlformats.org/officeDocument/2006/relationships/image" Target="../media/image110.emf"/><Relationship Id="rId11" Type="http://schemas.openxmlformats.org/officeDocument/2006/relationships/image" Target="../media/image115.emf"/><Relationship Id="rId24" Type="http://schemas.openxmlformats.org/officeDocument/2006/relationships/image" Target="../media/image128.png"/><Relationship Id="rId5" Type="http://schemas.openxmlformats.org/officeDocument/2006/relationships/image" Target="../media/image109.emf"/><Relationship Id="rId15" Type="http://schemas.openxmlformats.org/officeDocument/2006/relationships/image" Target="../media/image119.png"/><Relationship Id="rId23" Type="http://schemas.openxmlformats.org/officeDocument/2006/relationships/image" Target="../media/image127.png"/><Relationship Id="rId10" Type="http://schemas.openxmlformats.org/officeDocument/2006/relationships/image" Target="../media/image114.emf"/><Relationship Id="rId19" Type="http://schemas.openxmlformats.org/officeDocument/2006/relationships/image" Target="../media/image123.emf"/><Relationship Id="rId4" Type="http://schemas.openxmlformats.org/officeDocument/2006/relationships/image" Target="../media/image108.emf"/><Relationship Id="rId9" Type="http://schemas.openxmlformats.org/officeDocument/2006/relationships/image" Target="../media/image113.emf"/><Relationship Id="rId14" Type="http://schemas.openxmlformats.org/officeDocument/2006/relationships/image" Target="../media/image118.emf"/><Relationship Id="rId22" Type="http://schemas.openxmlformats.org/officeDocument/2006/relationships/image" Target="../media/image126.png"/></Relationships>
</file>

<file path=ppt/slides/_rels/slide24.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image" Target="../media/image130.jpeg"/><Relationship Id="rId1" Type="http://schemas.openxmlformats.org/officeDocument/2006/relationships/slideLayout" Target="../slideLayouts/slideLayout2.xml"/><Relationship Id="rId5" Type="http://schemas.openxmlformats.org/officeDocument/2006/relationships/image" Target="../media/image133.emf"/><Relationship Id="rId4" Type="http://schemas.openxmlformats.org/officeDocument/2006/relationships/image" Target="../media/image132.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1.jpeg"/><Relationship Id="rId3" Type="http://schemas.openxmlformats.org/officeDocument/2006/relationships/image" Target="../media/image134.png"/><Relationship Id="rId7" Type="http://schemas.microsoft.com/office/2007/relationships/hdphoto" Target="../media/hdphoto2.wdp"/><Relationship Id="rId12" Type="http://schemas.openxmlformats.org/officeDocument/2006/relationships/image" Target="../media/image140.tiff"/><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36.png"/><Relationship Id="rId11" Type="http://schemas.openxmlformats.org/officeDocument/2006/relationships/image" Target="../media/image139.jpeg"/><Relationship Id="rId5" Type="http://schemas.microsoft.com/office/2007/relationships/hdphoto" Target="../media/hdphoto1.wdp"/><Relationship Id="rId15" Type="http://schemas.openxmlformats.org/officeDocument/2006/relationships/image" Target="../media/image143.tiff"/><Relationship Id="rId10" Type="http://schemas.openxmlformats.org/officeDocument/2006/relationships/image" Target="../media/image138.jpeg"/><Relationship Id="rId4" Type="http://schemas.openxmlformats.org/officeDocument/2006/relationships/image" Target="../media/image135.png"/><Relationship Id="rId9" Type="http://schemas.microsoft.com/office/2007/relationships/hdphoto" Target="../media/hdphoto3.wdp"/><Relationship Id="rId14" Type="http://schemas.openxmlformats.org/officeDocument/2006/relationships/image" Target="../media/image142.tif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98.png"/><Relationship Id="rId7" Type="http://schemas.openxmlformats.org/officeDocument/2006/relationships/image" Target="../media/image104.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101.svg"/><Relationship Id="rId5" Type="http://schemas.openxmlformats.org/officeDocument/2006/relationships/image" Target="../media/image100.png"/><Relationship Id="rId10" Type="http://schemas.openxmlformats.org/officeDocument/2006/relationships/image" Target="../media/image106.svg"/><Relationship Id="rId4" Type="http://schemas.openxmlformats.org/officeDocument/2006/relationships/image" Target="../media/image99.svg"/><Relationship Id="rId9" Type="http://schemas.openxmlformats.org/officeDocument/2006/relationships/image" Target="../media/image102.png"/></Relationships>
</file>

<file path=ppt/slides/_rels/slide32.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146.png"/><Relationship Id="rId4" Type="http://schemas.openxmlformats.org/officeDocument/2006/relationships/image" Target="../media/image145.emf"/></Relationships>
</file>

<file path=ppt/slides/_rels/slide33.xml.rels><?xml version="1.0" encoding="UTF-8" standalone="yes"?>
<Relationships xmlns="http://schemas.openxmlformats.org/package/2006/relationships"><Relationship Id="rId3" Type="http://schemas.openxmlformats.org/officeDocument/2006/relationships/image" Target="../media/image144.emf"/><Relationship Id="rId7" Type="http://schemas.openxmlformats.org/officeDocument/2006/relationships/image" Target="../media/image150.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49.emf"/><Relationship Id="rId5" Type="http://schemas.openxmlformats.org/officeDocument/2006/relationships/image" Target="../media/image148.emf"/><Relationship Id="rId4" Type="http://schemas.openxmlformats.org/officeDocument/2006/relationships/image" Target="../media/image147.png"/></Relationships>
</file>

<file path=ppt/slides/_rels/slide34.xml.rels><?xml version="1.0" encoding="UTF-8" standalone="yes"?>
<Relationships xmlns="http://schemas.openxmlformats.org/package/2006/relationships"><Relationship Id="rId3" Type="http://schemas.openxmlformats.org/officeDocument/2006/relationships/image" Target="../media/image144.emf"/><Relationship Id="rId7" Type="http://schemas.openxmlformats.org/officeDocument/2006/relationships/image" Target="../media/image154.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53.png"/><Relationship Id="rId5" Type="http://schemas.openxmlformats.org/officeDocument/2006/relationships/image" Target="../media/image152.emf"/><Relationship Id="rId4" Type="http://schemas.openxmlformats.org/officeDocument/2006/relationships/image" Target="../media/image151.emf"/></Relationships>
</file>

<file path=ppt/slides/_rels/slide35.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44.emf"/><Relationship Id="rId7" Type="http://schemas.openxmlformats.org/officeDocument/2006/relationships/image" Target="../media/image158.sv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157.png"/><Relationship Id="rId11" Type="http://schemas.openxmlformats.org/officeDocument/2006/relationships/image" Target="../media/image162.svg"/><Relationship Id="rId5" Type="http://schemas.openxmlformats.org/officeDocument/2006/relationships/image" Target="../media/image156.emf"/><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svg"/></Relationships>
</file>

<file path=ppt/slides/_rels/slide3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37.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169.tiff"/><Relationship Id="rId5" Type="http://schemas.openxmlformats.org/officeDocument/2006/relationships/image" Target="../media/image168.tiff"/><Relationship Id="rId4" Type="http://schemas.openxmlformats.org/officeDocument/2006/relationships/image" Target="../media/image167.png"/></Relationships>
</file>

<file path=ppt/slides/_rels/slide38.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39.xml.rels><?xml version="1.0" encoding="UTF-8" standalone="yes"?>
<Relationships xmlns="http://schemas.openxmlformats.org/package/2006/relationships"><Relationship Id="rId3" Type="http://schemas.openxmlformats.org/officeDocument/2006/relationships/image" Target="../media/image144.emf"/><Relationship Id="rId7" Type="http://schemas.openxmlformats.org/officeDocument/2006/relationships/image" Target="../media/image176.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2.svg"/></Relationships>
</file>

<file path=ppt/slides/_rels/slide40.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178.png"/><Relationship Id="rId4" Type="http://schemas.openxmlformats.org/officeDocument/2006/relationships/image" Target="../media/image177.emf"/></Relationships>
</file>

<file path=ppt/slides/_rels/slide4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181.png"/><Relationship Id="rId4" Type="http://schemas.openxmlformats.org/officeDocument/2006/relationships/image" Target="../media/image180.png"/></Relationships>
</file>

<file path=ppt/slides/_rels/slide4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1.xml"/><Relationship Id="rId4" Type="http://schemas.openxmlformats.org/officeDocument/2006/relationships/image" Target="../media/image184.png"/></Relationships>
</file>

<file path=ppt/slides/_rels/slide43.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1.xml"/><Relationship Id="rId5" Type="http://schemas.openxmlformats.org/officeDocument/2006/relationships/image" Target="../media/image188.png"/><Relationship Id="rId4" Type="http://schemas.openxmlformats.org/officeDocument/2006/relationships/image" Target="../media/image187.png"/></Relationships>
</file>

<file path=ppt/slides/_rels/slide4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0.png"/></Relationships>
</file>

<file path=ppt/slides/_rels/slide45.xml.rels><?xml version="1.0" encoding="UTF-8" standalone="yes"?>
<Relationships xmlns="http://schemas.openxmlformats.org/package/2006/relationships"><Relationship Id="rId3" Type="http://schemas.openxmlformats.org/officeDocument/2006/relationships/image" Target="../media/image193.png"/><Relationship Id="rId7" Type="http://schemas.openxmlformats.org/officeDocument/2006/relationships/image" Target="../media/image197.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196.png"/><Relationship Id="rId5" Type="http://schemas.openxmlformats.org/officeDocument/2006/relationships/image" Target="../media/image195.jpeg"/><Relationship Id="rId4" Type="http://schemas.openxmlformats.org/officeDocument/2006/relationships/image" Target="../media/image19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20.xml"/><Relationship Id="rId5" Type="http://schemas.openxmlformats.org/officeDocument/2006/relationships/image" Target="../media/image26.sv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20.xml"/><Relationship Id="rId7" Type="http://schemas.openxmlformats.org/officeDocument/2006/relationships/image" Target="../media/image28.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oleObject1.bin"/><Relationship Id="rId4" Type="http://schemas.openxmlformats.org/officeDocument/2006/relationships/notesSlide" Target="../notesSlides/notesSlide5.xml"/><Relationship Id="rId9" Type="http://schemas.openxmlformats.org/officeDocument/2006/relationships/image" Target="../media/image30.svg"/></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21.xml"/><Relationship Id="rId5" Type="http://schemas.openxmlformats.org/officeDocument/2006/relationships/image" Target="../media/image30.sv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chart" Target="../charts/chart1.xm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30.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5.svg"/><Relationship Id="rId11" Type="http://schemas.openxmlformats.org/officeDocument/2006/relationships/image" Target="../media/image29.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4098" name="Picture 2" descr="photo of outer space">
            <a:extLst>
              <a:ext uri="{FF2B5EF4-FFF2-40B4-BE49-F238E27FC236}">
                <a16:creationId xmlns:a16="http://schemas.microsoft.com/office/drawing/2014/main" id="{A56D47FC-50C4-9F47-8442-1C5E8C2C811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130457" y="71716"/>
            <a:ext cx="10022204" cy="678628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31EBFF32-987C-FC4C-8441-960A5CA58B87}"/>
              </a:ext>
            </a:extLst>
          </p:cNvPr>
          <p:cNvSpPr/>
          <p:nvPr/>
        </p:nvSpPr>
        <p:spPr>
          <a:xfrm>
            <a:off x="1884958" y="0"/>
            <a:ext cx="7037093" cy="6858000"/>
          </a:xfrm>
          <a:prstGeom prst="rect">
            <a:avLst/>
          </a:prstGeom>
          <a:gradFill flip="none" rotWithShape="1">
            <a:gsLst>
              <a:gs pos="0">
                <a:schemeClr val="bg2">
                  <a:lumMod val="0"/>
                </a:schemeClr>
              </a:gs>
              <a:gs pos="100000">
                <a:schemeClr val="tx1">
                  <a:lumMod val="5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Light" panose="02000000000000000000" pitchFamily="2" charset="0"/>
              <a:ea typeface="+mn-ea"/>
              <a:cs typeface="+mn-cs"/>
            </a:endParaRPr>
          </a:p>
        </p:txBody>
      </p:sp>
      <p:grpSp>
        <p:nvGrpSpPr>
          <p:cNvPr id="2" name="Group 1">
            <a:extLst>
              <a:ext uri="{FF2B5EF4-FFF2-40B4-BE49-F238E27FC236}">
                <a16:creationId xmlns:a16="http://schemas.microsoft.com/office/drawing/2014/main" id="{AC401DE2-A322-9247-821C-A77D10267ADF}"/>
              </a:ext>
            </a:extLst>
          </p:cNvPr>
          <p:cNvGrpSpPr/>
          <p:nvPr/>
        </p:nvGrpSpPr>
        <p:grpSpPr>
          <a:xfrm>
            <a:off x="622837" y="805543"/>
            <a:ext cx="10580915" cy="3141488"/>
            <a:chOff x="622837" y="805543"/>
            <a:chExt cx="10580915" cy="3141488"/>
          </a:xfrm>
        </p:grpSpPr>
        <p:sp>
          <p:nvSpPr>
            <p:cNvPr id="20" name="Subtitle 2">
              <a:extLst>
                <a:ext uri="{FF2B5EF4-FFF2-40B4-BE49-F238E27FC236}">
                  <a16:creationId xmlns:a16="http://schemas.microsoft.com/office/drawing/2014/main" id="{4AA4116D-5007-5448-A37B-9F7571CE3996}"/>
                </a:ext>
              </a:extLst>
            </p:cNvPr>
            <p:cNvSpPr txBox="1">
              <a:spLocks/>
            </p:cNvSpPr>
            <p:nvPr/>
          </p:nvSpPr>
          <p:spPr>
            <a:xfrm>
              <a:off x="622838" y="3054401"/>
              <a:ext cx="10580914" cy="892630"/>
            </a:xfrm>
            <a:prstGeom prst="rect">
              <a:avLst/>
            </a:prstGeom>
          </p:spPr>
          <p:txBody>
            <a:bodyPr lIns="91440" tIns="45720" rIns="91440" bIns="45720" anchor="t"/>
            <a:lstStyle>
              <a:lvl1pPr marL="228600" indent="-228600" algn="l" defTabSz="914400" rtl="0" eaLnBrk="1" latinLnBrk="0" hangingPunct="1">
                <a:lnSpc>
                  <a:spcPct val="80000"/>
                </a:lnSpc>
                <a:spcBef>
                  <a:spcPts val="1000"/>
                </a:spcBef>
                <a:buClr>
                  <a:schemeClr val="tx2"/>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80000"/>
                </a:lnSpc>
                <a:spcBef>
                  <a:spcPts val="600"/>
                </a:spcBef>
                <a:buFont typeface="Calibri" panose="020F0502020204030204" pitchFamily="34" charset="0"/>
                <a:buChar char="−"/>
                <a:defRPr sz="1900" kern="1200">
                  <a:solidFill>
                    <a:schemeClr val="tx1">
                      <a:lumMod val="75000"/>
                    </a:schemeClr>
                  </a:solidFill>
                  <a:latin typeface="+mn-lt"/>
                  <a:ea typeface="+mn-ea"/>
                  <a:cs typeface="+mn-cs"/>
                </a:defRPr>
              </a:lvl2pPr>
              <a:lvl3pPr marL="1143000" indent="-228600" algn="l" defTabSz="914400" rtl="0" eaLnBrk="1" latinLnBrk="0" hangingPunct="1">
                <a:lnSpc>
                  <a:spcPct val="80000"/>
                </a:lnSpc>
                <a:spcBef>
                  <a:spcPts val="600"/>
                </a:spcBef>
                <a:buFont typeface="Arial" panose="020B0604020202020204" pitchFamily="34" charset="0"/>
                <a:buChar char="•"/>
                <a:defRPr sz="1600" kern="1200">
                  <a:solidFill>
                    <a:schemeClr val="tx1">
                      <a:lumMod val="75000"/>
                    </a:schemeClr>
                  </a:solidFill>
                  <a:latin typeface="+mn-lt"/>
                  <a:ea typeface="+mn-ea"/>
                  <a:cs typeface="+mn-cs"/>
                </a:defRPr>
              </a:lvl3pPr>
              <a:lvl4pPr marL="1600200" indent="-228600" algn="l" defTabSz="914400" rtl="0" eaLnBrk="1" latinLnBrk="0" hangingPunct="1">
                <a:lnSpc>
                  <a:spcPct val="80000"/>
                </a:lnSpc>
                <a:spcBef>
                  <a:spcPts val="6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80000"/>
                </a:lnSpc>
                <a:spcBef>
                  <a:spcPts val="6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FF9E16"/>
                </a:buClr>
                <a:buNone/>
                <a:defRPr/>
              </a:pPr>
              <a:r>
                <a:rPr lang="en-US">
                  <a:solidFill>
                    <a:srgbClr val="FFFFFF"/>
                  </a:solidFill>
                  <a:latin typeface="Calibri"/>
                </a:rPr>
                <a:t>Veeva Pitch Pre-Read</a:t>
              </a:r>
              <a:endParaRPr lang="en-US">
                <a:solidFill>
                  <a:srgbClr val="4B4C4F"/>
                </a:solidFill>
                <a:latin typeface="Calibri"/>
              </a:endParaRPr>
            </a:p>
            <a:p>
              <a:pPr marL="0" indent="0">
                <a:buNone/>
                <a:defRPr/>
              </a:pPr>
              <a:endParaRPr lang="en-US">
                <a:solidFill>
                  <a:srgbClr val="FFFFFF"/>
                </a:solidFill>
                <a:latin typeface="Calibri"/>
              </a:endParaRPr>
            </a:p>
            <a:p>
              <a:pPr marL="0" indent="0">
                <a:buNone/>
                <a:defRPr/>
              </a:pPr>
              <a:r>
                <a:rPr lang="en-US">
                  <a:solidFill>
                    <a:srgbClr val="FFFFFF"/>
                  </a:solidFill>
                  <a:latin typeface="Calibri"/>
                </a:rPr>
                <a:t>13 April 2021</a:t>
              </a:r>
              <a:endParaRPr lang="en-US"/>
            </a:p>
          </p:txBody>
        </p:sp>
        <p:sp>
          <p:nvSpPr>
            <p:cNvPr id="22" name="Title 1">
              <a:extLst>
                <a:ext uri="{FF2B5EF4-FFF2-40B4-BE49-F238E27FC236}">
                  <a16:creationId xmlns:a16="http://schemas.microsoft.com/office/drawing/2014/main" id="{F95A5B24-58E1-2F4E-BB32-B3E70BDA7FEF}"/>
                </a:ext>
              </a:extLst>
            </p:cNvPr>
            <p:cNvSpPr txBox="1">
              <a:spLocks/>
            </p:cNvSpPr>
            <p:nvPr/>
          </p:nvSpPr>
          <p:spPr>
            <a:xfrm>
              <a:off x="622837" y="1819743"/>
              <a:ext cx="9791163" cy="784761"/>
            </a:xfrm>
            <a:prstGeom prst="rect">
              <a:avLst/>
            </a:prstGeom>
          </p:spPr>
          <p:txBody>
            <a:bodyPr/>
            <a:lstStyle>
              <a:lvl1pPr algn="ctr" defTabSz="914400" rtl="0" eaLnBrk="1" latinLnBrk="0" hangingPunct="1">
                <a:lnSpc>
                  <a:spcPct val="7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Calibri"/>
                  <a:ea typeface="+mj-ea"/>
                  <a:cs typeface="+mj-cs"/>
                </a:rPr>
                <a:t>Galapagos Customer Engagement Model</a:t>
              </a:r>
              <a:endParaRPr kumimoji="0" lang="en-US" sz="4400" b="1"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cs typeface="+mj-cs"/>
              </a:endParaRPr>
            </a:p>
          </p:txBody>
        </p:sp>
        <p:grpSp>
          <p:nvGrpSpPr>
            <p:cNvPr id="23" name="Group 13">
              <a:extLst>
                <a:ext uri="{FF2B5EF4-FFF2-40B4-BE49-F238E27FC236}">
                  <a16:creationId xmlns:a16="http://schemas.microsoft.com/office/drawing/2014/main" id="{6E66365B-BEAA-5E4E-B48B-7B7FCE22E1A7}"/>
                </a:ext>
              </a:extLst>
            </p:cNvPr>
            <p:cNvGrpSpPr>
              <a:grpSpLocks noChangeAspect="1"/>
            </p:cNvGrpSpPr>
            <p:nvPr/>
          </p:nvGrpSpPr>
          <p:grpSpPr bwMode="auto">
            <a:xfrm>
              <a:off x="627092" y="805543"/>
              <a:ext cx="2811672" cy="652151"/>
              <a:chOff x="0" y="1492"/>
              <a:chExt cx="5760" cy="1336"/>
            </a:xfrm>
            <a:solidFill>
              <a:schemeClr val="tx2"/>
            </a:solidFill>
          </p:grpSpPr>
          <p:sp>
            <p:nvSpPr>
              <p:cNvPr id="24" name="Freeform 14">
                <a:extLst>
                  <a:ext uri="{FF2B5EF4-FFF2-40B4-BE49-F238E27FC236}">
                    <a16:creationId xmlns:a16="http://schemas.microsoft.com/office/drawing/2014/main" id="{C0D62908-8EBC-E347-BE29-F1A4E26239BF}"/>
                  </a:ext>
                </a:extLst>
              </p:cNvPr>
              <p:cNvSpPr>
                <a:spLocks/>
              </p:cNvSpPr>
              <p:nvPr userDrawn="1"/>
            </p:nvSpPr>
            <p:spPr bwMode="auto">
              <a:xfrm>
                <a:off x="3518" y="1664"/>
                <a:ext cx="1165" cy="1164"/>
              </a:xfrm>
              <a:custGeom>
                <a:avLst/>
                <a:gdLst>
                  <a:gd name="T0" fmla="*/ 265 w 265"/>
                  <a:gd name="T1" fmla="*/ 0 h 264"/>
                  <a:gd name="T2" fmla="*/ 215 w 265"/>
                  <a:gd name="T3" fmla="*/ 0 h 264"/>
                  <a:gd name="T4" fmla="*/ 132 w 265"/>
                  <a:gd name="T5" fmla="*/ 166 h 264"/>
                  <a:gd name="T6" fmla="*/ 49 w 265"/>
                  <a:gd name="T7" fmla="*/ 0 h 264"/>
                  <a:gd name="T8" fmla="*/ 0 w 265"/>
                  <a:gd name="T9" fmla="*/ 0 h 264"/>
                  <a:gd name="T10" fmla="*/ 132 w 265"/>
                  <a:gd name="T11" fmla="*/ 264 h 264"/>
                  <a:gd name="T12" fmla="*/ 265 w 265"/>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265" h="264">
                    <a:moveTo>
                      <a:pt x="265" y="0"/>
                    </a:moveTo>
                    <a:cubicBezTo>
                      <a:pt x="215" y="0"/>
                      <a:pt x="215" y="0"/>
                      <a:pt x="215" y="0"/>
                    </a:cubicBezTo>
                    <a:cubicBezTo>
                      <a:pt x="132" y="166"/>
                      <a:pt x="132" y="166"/>
                      <a:pt x="132" y="166"/>
                    </a:cubicBezTo>
                    <a:cubicBezTo>
                      <a:pt x="49" y="0"/>
                      <a:pt x="49" y="0"/>
                      <a:pt x="49" y="0"/>
                    </a:cubicBezTo>
                    <a:cubicBezTo>
                      <a:pt x="0" y="0"/>
                      <a:pt x="0" y="0"/>
                      <a:pt x="0" y="0"/>
                    </a:cubicBezTo>
                    <a:cubicBezTo>
                      <a:pt x="53" y="104"/>
                      <a:pt x="132" y="264"/>
                      <a:pt x="132" y="264"/>
                    </a:cubicBezTo>
                    <a:lnTo>
                      <a:pt x="26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Roboto Light" panose="02000000000000000000" pitchFamily="2" charset="0"/>
                  <a:ea typeface="+mn-ea"/>
                  <a:cs typeface="+mn-cs"/>
                </a:endParaRPr>
              </a:p>
            </p:txBody>
          </p:sp>
          <p:sp>
            <p:nvSpPr>
              <p:cNvPr id="25" name="Freeform 15">
                <a:extLst>
                  <a:ext uri="{FF2B5EF4-FFF2-40B4-BE49-F238E27FC236}">
                    <a16:creationId xmlns:a16="http://schemas.microsoft.com/office/drawing/2014/main" id="{D1D2D88C-C40D-624A-9153-D7BD758DB571}"/>
                  </a:ext>
                </a:extLst>
              </p:cNvPr>
              <p:cNvSpPr>
                <a:spLocks noEditPoints="1"/>
              </p:cNvSpPr>
              <p:nvPr userDrawn="1"/>
            </p:nvSpPr>
            <p:spPr bwMode="auto">
              <a:xfrm>
                <a:off x="2440" y="1651"/>
                <a:ext cx="1130" cy="1137"/>
              </a:xfrm>
              <a:custGeom>
                <a:avLst/>
                <a:gdLst>
                  <a:gd name="T0" fmla="*/ 128 w 257"/>
                  <a:gd name="T1" fmla="*/ 42 h 258"/>
                  <a:gd name="T2" fmla="*/ 213 w 257"/>
                  <a:gd name="T3" fmla="*/ 108 h 258"/>
                  <a:gd name="T4" fmla="*/ 44 w 257"/>
                  <a:gd name="T5" fmla="*/ 108 h 258"/>
                  <a:gd name="T6" fmla="*/ 128 w 257"/>
                  <a:gd name="T7" fmla="*/ 42 h 258"/>
                  <a:gd name="T8" fmla="*/ 128 w 257"/>
                  <a:gd name="T9" fmla="*/ 216 h 258"/>
                  <a:gd name="T10" fmla="*/ 44 w 257"/>
                  <a:gd name="T11" fmla="*/ 150 h 258"/>
                  <a:gd name="T12" fmla="*/ 257 w 257"/>
                  <a:gd name="T13" fmla="*/ 150 h 258"/>
                  <a:gd name="T14" fmla="*/ 257 w 257"/>
                  <a:gd name="T15" fmla="*/ 129 h 258"/>
                  <a:gd name="T16" fmla="*/ 128 w 257"/>
                  <a:gd name="T17" fmla="*/ 0 h 258"/>
                  <a:gd name="T18" fmla="*/ 0 w 257"/>
                  <a:gd name="T19" fmla="*/ 129 h 258"/>
                  <a:gd name="T20" fmla="*/ 128 w 257"/>
                  <a:gd name="T21" fmla="*/ 258 h 258"/>
                  <a:gd name="T22" fmla="*/ 243 w 257"/>
                  <a:gd name="T23" fmla="*/ 189 h 258"/>
                  <a:gd name="T24" fmla="*/ 191 w 257"/>
                  <a:gd name="T25" fmla="*/ 189 h 258"/>
                  <a:gd name="T26" fmla="*/ 128 w 257"/>
                  <a:gd name="T27"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258">
                    <a:moveTo>
                      <a:pt x="128" y="42"/>
                    </a:moveTo>
                    <a:cubicBezTo>
                      <a:pt x="169" y="42"/>
                      <a:pt x="204" y="70"/>
                      <a:pt x="213" y="108"/>
                    </a:cubicBezTo>
                    <a:cubicBezTo>
                      <a:pt x="44" y="108"/>
                      <a:pt x="44" y="108"/>
                      <a:pt x="44" y="108"/>
                    </a:cubicBezTo>
                    <a:cubicBezTo>
                      <a:pt x="53" y="70"/>
                      <a:pt x="88" y="42"/>
                      <a:pt x="128" y="42"/>
                    </a:cubicBezTo>
                    <a:moveTo>
                      <a:pt x="128" y="216"/>
                    </a:moveTo>
                    <a:cubicBezTo>
                      <a:pt x="88" y="216"/>
                      <a:pt x="53" y="188"/>
                      <a:pt x="44" y="150"/>
                    </a:cubicBezTo>
                    <a:cubicBezTo>
                      <a:pt x="257" y="150"/>
                      <a:pt x="257" y="150"/>
                      <a:pt x="257" y="150"/>
                    </a:cubicBezTo>
                    <a:cubicBezTo>
                      <a:pt x="257" y="129"/>
                      <a:pt x="257" y="129"/>
                      <a:pt x="257" y="129"/>
                    </a:cubicBezTo>
                    <a:cubicBezTo>
                      <a:pt x="257" y="58"/>
                      <a:pt x="200" y="0"/>
                      <a:pt x="128" y="0"/>
                    </a:cubicBezTo>
                    <a:cubicBezTo>
                      <a:pt x="57" y="0"/>
                      <a:pt x="0" y="58"/>
                      <a:pt x="0" y="129"/>
                    </a:cubicBezTo>
                    <a:cubicBezTo>
                      <a:pt x="0" y="200"/>
                      <a:pt x="57" y="258"/>
                      <a:pt x="128" y="258"/>
                    </a:cubicBezTo>
                    <a:cubicBezTo>
                      <a:pt x="177" y="258"/>
                      <a:pt x="221" y="231"/>
                      <a:pt x="243" y="189"/>
                    </a:cubicBezTo>
                    <a:cubicBezTo>
                      <a:pt x="191" y="189"/>
                      <a:pt x="191" y="189"/>
                      <a:pt x="191" y="189"/>
                    </a:cubicBezTo>
                    <a:cubicBezTo>
                      <a:pt x="175" y="206"/>
                      <a:pt x="153" y="216"/>
                      <a:pt x="128" y="216"/>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Roboto Light" panose="02000000000000000000" pitchFamily="2" charset="0"/>
                  <a:ea typeface="+mn-ea"/>
                  <a:cs typeface="+mn-cs"/>
                </a:endParaRPr>
              </a:p>
            </p:txBody>
          </p:sp>
          <p:sp>
            <p:nvSpPr>
              <p:cNvPr id="26" name="Freeform 16">
                <a:extLst>
                  <a:ext uri="{FF2B5EF4-FFF2-40B4-BE49-F238E27FC236}">
                    <a16:creationId xmlns:a16="http://schemas.microsoft.com/office/drawing/2014/main" id="{BF06B5D5-F72B-8E43-8B7A-AADEB0A339FC}"/>
                  </a:ext>
                </a:extLst>
              </p:cNvPr>
              <p:cNvSpPr>
                <a:spLocks noEditPoints="1"/>
              </p:cNvSpPr>
              <p:nvPr userDrawn="1"/>
            </p:nvSpPr>
            <p:spPr bwMode="auto">
              <a:xfrm>
                <a:off x="4626" y="1655"/>
                <a:ext cx="1134" cy="1138"/>
              </a:xfrm>
              <a:custGeom>
                <a:avLst/>
                <a:gdLst>
                  <a:gd name="T0" fmla="*/ 129 w 258"/>
                  <a:gd name="T1" fmla="*/ 216 h 258"/>
                  <a:gd name="T2" fmla="*/ 42 w 258"/>
                  <a:gd name="T3" fmla="*/ 129 h 258"/>
                  <a:gd name="T4" fmla="*/ 129 w 258"/>
                  <a:gd name="T5" fmla="*/ 42 h 258"/>
                  <a:gd name="T6" fmla="*/ 216 w 258"/>
                  <a:gd name="T7" fmla="*/ 128 h 258"/>
                  <a:gd name="T8" fmla="*/ 216 w 258"/>
                  <a:gd name="T9" fmla="*/ 131 h 258"/>
                  <a:gd name="T10" fmla="*/ 129 w 258"/>
                  <a:gd name="T11" fmla="*/ 216 h 258"/>
                  <a:gd name="T12" fmla="*/ 258 w 258"/>
                  <a:gd name="T13" fmla="*/ 129 h 258"/>
                  <a:gd name="T14" fmla="*/ 258 w 258"/>
                  <a:gd name="T15" fmla="*/ 128 h 258"/>
                  <a:gd name="T16" fmla="*/ 258 w 258"/>
                  <a:gd name="T17" fmla="*/ 3 h 258"/>
                  <a:gd name="T18" fmla="*/ 216 w 258"/>
                  <a:gd name="T19" fmla="*/ 3 h 258"/>
                  <a:gd name="T20" fmla="*/ 216 w 258"/>
                  <a:gd name="T21" fmla="*/ 34 h 258"/>
                  <a:gd name="T22" fmla="*/ 129 w 258"/>
                  <a:gd name="T23" fmla="*/ 0 h 258"/>
                  <a:gd name="T24" fmla="*/ 0 w 258"/>
                  <a:gd name="T25" fmla="*/ 129 h 258"/>
                  <a:gd name="T26" fmla="*/ 129 w 258"/>
                  <a:gd name="T27" fmla="*/ 258 h 258"/>
                  <a:gd name="T28" fmla="*/ 216 w 258"/>
                  <a:gd name="T29" fmla="*/ 224 h 258"/>
                  <a:gd name="T30" fmla="*/ 216 w 258"/>
                  <a:gd name="T31" fmla="*/ 256 h 258"/>
                  <a:gd name="T32" fmla="*/ 258 w 258"/>
                  <a:gd name="T33" fmla="*/ 256 h 258"/>
                  <a:gd name="T34" fmla="*/ 258 w 258"/>
                  <a:gd name="T35" fmla="*/ 131 h 258"/>
                  <a:gd name="T36" fmla="*/ 258 w 258"/>
                  <a:gd name="T37" fmla="*/ 12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8" h="258">
                    <a:moveTo>
                      <a:pt x="129" y="216"/>
                    </a:moveTo>
                    <a:cubicBezTo>
                      <a:pt x="81" y="216"/>
                      <a:pt x="42" y="177"/>
                      <a:pt x="42" y="129"/>
                    </a:cubicBezTo>
                    <a:cubicBezTo>
                      <a:pt x="42" y="81"/>
                      <a:pt x="81" y="42"/>
                      <a:pt x="129" y="42"/>
                    </a:cubicBezTo>
                    <a:cubicBezTo>
                      <a:pt x="176" y="42"/>
                      <a:pt x="215" y="80"/>
                      <a:pt x="216" y="128"/>
                    </a:cubicBezTo>
                    <a:cubicBezTo>
                      <a:pt x="216" y="131"/>
                      <a:pt x="216" y="131"/>
                      <a:pt x="216" y="131"/>
                    </a:cubicBezTo>
                    <a:cubicBezTo>
                      <a:pt x="215" y="178"/>
                      <a:pt x="176" y="216"/>
                      <a:pt x="129" y="216"/>
                    </a:cubicBezTo>
                    <a:moveTo>
                      <a:pt x="258" y="129"/>
                    </a:moveTo>
                    <a:cubicBezTo>
                      <a:pt x="258" y="129"/>
                      <a:pt x="258" y="128"/>
                      <a:pt x="258" y="128"/>
                    </a:cubicBezTo>
                    <a:cubicBezTo>
                      <a:pt x="258" y="3"/>
                      <a:pt x="258" y="3"/>
                      <a:pt x="258" y="3"/>
                    </a:cubicBezTo>
                    <a:cubicBezTo>
                      <a:pt x="216" y="3"/>
                      <a:pt x="216" y="3"/>
                      <a:pt x="216" y="3"/>
                    </a:cubicBezTo>
                    <a:cubicBezTo>
                      <a:pt x="216" y="34"/>
                      <a:pt x="216" y="34"/>
                      <a:pt x="216" y="34"/>
                    </a:cubicBezTo>
                    <a:cubicBezTo>
                      <a:pt x="193" y="13"/>
                      <a:pt x="162" y="0"/>
                      <a:pt x="129" y="0"/>
                    </a:cubicBezTo>
                    <a:cubicBezTo>
                      <a:pt x="58" y="0"/>
                      <a:pt x="0" y="58"/>
                      <a:pt x="0" y="129"/>
                    </a:cubicBezTo>
                    <a:cubicBezTo>
                      <a:pt x="0" y="200"/>
                      <a:pt x="58" y="258"/>
                      <a:pt x="129" y="258"/>
                    </a:cubicBezTo>
                    <a:cubicBezTo>
                      <a:pt x="162" y="258"/>
                      <a:pt x="193" y="245"/>
                      <a:pt x="216" y="224"/>
                    </a:cubicBezTo>
                    <a:cubicBezTo>
                      <a:pt x="216" y="256"/>
                      <a:pt x="216" y="256"/>
                      <a:pt x="216" y="256"/>
                    </a:cubicBezTo>
                    <a:cubicBezTo>
                      <a:pt x="258" y="256"/>
                      <a:pt x="258" y="256"/>
                      <a:pt x="258" y="256"/>
                    </a:cubicBezTo>
                    <a:cubicBezTo>
                      <a:pt x="258" y="131"/>
                      <a:pt x="258" y="131"/>
                      <a:pt x="258" y="131"/>
                    </a:cubicBezTo>
                    <a:cubicBezTo>
                      <a:pt x="258" y="130"/>
                      <a:pt x="258" y="130"/>
                      <a:pt x="258" y="12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Roboto Light" panose="02000000000000000000" pitchFamily="2" charset="0"/>
                  <a:ea typeface="+mn-ea"/>
                  <a:cs typeface="+mn-cs"/>
                </a:endParaRPr>
              </a:p>
            </p:txBody>
          </p:sp>
          <p:sp>
            <p:nvSpPr>
              <p:cNvPr id="27" name="Freeform 17">
                <a:extLst>
                  <a:ext uri="{FF2B5EF4-FFF2-40B4-BE49-F238E27FC236}">
                    <a16:creationId xmlns:a16="http://schemas.microsoft.com/office/drawing/2014/main" id="{8CDC7051-715F-A944-8A95-CAB99A77DE62}"/>
                  </a:ext>
                </a:extLst>
              </p:cNvPr>
              <p:cNvSpPr>
                <a:spLocks noEditPoints="1"/>
              </p:cNvSpPr>
              <p:nvPr userDrawn="1"/>
            </p:nvSpPr>
            <p:spPr bwMode="auto">
              <a:xfrm>
                <a:off x="1183" y="1651"/>
                <a:ext cx="1130" cy="1137"/>
              </a:xfrm>
              <a:custGeom>
                <a:avLst/>
                <a:gdLst>
                  <a:gd name="T0" fmla="*/ 129 w 257"/>
                  <a:gd name="T1" fmla="*/ 42 h 258"/>
                  <a:gd name="T2" fmla="*/ 213 w 257"/>
                  <a:gd name="T3" fmla="*/ 108 h 258"/>
                  <a:gd name="T4" fmla="*/ 44 w 257"/>
                  <a:gd name="T5" fmla="*/ 108 h 258"/>
                  <a:gd name="T6" fmla="*/ 129 w 257"/>
                  <a:gd name="T7" fmla="*/ 42 h 258"/>
                  <a:gd name="T8" fmla="*/ 129 w 257"/>
                  <a:gd name="T9" fmla="*/ 216 h 258"/>
                  <a:gd name="T10" fmla="*/ 44 w 257"/>
                  <a:gd name="T11" fmla="*/ 150 h 258"/>
                  <a:gd name="T12" fmla="*/ 257 w 257"/>
                  <a:gd name="T13" fmla="*/ 150 h 258"/>
                  <a:gd name="T14" fmla="*/ 257 w 257"/>
                  <a:gd name="T15" fmla="*/ 129 h 258"/>
                  <a:gd name="T16" fmla="*/ 129 w 257"/>
                  <a:gd name="T17" fmla="*/ 0 h 258"/>
                  <a:gd name="T18" fmla="*/ 0 w 257"/>
                  <a:gd name="T19" fmla="*/ 129 h 258"/>
                  <a:gd name="T20" fmla="*/ 129 w 257"/>
                  <a:gd name="T21" fmla="*/ 258 h 258"/>
                  <a:gd name="T22" fmla="*/ 243 w 257"/>
                  <a:gd name="T23" fmla="*/ 189 h 258"/>
                  <a:gd name="T24" fmla="*/ 191 w 257"/>
                  <a:gd name="T25" fmla="*/ 189 h 258"/>
                  <a:gd name="T26" fmla="*/ 129 w 257"/>
                  <a:gd name="T27"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258">
                    <a:moveTo>
                      <a:pt x="129" y="42"/>
                    </a:moveTo>
                    <a:cubicBezTo>
                      <a:pt x="169" y="42"/>
                      <a:pt x="204" y="70"/>
                      <a:pt x="213" y="108"/>
                    </a:cubicBezTo>
                    <a:cubicBezTo>
                      <a:pt x="44" y="108"/>
                      <a:pt x="44" y="108"/>
                      <a:pt x="44" y="108"/>
                    </a:cubicBezTo>
                    <a:cubicBezTo>
                      <a:pt x="53" y="70"/>
                      <a:pt x="88" y="42"/>
                      <a:pt x="129" y="42"/>
                    </a:cubicBezTo>
                    <a:moveTo>
                      <a:pt x="129" y="216"/>
                    </a:moveTo>
                    <a:cubicBezTo>
                      <a:pt x="88" y="216"/>
                      <a:pt x="53" y="188"/>
                      <a:pt x="44" y="150"/>
                    </a:cubicBezTo>
                    <a:cubicBezTo>
                      <a:pt x="257" y="150"/>
                      <a:pt x="257" y="150"/>
                      <a:pt x="257" y="150"/>
                    </a:cubicBezTo>
                    <a:cubicBezTo>
                      <a:pt x="257" y="129"/>
                      <a:pt x="257" y="129"/>
                      <a:pt x="257" y="129"/>
                    </a:cubicBezTo>
                    <a:cubicBezTo>
                      <a:pt x="257" y="58"/>
                      <a:pt x="200" y="0"/>
                      <a:pt x="129" y="0"/>
                    </a:cubicBezTo>
                    <a:cubicBezTo>
                      <a:pt x="57" y="0"/>
                      <a:pt x="0" y="58"/>
                      <a:pt x="0" y="129"/>
                    </a:cubicBezTo>
                    <a:cubicBezTo>
                      <a:pt x="0" y="200"/>
                      <a:pt x="57" y="258"/>
                      <a:pt x="129" y="258"/>
                    </a:cubicBezTo>
                    <a:cubicBezTo>
                      <a:pt x="177" y="258"/>
                      <a:pt x="221" y="231"/>
                      <a:pt x="243" y="189"/>
                    </a:cubicBezTo>
                    <a:cubicBezTo>
                      <a:pt x="191" y="189"/>
                      <a:pt x="191" y="189"/>
                      <a:pt x="191" y="189"/>
                    </a:cubicBezTo>
                    <a:cubicBezTo>
                      <a:pt x="175" y="206"/>
                      <a:pt x="153" y="216"/>
                      <a:pt x="129" y="216"/>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Roboto Light" panose="02000000000000000000" pitchFamily="2" charset="0"/>
                  <a:ea typeface="+mn-ea"/>
                  <a:cs typeface="+mn-cs"/>
                </a:endParaRPr>
              </a:p>
            </p:txBody>
          </p:sp>
          <p:sp>
            <p:nvSpPr>
              <p:cNvPr id="28" name="Freeform 18">
                <a:extLst>
                  <a:ext uri="{FF2B5EF4-FFF2-40B4-BE49-F238E27FC236}">
                    <a16:creationId xmlns:a16="http://schemas.microsoft.com/office/drawing/2014/main" id="{31CCDFC2-7E4E-634A-8156-81DDE1BB6D6C}"/>
                  </a:ext>
                </a:extLst>
              </p:cNvPr>
              <p:cNvSpPr>
                <a:spLocks/>
              </p:cNvSpPr>
              <p:nvPr userDrawn="1"/>
            </p:nvSpPr>
            <p:spPr bwMode="auto">
              <a:xfrm>
                <a:off x="0" y="1492"/>
                <a:ext cx="1315" cy="1336"/>
              </a:xfrm>
              <a:custGeom>
                <a:avLst/>
                <a:gdLst>
                  <a:gd name="T0" fmla="*/ 0 w 1315"/>
                  <a:gd name="T1" fmla="*/ 0 h 1336"/>
                  <a:gd name="T2" fmla="*/ 229 w 1315"/>
                  <a:gd name="T3" fmla="*/ 0 h 1336"/>
                  <a:gd name="T4" fmla="*/ 659 w 1315"/>
                  <a:gd name="T5" fmla="*/ 873 h 1336"/>
                  <a:gd name="T6" fmla="*/ 1090 w 1315"/>
                  <a:gd name="T7" fmla="*/ 0 h 1336"/>
                  <a:gd name="T8" fmla="*/ 1315 w 1315"/>
                  <a:gd name="T9" fmla="*/ 0 h 1336"/>
                  <a:gd name="T10" fmla="*/ 659 w 1315"/>
                  <a:gd name="T11" fmla="*/ 1336 h 1336"/>
                  <a:gd name="T12" fmla="*/ 0 w 131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315" h="1336">
                    <a:moveTo>
                      <a:pt x="0" y="0"/>
                    </a:moveTo>
                    <a:lnTo>
                      <a:pt x="229" y="0"/>
                    </a:lnTo>
                    <a:lnTo>
                      <a:pt x="659" y="873"/>
                    </a:lnTo>
                    <a:lnTo>
                      <a:pt x="1090" y="0"/>
                    </a:lnTo>
                    <a:lnTo>
                      <a:pt x="1315" y="0"/>
                    </a:lnTo>
                    <a:lnTo>
                      <a:pt x="659" y="133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Roboto Light" panose="02000000000000000000" pitchFamily="2" charset="0"/>
                  <a:ea typeface="+mn-ea"/>
                  <a:cs typeface="+mn-cs"/>
                </a:endParaRPr>
              </a:p>
            </p:txBody>
          </p:sp>
          <p:sp>
            <p:nvSpPr>
              <p:cNvPr id="29" name="Freeform 19">
                <a:extLst>
                  <a:ext uri="{FF2B5EF4-FFF2-40B4-BE49-F238E27FC236}">
                    <a16:creationId xmlns:a16="http://schemas.microsoft.com/office/drawing/2014/main" id="{2DC3B516-AB6C-D54A-B273-DACB0A1BBFF4}"/>
                  </a:ext>
                </a:extLst>
              </p:cNvPr>
              <p:cNvSpPr>
                <a:spLocks/>
              </p:cNvSpPr>
              <p:nvPr userDrawn="1"/>
            </p:nvSpPr>
            <p:spPr bwMode="auto">
              <a:xfrm>
                <a:off x="360" y="1492"/>
                <a:ext cx="594" cy="595"/>
              </a:xfrm>
              <a:custGeom>
                <a:avLst/>
                <a:gdLst>
                  <a:gd name="T0" fmla="*/ 0 w 135"/>
                  <a:gd name="T1" fmla="*/ 0 h 135"/>
                  <a:gd name="T2" fmla="*/ 68 w 135"/>
                  <a:gd name="T3" fmla="*/ 135 h 135"/>
                  <a:gd name="T4" fmla="*/ 135 w 135"/>
                  <a:gd name="T5" fmla="*/ 0 h 135"/>
                  <a:gd name="T6" fmla="*/ 0 w 135"/>
                  <a:gd name="T7" fmla="*/ 0 h 135"/>
                </a:gdLst>
                <a:ahLst/>
                <a:cxnLst>
                  <a:cxn ang="0">
                    <a:pos x="T0" y="T1"/>
                  </a:cxn>
                  <a:cxn ang="0">
                    <a:pos x="T2" y="T3"/>
                  </a:cxn>
                  <a:cxn ang="0">
                    <a:pos x="T4" y="T5"/>
                  </a:cxn>
                  <a:cxn ang="0">
                    <a:pos x="T6" y="T7"/>
                  </a:cxn>
                </a:cxnLst>
                <a:rect l="0" t="0" r="r" b="b"/>
                <a:pathLst>
                  <a:path w="135" h="135">
                    <a:moveTo>
                      <a:pt x="0" y="0"/>
                    </a:moveTo>
                    <a:cubicBezTo>
                      <a:pt x="68" y="135"/>
                      <a:pt x="68" y="135"/>
                      <a:pt x="68" y="135"/>
                    </a:cubicBezTo>
                    <a:cubicBezTo>
                      <a:pt x="135" y="0"/>
                      <a:pt x="135" y="0"/>
                      <a:pt x="135" y="0"/>
                    </a:cubicBezTo>
                    <a:cubicBezTo>
                      <a:pt x="135" y="0"/>
                      <a:pt x="0" y="0"/>
                      <a:pt x="0"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Roboto Light" panose="02000000000000000000" pitchFamily="2" charset="0"/>
                  <a:ea typeface="+mn-ea"/>
                  <a:cs typeface="+mn-cs"/>
                </a:endParaRPr>
              </a:p>
            </p:txBody>
          </p:sp>
        </p:grpSp>
      </p:grpSp>
      <p:grpSp>
        <p:nvGrpSpPr>
          <p:cNvPr id="30" name="Group 29">
            <a:extLst>
              <a:ext uri="{FF2B5EF4-FFF2-40B4-BE49-F238E27FC236}">
                <a16:creationId xmlns:a16="http://schemas.microsoft.com/office/drawing/2014/main" id="{30856BAF-84D3-564A-8164-586D54CF657A}"/>
              </a:ext>
            </a:extLst>
          </p:cNvPr>
          <p:cNvGrpSpPr/>
          <p:nvPr/>
        </p:nvGrpSpPr>
        <p:grpSpPr>
          <a:xfrm>
            <a:off x="779332" y="5382477"/>
            <a:ext cx="3182558" cy="586870"/>
            <a:chOff x="7499043" y="2766425"/>
            <a:chExt cx="1757755" cy="324134"/>
          </a:xfrm>
        </p:grpSpPr>
        <p:grpSp>
          <p:nvGrpSpPr>
            <p:cNvPr id="31" name="Group 30">
              <a:extLst>
                <a:ext uri="{FF2B5EF4-FFF2-40B4-BE49-F238E27FC236}">
                  <a16:creationId xmlns:a16="http://schemas.microsoft.com/office/drawing/2014/main" id="{63CBA086-4765-4E40-9487-8917693051A8}"/>
                </a:ext>
              </a:extLst>
            </p:cNvPr>
            <p:cNvGrpSpPr/>
            <p:nvPr/>
          </p:nvGrpSpPr>
          <p:grpSpPr>
            <a:xfrm>
              <a:off x="7499043" y="2799022"/>
              <a:ext cx="309188" cy="291537"/>
              <a:chOff x="2666237" y="2584432"/>
              <a:chExt cx="864026" cy="877824"/>
            </a:xfrm>
            <a:solidFill>
              <a:schemeClr val="tx2"/>
            </a:solidFill>
          </p:grpSpPr>
          <p:sp>
            <p:nvSpPr>
              <p:cNvPr id="34" name="Freeform 18">
                <a:extLst>
                  <a:ext uri="{FF2B5EF4-FFF2-40B4-BE49-F238E27FC236}">
                    <a16:creationId xmlns:a16="http://schemas.microsoft.com/office/drawing/2014/main" id="{64CA2CB9-CE35-3A4B-B28E-ADC77096E065}"/>
                  </a:ext>
                </a:extLst>
              </p:cNvPr>
              <p:cNvSpPr>
                <a:spLocks/>
              </p:cNvSpPr>
              <p:nvPr/>
            </p:nvSpPr>
            <p:spPr bwMode="auto">
              <a:xfrm>
                <a:off x="2666237" y="2584432"/>
                <a:ext cx="864026" cy="877824"/>
              </a:xfrm>
              <a:custGeom>
                <a:avLst/>
                <a:gdLst>
                  <a:gd name="T0" fmla="*/ 0 w 1315"/>
                  <a:gd name="T1" fmla="*/ 0 h 1336"/>
                  <a:gd name="T2" fmla="*/ 229 w 1315"/>
                  <a:gd name="T3" fmla="*/ 0 h 1336"/>
                  <a:gd name="T4" fmla="*/ 659 w 1315"/>
                  <a:gd name="T5" fmla="*/ 873 h 1336"/>
                  <a:gd name="T6" fmla="*/ 1090 w 1315"/>
                  <a:gd name="T7" fmla="*/ 0 h 1336"/>
                  <a:gd name="T8" fmla="*/ 1315 w 1315"/>
                  <a:gd name="T9" fmla="*/ 0 h 1336"/>
                  <a:gd name="T10" fmla="*/ 659 w 1315"/>
                  <a:gd name="T11" fmla="*/ 1336 h 1336"/>
                  <a:gd name="T12" fmla="*/ 0 w 131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315" h="1336">
                    <a:moveTo>
                      <a:pt x="0" y="0"/>
                    </a:moveTo>
                    <a:lnTo>
                      <a:pt x="229" y="0"/>
                    </a:lnTo>
                    <a:lnTo>
                      <a:pt x="659" y="873"/>
                    </a:lnTo>
                    <a:lnTo>
                      <a:pt x="1090" y="0"/>
                    </a:lnTo>
                    <a:lnTo>
                      <a:pt x="1315" y="0"/>
                    </a:lnTo>
                    <a:lnTo>
                      <a:pt x="659" y="1336"/>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Calibri"/>
                  <a:ea typeface="+mn-ea"/>
                  <a:cs typeface="+mn-cs"/>
                </a:endParaRPr>
              </a:p>
            </p:txBody>
          </p:sp>
          <p:sp>
            <p:nvSpPr>
              <p:cNvPr id="35" name="Freeform 19">
                <a:extLst>
                  <a:ext uri="{FF2B5EF4-FFF2-40B4-BE49-F238E27FC236}">
                    <a16:creationId xmlns:a16="http://schemas.microsoft.com/office/drawing/2014/main" id="{09C0E732-1EA2-A745-B03A-B6927AEA311E}"/>
                  </a:ext>
                </a:extLst>
              </p:cNvPr>
              <p:cNvSpPr>
                <a:spLocks/>
              </p:cNvSpPr>
              <p:nvPr/>
            </p:nvSpPr>
            <p:spPr bwMode="auto">
              <a:xfrm>
                <a:off x="2902776" y="2584432"/>
                <a:ext cx="390290" cy="390947"/>
              </a:xfrm>
              <a:custGeom>
                <a:avLst/>
                <a:gdLst>
                  <a:gd name="T0" fmla="*/ 0 w 135"/>
                  <a:gd name="T1" fmla="*/ 0 h 135"/>
                  <a:gd name="T2" fmla="*/ 68 w 135"/>
                  <a:gd name="T3" fmla="*/ 135 h 135"/>
                  <a:gd name="T4" fmla="*/ 135 w 135"/>
                  <a:gd name="T5" fmla="*/ 0 h 135"/>
                  <a:gd name="T6" fmla="*/ 0 w 135"/>
                  <a:gd name="T7" fmla="*/ 0 h 135"/>
                </a:gdLst>
                <a:ahLst/>
                <a:cxnLst>
                  <a:cxn ang="0">
                    <a:pos x="T0" y="T1"/>
                  </a:cxn>
                  <a:cxn ang="0">
                    <a:pos x="T2" y="T3"/>
                  </a:cxn>
                  <a:cxn ang="0">
                    <a:pos x="T4" y="T5"/>
                  </a:cxn>
                  <a:cxn ang="0">
                    <a:pos x="T6" y="T7"/>
                  </a:cxn>
                </a:cxnLst>
                <a:rect l="0" t="0" r="r" b="b"/>
                <a:pathLst>
                  <a:path w="135" h="135">
                    <a:moveTo>
                      <a:pt x="0" y="0"/>
                    </a:moveTo>
                    <a:cubicBezTo>
                      <a:pt x="68" y="135"/>
                      <a:pt x="68" y="135"/>
                      <a:pt x="68" y="135"/>
                    </a:cubicBezTo>
                    <a:cubicBezTo>
                      <a:pt x="135" y="0"/>
                      <a:pt x="135" y="0"/>
                      <a:pt x="135" y="0"/>
                    </a:cubicBezTo>
                    <a:cubicBezTo>
                      <a:pt x="135" y="0"/>
                      <a:pt x="0" y="0"/>
                      <a:pt x="0" y="0"/>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Calibri"/>
                  <a:ea typeface="+mn-ea"/>
                  <a:cs typeface="+mn-cs"/>
                </a:endParaRPr>
              </a:p>
            </p:txBody>
          </p:sp>
        </p:grpSp>
        <p:sp>
          <p:nvSpPr>
            <p:cNvPr id="32" name="Rectangle 31">
              <a:extLst>
                <a:ext uri="{FF2B5EF4-FFF2-40B4-BE49-F238E27FC236}">
                  <a16:creationId xmlns:a16="http://schemas.microsoft.com/office/drawing/2014/main" id="{DB3E7ABB-0D0B-FA4E-A37A-50C25DD6C405}"/>
                </a:ext>
              </a:extLst>
            </p:cNvPr>
            <p:cNvSpPr/>
            <p:nvPr/>
          </p:nvSpPr>
          <p:spPr>
            <a:xfrm>
              <a:off x="7794017" y="2766425"/>
              <a:ext cx="1462781" cy="218258"/>
            </a:xfrm>
            <a:prstGeom prst="rect">
              <a:avLst/>
            </a:prstGeom>
          </p:spPr>
          <p:txBody>
            <a:bodyPr wrap="none">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2400" b="0" i="0" u="none" strike="noStrike" kern="1200" cap="none" spc="0" normalizeH="0" baseline="0" noProof="0">
                  <a:ln>
                    <a:noFill/>
                  </a:ln>
                  <a:solidFill>
                    <a:srgbClr val="FFFFFF"/>
                  </a:solidFill>
                  <a:effectLst/>
                  <a:uLnTx/>
                  <a:uFillTx/>
                  <a:latin typeface="Calibri"/>
                  <a:ea typeface="+mn-ea"/>
                  <a:cs typeface="+mn-cs"/>
                </a:rPr>
                <a:t>Business Consulting</a:t>
              </a:r>
            </a:p>
          </p:txBody>
        </p:sp>
        <p:sp>
          <p:nvSpPr>
            <p:cNvPr id="33" name="Rectangle 32">
              <a:extLst>
                <a:ext uri="{FF2B5EF4-FFF2-40B4-BE49-F238E27FC236}">
                  <a16:creationId xmlns:a16="http://schemas.microsoft.com/office/drawing/2014/main" id="{2EDA83F7-435B-624D-A1C0-78C8EF7DFDED}"/>
                </a:ext>
              </a:extLst>
            </p:cNvPr>
            <p:cNvSpPr/>
            <p:nvPr/>
          </p:nvSpPr>
          <p:spPr>
            <a:xfrm>
              <a:off x="7795715" y="2949039"/>
              <a:ext cx="1379558" cy="14024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alibri"/>
                  <a:ea typeface="+mn-ea"/>
                  <a:cs typeface="+mn-cs"/>
                </a:rPr>
                <a:t>Strategy ● Execution ● Insight ● Platforms</a:t>
              </a:r>
            </a:p>
          </p:txBody>
        </p:sp>
      </p:grpSp>
    </p:spTree>
    <p:extLst>
      <p:ext uri="{BB962C8B-B14F-4D97-AF65-F5344CB8AC3E}">
        <p14:creationId xmlns:p14="http://schemas.microsoft.com/office/powerpoint/2010/main" val="167932717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B9F7702-C338-C34A-A82C-D67222638F34}"/>
              </a:ext>
            </a:extLst>
          </p:cNvPr>
          <p:cNvSpPr/>
          <p:nvPr/>
        </p:nvSpPr>
        <p:spPr>
          <a:xfrm>
            <a:off x="3799251" y="0"/>
            <a:ext cx="114014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973F59-3244-FB47-85F9-A3E830771B12}"/>
              </a:ext>
            </a:extLst>
          </p:cNvPr>
          <p:cNvSpPr>
            <a:spLocks noGrp="1"/>
          </p:cNvSpPr>
          <p:nvPr>
            <p:ph type="title"/>
          </p:nvPr>
        </p:nvSpPr>
        <p:spPr>
          <a:xfrm>
            <a:off x="195413" y="2467274"/>
            <a:ext cx="3496394" cy="1101213"/>
          </a:xfrm>
        </p:spPr>
        <p:txBody>
          <a:bodyPr vert="horz" lIns="91440" tIns="45720" rIns="91440" bIns="45720" rtlCol="0" anchor="ctr" anchorCtr="0">
            <a:noAutofit/>
          </a:bodyPr>
          <a:lstStyle/>
          <a:p>
            <a:pPr>
              <a:lnSpc>
                <a:spcPct val="100000"/>
              </a:lnSpc>
            </a:pPr>
            <a:r>
              <a:rPr lang="en-GB">
                <a:solidFill>
                  <a:schemeClr val="bg1"/>
                </a:solidFill>
              </a:rPr>
              <a:t>Overall, we see two key forces driving a shift in engagement models</a:t>
            </a:r>
          </a:p>
        </p:txBody>
      </p:sp>
      <p:sp>
        <p:nvSpPr>
          <p:cNvPr id="30" name="Right Brace 29">
            <a:extLst>
              <a:ext uri="{FF2B5EF4-FFF2-40B4-BE49-F238E27FC236}">
                <a16:creationId xmlns:a16="http://schemas.microsoft.com/office/drawing/2014/main" id="{099CADF8-A7F0-DC44-AB49-DB4122EC1824}"/>
              </a:ext>
            </a:extLst>
          </p:cNvPr>
          <p:cNvSpPr/>
          <p:nvPr/>
        </p:nvSpPr>
        <p:spPr>
          <a:xfrm>
            <a:off x="7932670" y="468407"/>
            <a:ext cx="655466" cy="2825289"/>
          </a:xfrm>
          <a:custGeom>
            <a:avLst/>
            <a:gdLst>
              <a:gd name="connsiteX0" fmla="*/ 0 w 655466"/>
              <a:gd name="connsiteY0" fmla="*/ 0 h 2825289"/>
              <a:gd name="connsiteX1" fmla="*/ 327733 w 655466"/>
              <a:gd name="connsiteY1" fmla="*/ 235404 h 2825289"/>
              <a:gd name="connsiteX2" fmla="*/ 327733 w 655466"/>
              <a:gd name="connsiteY2" fmla="*/ 706322 h 2825289"/>
              <a:gd name="connsiteX3" fmla="*/ 327733 w 655466"/>
              <a:gd name="connsiteY3" fmla="*/ 1177240 h 2825289"/>
              <a:gd name="connsiteX4" fmla="*/ 655466 w 655466"/>
              <a:gd name="connsiteY4" fmla="*/ 1412644 h 2825289"/>
              <a:gd name="connsiteX5" fmla="*/ 327733 w 655466"/>
              <a:gd name="connsiteY5" fmla="*/ 1648048 h 2825289"/>
              <a:gd name="connsiteX6" fmla="*/ 327733 w 655466"/>
              <a:gd name="connsiteY6" fmla="*/ 2118967 h 2825289"/>
              <a:gd name="connsiteX7" fmla="*/ 327733 w 655466"/>
              <a:gd name="connsiteY7" fmla="*/ 2589885 h 2825289"/>
              <a:gd name="connsiteX8" fmla="*/ 0 w 655466"/>
              <a:gd name="connsiteY8" fmla="*/ 2825289 h 2825289"/>
              <a:gd name="connsiteX9" fmla="*/ 0 w 655466"/>
              <a:gd name="connsiteY9" fmla="*/ 2316737 h 2825289"/>
              <a:gd name="connsiteX10" fmla="*/ 0 w 655466"/>
              <a:gd name="connsiteY10" fmla="*/ 1836438 h 2825289"/>
              <a:gd name="connsiteX11" fmla="*/ 0 w 655466"/>
              <a:gd name="connsiteY11" fmla="*/ 1214874 h 2825289"/>
              <a:gd name="connsiteX12" fmla="*/ 0 w 655466"/>
              <a:gd name="connsiteY12" fmla="*/ 593311 h 2825289"/>
              <a:gd name="connsiteX13" fmla="*/ 0 w 655466"/>
              <a:gd name="connsiteY13" fmla="*/ 0 h 2825289"/>
              <a:gd name="connsiteX0" fmla="*/ 0 w 655466"/>
              <a:gd name="connsiteY0" fmla="*/ 0 h 2825289"/>
              <a:gd name="connsiteX1" fmla="*/ 327733 w 655466"/>
              <a:gd name="connsiteY1" fmla="*/ 235404 h 2825289"/>
              <a:gd name="connsiteX2" fmla="*/ 327733 w 655466"/>
              <a:gd name="connsiteY2" fmla="*/ 715740 h 2825289"/>
              <a:gd name="connsiteX3" fmla="*/ 327733 w 655466"/>
              <a:gd name="connsiteY3" fmla="*/ 1177240 h 2825289"/>
              <a:gd name="connsiteX4" fmla="*/ 655466 w 655466"/>
              <a:gd name="connsiteY4" fmla="*/ 1412644 h 2825289"/>
              <a:gd name="connsiteX5" fmla="*/ 327733 w 655466"/>
              <a:gd name="connsiteY5" fmla="*/ 1648048 h 2825289"/>
              <a:gd name="connsiteX6" fmla="*/ 327733 w 655466"/>
              <a:gd name="connsiteY6" fmla="*/ 2109548 h 2825289"/>
              <a:gd name="connsiteX7" fmla="*/ 327733 w 655466"/>
              <a:gd name="connsiteY7" fmla="*/ 2589885 h 2825289"/>
              <a:gd name="connsiteX8" fmla="*/ 0 w 655466"/>
              <a:gd name="connsiteY8" fmla="*/ 2825289 h 2825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466" h="2825289" stroke="0" extrusionOk="0">
                <a:moveTo>
                  <a:pt x="0" y="0"/>
                </a:moveTo>
                <a:cubicBezTo>
                  <a:pt x="170555" y="-17016"/>
                  <a:pt x="354081" y="104604"/>
                  <a:pt x="327733" y="235404"/>
                </a:cubicBezTo>
                <a:cubicBezTo>
                  <a:pt x="340445" y="455738"/>
                  <a:pt x="336934" y="479865"/>
                  <a:pt x="327733" y="706322"/>
                </a:cubicBezTo>
                <a:cubicBezTo>
                  <a:pt x="318532" y="932779"/>
                  <a:pt x="321920" y="1005314"/>
                  <a:pt x="327733" y="1177240"/>
                </a:cubicBezTo>
                <a:cubicBezTo>
                  <a:pt x="289144" y="1304921"/>
                  <a:pt x="480899" y="1398336"/>
                  <a:pt x="655466" y="1412644"/>
                </a:cubicBezTo>
                <a:cubicBezTo>
                  <a:pt x="486415" y="1440022"/>
                  <a:pt x="328974" y="1535768"/>
                  <a:pt x="327733" y="1648048"/>
                </a:cubicBezTo>
                <a:cubicBezTo>
                  <a:pt x="347062" y="1798058"/>
                  <a:pt x="322048" y="2013743"/>
                  <a:pt x="327733" y="2118967"/>
                </a:cubicBezTo>
                <a:cubicBezTo>
                  <a:pt x="333418" y="2224191"/>
                  <a:pt x="317288" y="2481921"/>
                  <a:pt x="327733" y="2589885"/>
                </a:cubicBezTo>
                <a:cubicBezTo>
                  <a:pt x="322054" y="2713207"/>
                  <a:pt x="195179" y="2829815"/>
                  <a:pt x="0" y="2825289"/>
                </a:cubicBezTo>
                <a:cubicBezTo>
                  <a:pt x="4524" y="2665250"/>
                  <a:pt x="-4209" y="2496927"/>
                  <a:pt x="0" y="2316737"/>
                </a:cubicBezTo>
                <a:cubicBezTo>
                  <a:pt x="4209" y="2136547"/>
                  <a:pt x="18023" y="1982061"/>
                  <a:pt x="0" y="1836438"/>
                </a:cubicBezTo>
                <a:cubicBezTo>
                  <a:pt x="-18023" y="1690815"/>
                  <a:pt x="13543" y="1415254"/>
                  <a:pt x="0" y="1214874"/>
                </a:cubicBezTo>
                <a:cubicBezTo>
                  <a:pt x="-13543" y="1014494"/>
                  <a:pt x="-1887" y="813549"/>
                  <a:pt x="0" y="593311"/>
                </a:cubicBezTo>
                <a:cubicBezTo>
                  <a:pt x="1887" y="373073"/>
                  <a:pt x="-4660" y="179131"/>
                  <a:pt x="0" y="0"/>
                </a:cubicBezTo>
                <a:close/>
              </a:path>
              <a:path w="655466" h="2825289" fill="none" extrusionOk="0">
                <a:moveTo>
                  <a:pt x="0" y="0"/>
                </a:moveTo>
                <a:cubicBezTo>
                  <a:pt x="197903" y="4687"/>
                  <a:pt x="322464" y="130557"/>
                  <a:pt x="327733" y="235404"/>
                </a:cubicBezTo>
                <a:cubicBezTo>
                  <a:pt x="336540" y="345396"/>
                  <a:pt x="331820" y="514796"/>
                  <a:pt x="327733" y="715740"/>
                </a:cubicBezTo>
                <a:cubicBezTo>
                  <a:pt x="323646" y="916684"/>
                  <a:pt x="337793" y="1070148"/>
                  <a:pt x="327733" y="1177240"/>
                </a:cubicBezTo>
                <a:cubicBezTo>
                  <a:pt x="346261" y="1299705"/>
                  <a:pt x="454005" y="1419633"/>
                  <a:pt x="655466" y="1412644"/>
                </a:cubicBezTo>
                <a:cubicBezTo>
                  <a:pt x="478549" y="1427677"/>
                  <a:pt x="306847" y="1520910"/>
                  <a:pt x="327733" y="1648048"/>
                </a:cubicBezTo>
                <a:cubicBezTo>
                  <a:pt x="309822" y="1876119"/>
                  <a:pt x="336671" y="1937854"/>
                  <a:pt x="327733" y="2109548"/>
                </a:cubicBezTo>
                <a:cubicBezTo>
                  <a:pt x="318795" y="2281242"/>
                  <a:pt x="327084" y="2487078"/>
                  <a:pt x="327733" y="2589885"/>
                </a:cubicBezTo>
                <a:cubicBezTo>
                  <a:pt x="335031" y="2716396"/>
                  <a:pt x="181891" y="2863397"/>
                  <a:pt x="0" y="2825289"/>
                </a:cubicBezTo>
              </a:path>
              <a:path w="655466" h="2825289" fill="none" stroke="0" extrusionOk="0">
                <a:moveTo>
                  <a:pt x="0" y="0"/>
                </a:moveTo>
                <a:cubicBezTo>
                  <a:pt x="197501" y="5182"/>
                  <a:pt x="349669" y="96293"/>
                  <a:pt x="327733" y="235404"/>
                </a:cubicBezTo>
                <a:cubicBezTo>
                  <a:pt x="316564" y="379099"/>
                  <a:pt x="340287" y="547815"/>
                  <a:pt x="327733" y="687485"/>
                </a:cubicBezTo>
                <a:cubicBezTo>
                  <a:pt x="315179" y="827155"/>
                  <a:pt x="351718" y="1016547"/>
                  <a:pt x="327733" y="1177240"/>
                </a:cubicBezTo>
                <a:cubicBezTo>
                  <a:pt x="317155" y="1271508"/>
                  <a:pt x="446436" y="1403122"/>
                  <a:pt x="655466" y="1412644"/>
                </a:cubicBezTo>
                <a:cubicBezTo>
                  <a:pt x="455222" y="1417078"/>
                  <a:pt x="358908" y="1514418"/>
                  <a:pt x="327733" y="1648048"/>
                </a:cubicBezTo>
                <a:cubicBezTo>
                  <a:pt x="325197" y="1816010"/>
                  <a:pt x="317928" y="1914984"/>
                  <a:pt x="327733" y="2090711"/>
                </a:cubicBezTo>
                <a:cubicBezTo>
                  <a:pt x="337538" y="2266438"/>
                  <a:pt x="324535" y="2473676"/>
                  <a:pt x="327733" y="2589885"/>
                </a:cubicBezTo>
                <a:cubicBezTo>
                  <a:pt x="330060" y="2714225"/>
                  <a:pt x="159964" y="2803739"/>
                  <a:pt x="0" y="2825289"/>
                </a:cubicBezTo>
              </a:path>
            </a:pathLst>
          </a:custGeom>
          <a:ln w="19050">
            <a:solidFill>
              <a:schemeClr val="accent1"/>
            </a:solidFill>
            <a:extLst>
              <a:ext uri="{C807C97D-BFC1-408E-A445-0C87EB9F89A2}">
                <ask:lineSketchStyleProps xmlns:ask="http://schemas.microsoft.com/office/drawing/2018/sketchyshapes" sd="2717515596">
                  <a:prstGeom prst="rightBrace">
                    <a:avLst>
                      <a:gd name="adj1" fmla="val 35914"/>
                      <a:gd name="adj2" fmla="val 50000"/>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646569"/>
              </a:solidFill>
              <a:effectLst/>
              <a:uLnTx/>
              <a:uFillTx/>
              <a:latin typeface="Calibri"/>
              <a:ea typeface="+mn-ea"/>
              <a:cs typeface="+mn-cs"/>
            </a:endParaRPr>
          </a:p>
        </p:txBody>
      </p:sp>
      <p:sp>
        <p:nvSpPr>
          <p:cNvPr id="31" name="Right Brace 30">
            <a:extLst>
              <a:ext uri="{FF2B5EF4-FFF2-40B4-BE49-F238E27FC236}">
                <a16:creationId xmlns:a16="http://schemas.microsoft.com/office/drawing/2014/main" id="{48316D6F-307C-BD45-B93D-6C5A6DEEDDBE}"/>
              </a:ext>
            </a:extLst>
          </p:cNvPr>
          <p:cNvSpPr/>
          <p:nvPr/>
        </p:nvSpPr>
        <p:spPr>
          <a:xfrm>
            <a:off x="7968303" y="3531667"/>
            <a:ext cx="584200" cy="2791422"/>
          </a:xfrm>
          <a:custGeom>
            <a:avLst/>
            <a:gdLst>
              <a:gd name="connsiteX0" fmla="*/ 0 w 584200"/>
              <a:gd name="connsiteY0" fmla="*/ 0 h 2791422"/>
              <a:gd name="connsiteX1" fmla="*/ 292100 w 584200"/>
              <a:gd name="connsiteY1" fmla="*/ 218502 h 2791422"/>
              <a:gd name="connsiteX2" fmla="*/ 292100 w 584200"/>
              <a:gd name="connsiteY2" fmla="*/ 717030 h 2791422"/>
              <a:gd name="connsiteX3" fmla="*/ 292100 w 584200"/>
              <a:gd name="connsiteY3" fmla="*/ 1177209 h 2791422"/>
              <a:gd name="connsiteX4" fmla="*/ 584200 w 584200"/>
              <a:gd name="connsiteY4" fmla="*/ 1395711 h 2791422"/>
              <a:gd name="connsiteX5" fmla="*/ 292100 w 584200"/>
              <a:gd name="connsiteY5" fmla="*/ 1614213 h 2791422"/>
              <a:gd name="connsiteX6" fmla="*/ 292100 w 584200"/>
              <a:gd name="connsiteY6" fmla="*/ 2074392 h 2791422"/>
              <a:gd name="connsiteX7" fmla="*/ 292100 w 584200"/>
              <a:gd name="connsiteY7" fmla="*/ 2572920 h 2791422"/>
              <a:gd name="connsiteX8" fmla="*/ 0 w 584200"/>
              <a:gd name="connsiteY8" fmla="*/ 2791422 h 2791422"/>
              <a:gd name="connsiteX9" fmla="*/ 0 w 584200"/>
              <a:gd name="connsiteY9" fmla="*/ 2037738 h 2791422"/>
              <a:gd name="connsiteX10" fmla="*/ 0 w 584200"/>
              <a:gd name="connsiteY10" fmla="*/ 1311968 h 2791422"/>
              <a:gd name="connsiteX11" fmla="*/ 0 w 584200"/>
              <a:gd name="connsiteY11" fmla="*/ 697856 h 2791422"/>
              <a:gd name="connsiteX12" fmla="*/ 0 w 584200"/>
              <a:gd name="connsiteY12" fmla="*/ 0 h 2791422"/>
              <a:gd name="connsiteX0" fmla="*/ 0 w 584200"/>
              <a:gd name="connsiteY0" fmla="*/ 0 h 2791422"/>
              <a:gd name="connsiteX1" fmla="*/ 292100 w 584200"/>
              <a:gd name="connsiteY1" fmla="*/ 218502 h 2791422"/>
              <a:gd name="connsiteX2" fmla="*/ 292100 w 584200"/>
              <a:gd name="connsiteY2" fmla="*/ 697856 h 2791422"/>
              <a:gd name="connsiteX3" fmla="*/ 292100 w 584200"/>
              <a:gd name="connsiteY3" fmla="*/ 1177209 h 2791422"/>
              <a:gd name="connsiteX4" fmla="*/ 584200 w 584200"/>
              <a:gd name="connsiteY4" fmla="*/ 1395711 h 2791422"/>
              <a:gd name="connsiteX5" fmla="*/ 292100 w 584200"/>
              <a:gd name="connsiteY5" fmla="*/ 1614213 h 2791422"/>
              <a:gd name="connsiteX6" fmla="*/ 292100 w 584200"/>
              <a:gd name="connsiteY6" fmla="*/ 2064805 h 2791422"/>
              <a:gd name="connsiteX7" fmla="*/ 292100 w 584200"/>
              <a:gd name="connsiteY7" fmla="*/ 2572920 h 2791422"/>
              <a:gd name="connsiteX8" fmla="*/ 0 w 584200"/>
              <a:gd name="connsiteY8" fmla="*/ 2791422 h 2791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4200" h="2791422" stroke="0" extrusionOk="0">
                <a:moveTo>
                  <a:pt x="0" y="0"/>
                </a:moveTo>
                <a:cubicBezTo>
                  <a:pt x="152750" y="-5288"/>
                  <a:pt x="283406" y="101090"/>
                  <a:pt x="292100" y="218502"/>
                </a:cubicBezTo>
                <a:cubicBezTo>
                  <a:pt x="302360" y="438049"/>
                  <a:pt x="284607" y="593673"/>
                  <a:pt x="292100" y="717030"/>
                </a:cubicBezTo>
                <a:cubicBezTo>
                  <a:pt x="299593" y="840387"/>
                  <a:pt x="269407" y="1004413"/>
                  <a:pt x="292100" y="1177209"/>
                </a:cubicBezTo>
                <a:cubicBezTo>
                  <a:pt x="267886" y="1284636"/>
                  <a:pt x="446657" y="1407073"/>
                  <a:pt x="584200" y="1395711"/>
                </a:cubicBezTo>
                <a:cubicBezTo>
                  <a:pt x="434818" y="1397127"/>
                  <a:pt x="303289" y="1470511"/>
                  <a:pt x="292100" y="1614213"/>
                </a:cubicBezTo>
                <a:cubicBezTo>
                  <a:pt x="308979" y="1800958"/>
                  <a:pt x="274037" y="1848620"/>
                  <a:pt x="292100" y="2074392"/>
                </a:cubicBezTo>
                <a:cubicBezTo>
                  <a:pt x="310163" y="2300164"/>
                  <a:pt x="287168" y="2434488"/>
                  <a:pt x="292100" y="2572920"/>
                </a:cubicBezTo>
                <a:cubicBezTo>
                  <a:pt x="318359" y="2708296"/>
                  <a:pt x="182337" y="2796475"/>
                  <a:pt x="0" y="2791422"/>
                </a:cubicBezTo>
                <a:cubicBezTo>
                  <a:pt x="-8869" y="2613208"/>
                  <a:pt x="8947" y="2348581"/>
                  <a:pt x="0" y="2037738"/>
                </a:cubicBezTo>
                <a:cubicBezTo>
                  <a:pt x="-8947" y="1726895"/>
                  <a:pt x="29379" y="1488515"/>
                  <a:pt x="0" y="1311968"/>
                </a:cubicBezTo>
                <a:cubicBezTo>
                  <a:pt x="-29379" y="1135421"/>
                  <a:pt x="-9218" y="1000678"/>
                  <a:pt x="0" y="697856"/>
                </a:cubicBezTo>
                <a:cubicBezTo>
                  <a:pt x="9218" y="395034"/>
                  <a:pt x="2826" y="154202"/>
                  <a:pt x="0" y="0"/>
                </a:cubicBezTo>
                <a:close/>
              </a:path>
              <a:path w="584200" h="2791422" fill="none" extrusionOk="0">
                <a:moveTo>
                  <a:pt x="0" y="0"/>
                </a:moveTo>
                <a:cubicBezTo>
                  <a:pt x="141639" y="-1114"/>
                  <a:pt x="314698" y="117282"/>
                  <a:pt x="292100" y="218502"/>
                </a:cubicBezTo>
                <a:cubicBezTo>
                  <a:pt x="310992" y="346991"/>
                  <a:pt x="284057" y="550385"/>
                  <a:pt x="292100" y="697856"/>
                </a:cubicBezTo>
                <a:cubicBezTo>
                  <a:pt x="300143" y="845327"/>
                  <a:pt x="276835" y="1017610"/>
                  <a:pt x="292100" y="1177209"/>
                </a:cubicBezTo>
                <a:cubicBezTo>
                  <a:pt x="290196" y="1258382"/>
                  <a:pt x="449825" y="1412687"/>
                  <a:pt x="584200" y="1395711"/>
                </a:cubicBezTo>
                <a:cubicBezTo>
                  <a:pt x="411473" y="1398214"/>
                  <a:pt x="284880" y="1516046"/>
                  <a:pt x="292100" y="1614213"/>
                </a:cubicBezTo>
                <a:cubicBezTo>
                  <a:pt x="309735" y="1803226"/>
                  <a:pt x="280874" y="1887830"/>
                  <a:pt x="292100" y="2064805"/>
                </a:cubicBezTo>
                <a:cubicBezTo>
                  <a:pt x="303326" y="2241780"/>
                  <a:pt x="281881" y="2430352"/>
                  <a:pt x="292100" y="2572920"/>
                </a:cubicBezTo>
                <a:cubicBezTo>
                  <a:pt x="308076" y="2677885"/>
                  <a:pt x="156825" y="2793944"/>
                  <a:pt x="0" y="2791422"/>
                </a:cubicBezTo>
              </a:path>
              <a:path w="584200" h="2791422" fill="none" stroke="0" extrusionOk="0">
                <a:moveTo>
                  <a:pt x="0" y="0"/>
                </a:moveTo>
                <a:cubicBezTo>
                  <a:pt x="163255" y="-9094"/>
                  <a:pt x="276756" y="100347"/>
                  <a:pt x="292100" y="218502"/>
                </a:cubicBezTo>
                <a:cubicBezTo>
                  <a:pt x="277257" y="368070"/>
                  <a:pt x="287446" y="547115"/>
                  <a:pt x="292100" y="717030"/>
                </a:cubicBezTo>
                <a:cubicBezTo>
                  <a:pt x="296754" y="886945"/>
                  <a:pt x="312178" y="992658"/>
                  <a:pt x="292100" y="1177209"/>
                </a:cubicBezTo>
                <a:cubicBezTo>
                  <a:pt x="285077" y="1301985"/>
                  <a:pt x="412000" y="1415161"/>
                  <a:pt x="584200" y="1395711"/>
                </a:cubicBezTo>
                <a:cubicBezTo>
                  <a:pt x="442068" y="1409970"/>
                  <a:pt x="291609" y="1505198"/>
                  <a:pt x="292100" y="1614213"/>
                </a:cubicBezTo>
                <a:cubicBezTo>
                  <a:pt x="270214" y="1753667"/>
                  <a:pt x="292634" y="1936999"/>
                  <a:pt x="292100" y="2112741"/>
                </a:cubicBezTo>
                <a:cubicBezTo>
                  <a:pt x="291566" y="2288483"/>
                  <a:pt x="302381" y="2394926"/>
                  <a:pt x="292100" y="2572920"/>
                </a:cubicBezTo>
                <a:cubicBezTo>
                  <a:pt x="285037" y="2697320"/>
                  <a:pt x="168079" y="2752782"/>
                  <a:pt x="0" y="2791422"/>
                </a:cubicBezTo>
              </a:path>
            </a:pathLst>
          </a:custGeom>
          <a:ln w="19050">
            <a:solidFill>
              <a:schemeClr val="tx2"/>
            </a:solidFill>
            <a:extLst>
              <a:ext uri="{C807C97D-BFC1-408E-A445-0C87EB9F89A2}">
                <ask:lineSketchStyleProps xmlns:ask="http://schemas.microsoft.com/office/drawing/2018/sketchyshapes" sd="1219033472">
                  <a:prstGeom prst="rightBrace">
                    <a:avLst>
                      <a:gd name="adj1" fmla="val 37402"/>
                      <a:gd name="adj2" fmla="val 50000"/>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7030A0"/>
              </a:solidFill>
              <a:effectLst/>
              <a:uLnTx/>
              <a:uFillTx/>
              <a:latin typeface="Calibri"/>
              <a:ea typeface="+mn-ea"/>
              <a:cs typeface="+mn-cs"/>
            </a:endParaRPr>
          </a:p>
        </p:txBody>
      </p:sp>
      <p:sp>
        <p:nvSpPr>
          <p:cNvPr id="32" name="Oval 31">
            <a:extLst>
              <a:ext uri="{FF2B5EF4-FFF2-40B4-BE49-F238E27FC236}">
                <a16:creationId xmlns:a16="http://schemas.microsoft.com/office/drawing/2014/main" id="{61DB1BD1-CCEB-2E4C-B934-5F3E7118F1B0}"/>
              </a:ext>
            </a:extLst>
          </p:cNvPr>
          <p:cNvSpPr/>
          <p:nvPr/>
        </p:nvSpPr>
        <p:spPr>
          <a:xfrm>
            <a:off x="9655745" y="1123364"/>
            <a:ext cx="1198891" cy="119889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994B025D-9A55-5043-B867-3AA2CE405D15}"/>
              </a:ext>
            </a:extLst>
          </p:cNvPr>
          <p:cNvSpPr txBox="1"/>
          <p:nvPr/>
        </p:nvSpPr>
        <p:spPr>
          <a:xfrm>
            <a:off x="8807022" y="2416654"/>
            <a:ext cx="2896336" cy="762645"/>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1200"/>
              </a:spcBef>
              <a:spcAft>
                <a:spcPts val="0"/>
              </a:spcAft>
              <a:buClr>
                <a:srgbClr val="FF9E16"/>
              </a:buClr>
              <a:buSzTx/>
              <a:buFontTx/>
              <a:buNone/>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Changing what is valuable to HCPs and the type </a:t>
            </a:r>
            <a:r>
              <a:rPr kumimoji="0" lang="en-GB" sz="1800" b="1" i="0" u="none" strike="noStrike" kern="1200" cap="none" spc="0" normalizeH="0" baseline="0" noProof="0">
                <a:ln>
                  <a:noFill/>
                </a:ln>
                <a:solidFill>
                  <a:srgbClr val="DD5F11"/>
                </a:solidFill>
                <a:effectLst/>
                <a:uLnTx/>
                <a:uFillTx/>
                <a:latin typeface="Calibri"/>
                <a:ea typeface="+mn-ea"/>
                <a:cs typeface="+mn-cs"/>
              </a:rPr>
              <a:t>relationship they seek</a:t>
            </a:r>
          </a:p>
        </p:txBody>
      </p:sp>
      <p:sp>
        <p:nvSpPr>
          <p:cNvPr id="35" name="TextBox 34">
            <a:extLst>
              <a:ext uri="{FF2B5EF4-FFF2-40B4-BE49-F238E27FC236}">
                <a16:creationId xmlns:a16="http://schemas.microsoft.com/office/drawing/2014/main" id="{C12D3F3C-A684-9848-958D-4291410DEEB6}"/>
              </a:ext>
            </a:extLst>
          </p:cNvPr>
          <p:cNvSpPr txBox="1"/>
          <p:nvPr/>
        </p:nvSpPr>
        <p:spPr>
          <a:xfrm>
            <a:off x="8573146" y="5215392"/>
            <a:ext cx="3364088" cy="5410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1200"/>
              </a:spcBef>
              <a:spcAft>
                <a:spcPts val="0"/>
              </a:spcAft>
              <a:buClr>
                <a:srgbClr val="FF9E16"/>
              </a:buClr>
              <a:buSzTx/>
              <a:buFontTx/>
              <a:buNone/>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Changing</a:t>
            </a:r>
            <a:r>
              <a:rPr kumimoji="0" lang="en-GB" sz="1800" b="0" i="0" u="none" strike="noStrike" kern="1200" cap="none" spc="0" normalizeH="0" baseline="0" noProof="0">
                <a:ln>
                  <a:noFill/>
                </a:ln>
                <a:solidFill>
                  <a:srgbClr val="00B050"/>
                </a:solidFill>
                <a:effectLst/>
                <a:uLnTx/>
                <a:uFillTx/>
                <a:latin typeface="Calibri"/>
                <a:ea typeface="+mn-ea"/>
                <a:cs typeface="+mn-cs"/>
              </a:rPr>
              <a:t> </a:t>
            </a:r>
            <a:r>
              <a:rPr lang="en-GB" b="1">
                <a:solidFill>
                  <a:srgbClr val="FF9E16"/>
                </a:solidFill>
                <a:latin typeface="Calibri"/>
              </a:rPr>
              <a:t>how and when </a:t>
            </a:r>
            <a:r>
              <a:rPr kumimoji="0" lang="en-GB" sz="1800" b="0" i="0" u="none" strike="noStrike" kern="1200" cap="none" spc="0" normalizeH="0" baseline="0" noProof="0">
                <a:ln>
                  <a:noFill/>
                </a:ln>
                <a:solidFill>
                  <a:srgbClr val="646569"/>
                </a:solidFill>
                <a:effectLst/>
                <a:uLnTx/>
                <a:uFillTx/>
                <a:latin typeface="Calibri"/>
                <a:ea typeface="+mn-ea"/>
                <a:cs typeface="+mn-cs"/>
              </a:rPr>
              <a:t>HCPs want to engage and be engaged</a:t>
            </a:r>
          </a:p>
        </p:txBody>
      </p:sp>
      <p:grpSp>
        <p:nvGrpSpPr>
          <p:cNvPr id="3" name="Group 2">
            <a:extLst>
              <a:ext uri="{FF2B5EF4-FFF2-40B4-BE49-F238E27FC236}">
                <a16:creationId xmlns:a16="http://schemas.microsoft.com/office/drawing/2014/main" id="{AD784135-D34F-DA4B-86CD-269C4BF431AB}"/>
              </a:ext>
            </a:extLst>
          </p:cNvPr>
          <p:cNvGrpSpPr/>
          <p:nvPr/>
        </p:nvGrpSpPr>
        <p:grpSpPr>
          <a:xfrm>
            <a:off x="9655745" y="3851086"/>
            <a:ext cx="1198891" cy="1198891"/>
            <a:chOff x="5932682" y="3810264"/>
            <a:chExt cx="1198891" cy="1198891"/>
          </a:xfrm>
        </p:grpSpPr>
        <p:sp>
          <p:nvSpPr>
            <p:cNvPr id="34" name="Oval 33">
              <a:extLst>
                <a:ext uri="{FF2B5EF4-FFF2-40B4-BE49-F238E27FC236}">
                  <a16:creationId xmlns:a16="http://schemas.microsoft.com/office/drawing/2014/main" id="{4250588F-E79E-1245-B054-DBDB3C56ECE2}"/>
                </a:ext>
              </a:extLst>
            </p:cNvPr>
            <p:cNvSpPr/>
            <p:nvPr/>
          </p:nvSpPr>
          <p:spPr>
            <a:xfrm>
              <a:off x="5932682" y="3810264"/>
              <a:ext cx="1198891" cy="1198891"/>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D883FF"/>
                </a:solidFill>
                <a:effectLst/>
                <a:uLnTx/>
                <a:uFillTx/>
                <a:latin typeface="Calibri"/>
                <a:ea typeface="+mn-ea"/>
                <a:cs typeface="+mn-cs"/>
              </a:endParaRPr>
            </a:p>
          </p:txBody>
        </p:sp>
        <p:pic>
          <p:nvPicPr>
            <p:cNvPr id="37" name="Graphic 36" descr="Internet outline">
              <a:extLst>
                <a:ext uri="{FF2B5EF4-FFF2-40B4-BE49-F238E27FC236}">
                  <a16:creationId xmlns:a16="http://schemas.microsoft.com/office/drawing/2014/main" id="{5D298D67-54D7-2D46-97A7-BB2A69AD32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74927" y="3938087"/>
              <a:ext cx="914400" cy="914400"/>
            </a:xfrm>
            <a:prstGeom prst="rect">
              <a:avLst/>
            </a:prstGeom>
          </p:spPr>
        </p:pic>
      </p:grpSp>
      <p:pic>
        <p:nvPicPr>
          <p:cNvPr id="39" name="Graphic 38" descr="Diamond outline">
            <a:extLst>
              <a:ext uri="{FF2B5EF4-FFF2-40B4-BE49-F238E27FC236}">
                <a16:creationId xmlns:a16="http://schemas.microsoft.com/office/drawing/2014/main" id="{242AC13A-DE13-B546-987B-D2C98E8302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97990" y="1272885"/>
            <a:ext cx="914400" cy="914400"/>
          </a:xfrm>
          <a:prstGeom prst="rect">
            <a:avLst/>
          </a:prstGeom>
        </p:spPr>
      </p:pic>
      <p:grpSp>
        <p:nvGrpSpPr>
          <p:cNvPr id="5" name="Group 4">
            <a:extLst>
              <a:ext uri="{FF2B5EF4-FFF2-40B4-BE49-F238E27FC236}">
                <a16:creationId xmlns:a16="http://schemas.microsoft.com/office/drawing/2014/main" id="{C6C0BD7F-B582-604B-A181-BC28B52CB095}"/>
              </a:ext>
            </a:extLst>
          </p:cNvPr>
          <p:cNvGrpSpPr/>
          <p:nvPr/>
        </p:nvGrpSpPr>
        <p:grpSpPr>
          <a:xfrm>
            <a:off x="4849145" y="468407"/>
            <a:ext cx="2911616" cy="637634"/>
            <a:chOff x="1134396" y="376785"/>
            <a:chExt cx="2911616" cy="637634"/>
          </a:xfrm>
        </p:grpSpPr>
        <p:sp>
          <p:nvSpPr>
            <p:cNvPr id="12" name="Rounded Rectangle 11">
              <a:extLst>
                <a:ext uri="{FF2B5EF4-FFF2-40B4-BE49-F238E27FC236}">
                  <a16:creationId xmlns:a16="http://schemas.microsoft.com/office/drawing/2014/main" id="{9927B44C-FF92-B348-8B57-E6B06E8C2709}"/>
                </a:ext>
              </a:extLst>
            </p:cNvPr>
            <p:cNvSpPr/>
            <p:nvPr/>
          </p:nvSpPr>
          <p:spPr>
            <a:xfrm>
              <a:off x="1690042" y="376785"/>
              <a:ext cx="2355970" cy="637634"/>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Cost pressures</a:t>
              </a:r>
            </a:p>
          </p:txBody>
        </p:sp>
        <p:sp>
          <p:nvSpPr>
            <p:cNvPr id="13" name="Triangle 12">
              <a:extLst>
                <a:ext uri="{FF2B5EF4-FFF2-40B4-BE49-F238E27FC236}">
                  <a16:creationId xmlns:a16="http://schemas.microsoft.com/office/drawing/2014/main" id="{18F6A4B0-D016-BF4C-BE13-16AB0C4816AF}"/>
                </a:ext>
              </a:extLst>
            </p:cNvPr>
            <p:cNvSpPr/>
            <p:nvPr/>
          </p:nvSpPr>
          <p:spPr>
            <a:xfrm>
              <a:off x="1134396" y="546872"/>
              <a:ext cx="404982" cy="297461"/>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 name="Group 3">
            <a:extLst>
              <a:ext uri="{FF2B5EF4-FFF2-40B4-BE49-F238E27FC236}">
                <a16:creationId xmlns:a16="http://schemas.microsoft.com/office/drawing/2014/main" id="{D1AE962B-60BC-384B-96AD-CE8BFD35D157}"/>
              </a:ext>
            </a:extLst>
          </p:cNvPr>
          <p:cNvGrpSpPr/>
          <p:nvPr/>
        </p:nvGrpSpPr>
        <p:grpSpPr>
          <a:xfrm>
            <a:off x="4849145" y="1977255"/>
            <a:ext cx="2920083" cy="637634"/>
            <a:chOff x="1134396" y="1826215"/>
            <a:chExt cx="2920083" cy="637634"/>
          </a:xfrm>
        </p:grpSpPr>
        <p:sp>
          <p:nvSpPr>
            <p:cNvPr id="16" name="Rounded Rectangle 15">
              <a:extLst>
                <a:ext uri="{FF2B5EF4-FFF2-40B4-BE49-F238E27FC236}">
                  <a16:creationId xmlns:a16="http://schemas.microsoft.com/office/drawing/2014/main" id="{ED82DB5E-202A-BA45-BCBD-F7E098864042}"/>
                </a:ext>
              </a:extLst>
            </p:cNvPr>
            <p:cNvSpPr/>
            <p:nvPr/>
          </p:nvSpPr>
          <p:spPr>
            <a:xfrm>
              <a:off x="1698509" y="1826215"/>
              <a:ext cx="2355970" cy="637634"/>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Competing products</a:t>
              </a:r>
            </a:p>
          </p:txBody>
        </p:sp>
        <p:sp>
          <p:nvSpPr>
            <p:cNvPr id="17" name="Triangle 16">
              <a:extLst>
                <a:ext uri="{FF2B5EF4-FFF2-40B4-BE49-F238E27FC236}">
                  <a16:creationId xmlns:a16="http://schemas.microsoft.com/office/drawing/2014/main" id="{D53D20F3-3156-D04A-864D-01685012E9A6}"/>
                </a:ext>
              </a:extLst>
            </p:cNvPr>
            <p:cNvSpPr/>
            <p:nvPr/>
          </p:nvSpPr>
          <p:spPr>
            <a:xfrm>
              <a:off x="1134396" y="1996302"/>
              <a:ext cx="404982" cy="297461"/>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9E16"/>
                </a:solidFill>
                <a:effectLst/>
                <a:uLnTx/>
                <a:uFillTx/>
                <a:latin typeface="Calibri"/>
                <a:ea typeface="+mn-ea"/>
                <a:cs typeface="+mn-cs"/>
              </a:endParaRPr>
            </a:p>
          </p:txBody>
        </p:sp>
      </p:grpSp>
      <p:grpSp>
        <p:nvGrpSpPr>
          <p:cNvPr id="6" name="Group 5">
            <a:extLst>
              <a:ext uri="{FF2B5EF4-FFF2-40B4-BE49-F238E27FC236}">
                <a16:creationId xmlns:a16="http://schemas.microsoft.com/office/drawing/2014/main" id="{6159B2A4-8732-0345-A153-C48E7DB052D5}"/>
              </a:ext>
            </a:extLst>
          </p:cNvPr>
          <p:cNvGrpSpPr/>
          <p:nvPr/>
        </p:nvGrpSpPr>
        <p:grpSpPr>
          <a:xfrm>
            <a:off x="4858697" y="2719903"/>
            <a:ext cx="2911616" cy="637634"/>
            <a:chOff x="1134396" y="2564440"/>
            <a:chExt cx="2911616" cy="637634"/>
          </a:xfrm>
        </p:grpSpPr>
        <p:sp>
          <p:nvSpPr>
            <p:cNvPr id="19" name="Rounded Rectangle 18">
              <a:extLst>
                <a:ext uri="{FF2B5EF4-FFF2-40B4-BE49-F238E27FC236}">
                  <a16:creationId xmlns:a16="http://schemas.microsoft.com/office/drawing/2014/main" id="{9BEF0A84-8B74-1644-8303-1F4BF575BD7C}"/>
                </a:ext>
              </a:extLst>
            </p:cNvPr>
            <p:cNvSpPr/>
            <p:nvPr/>
          </p:nvSpPr>
          <p:spPr>
            <a:xfrm>
              <a:off x="1690042" y="2564440"/>
              <a:ext cx="2355970" cy="637634"/>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GB">
                  <a:solidFill>
                    <a:srgbClr val="646569"/>
                  </a:solidFill>
                </a:rPr>
                <a:t>More data and transparency</a:t>
              </a:r>
            </a:p>
          </p:txBody>
        </p:sp>
        <p:sp>
          <p:nvSpPr>
            <p:cNvPr id="20" name="Triangle 19">
              <a:extLst>
                <a:ext uri="{FF2B5EF4-FFF2-40B4-BE49-F238E27FC236}">
                  <a16:creationId xmlns:a16="http://schemas.microsoft.com/office/drawing/2014/main" id="{B33D5EB0-6436-D647-A067-2213FCAD2340}"/>
                </a:ext>
              </a:extLst>
            </p:cNvPr>
            <p:cNvSpPr/>
            <p:nvPr/>
          </p:nvSpPr>
          <p:spPr>
            <a:xfrm>
              <a:off x="1134396" y="2734527"/>
              <a:ext cx="404982" cy="297461"/>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9E16"/>
                </a:solidFill>
                <a:effectLst/>
                <a:uLnTx/>
                <a:uFillTx/>
                <a:latin typeface="Calibri"/>
                <a:ea typeface="+mn-ea"/>
                <a:cs typeface="+mn-cs"/>
              </a:endParaRPr>
            </a:p>
          </p:txBody>
        </p:sp>
      </p:grpSp>
      <p:sp>
        <p:nvSpPr>
          <p:cNvPr id="22" name="Rounded Rectangle 21">
            <a:extLst>
              <a:ext uri="{FF2B5EF4-FFF2-40B4-BE49-F238E27FC236}">
                <a16:creationId xmlns:a16="http://schemas.microsoft.com/office/drawing/2014/main" id="{E4883615-ADCF-B64B-989A-2ECDC513680F}"/>
              </a:ext>
            </a:extLst>
          </p:cNvPr>
          <p:cNvSpPr/>
          <p:nvPr/>
        </p:nvSpPr>
        <p:spPr>
          <a:xfrm>
            <a:off x="5414342" y="5702388"/>
            <a:ext cx="2355970" cy="637634"/>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Available time</a:t>
            </a:r>
          </a:p>
        </p:txBody>
      </p:sp>
      <p:sp>
        <p:nvSpPr>
          <p:cNvPr id="23" name="Triangle 22">
            <a:extLst>
              <a:ext uri="{FF2B5EF4-FFF2-40B4-BE49-F238E27FC236}">
                <a16:creationId xmlns:a16="http://schemas.microsoft.com/office/drawing/2014/main" id="{A019BD98-D86B-A94D-9B4C-5F5F76C31DD8}"/>
              </a:ext>
            </a:extLst>
          </p:cNvPr>
          <p:cNvSpPr/>
          <p:nvPr/>
        </p:nvSpPr>
        <p:spPr>
          <a:xfrm rot="10800000">
            <a:off x="4858697" y="5855541"/>
            <a:ext cx="404982" cy="297461"/>
          </a:xfrm>
          <a:prstGeom prst="triangle">
            <a:avLst/>
          </a:prstGeom>
          <a:solidFill>
            <a:schemeClr val="tx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9E16"/>
              </a:solidFill>
              <a:effectLst/>
              <a:uLnTx/>
              <a:uFillTx/>
              <a:latin typeface="Calibri"/>
              <a:ea typeface="+mn-ea"/>
              <a:cs typeface="+mn-cs"/>
            </a:endParaRPr>
          </a:p>
        </p:txBody>
      </p:sp>
      <p:sp>
        <p:nvSpPr>
          <p:cNvPr id="25" name="Rounded Rectangle 24">
            <a:extLst>
              <a:ext uri="{FF2B5EF4-FFF2-40B4-BE49-F238E27FC236}">
                <a16:creationId xmlns:a16="http://schemas.microsoft.com/office/drawing/2014/main" id="{2756A538-EF07-8C43-B853-46AAF3E4D148}"/>
              </a:ext>
            </a:extLst>
          </p:cNvPr>
          <p:cNvSpPr/>
          <p:nvPr/>
        </p:nvSpPr>
        <p:spPr>
          <a:xfrm>
            <a:off x="5404791" y="3531667"/>
            <a:ext cx="2355970" cy="637634"/>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Stakeholder networks</a:t>
            </a:r>
          </a:p>
        </p:txBody>
      </p:sp>
      <p:sp>
        <p:nvSpPr>
          <p:cNvPr id="26" name="Triangle 25">
            <a:extLst>
              <a:ext uri="{FF2B5EF4-FFF2-40B4-BE49-F238E27FC236}">
                <a16:creationId xmlns:a16="http://schemas.microsoft.com/office/drawing/2014/main" id="{7AAFCCC8-EF82-CC4C-9359-1EA095779386}"/>
              </a:ext>
            </a:extLst>
          </p:cNvPr>
          <p:cNvSpPr/>
          <p:nvPr/>
        </p:nvSpPr>
        <p:spPr>
          <a:xfrm>
            <a:off x="4849146" y="3684820"/>
            <a:ext cx="404982" cy="297461"/>
          </a:xfrm>
          <a:prstGeom prst="triangle">
            <a:avLst/>
          </a:prstGeom>
          <a:solidFill>
            <a:schemeClr val="tx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9E16"/>
              </a:solidFill>
              <a:effectLst/>
              <a:uLnTx/>
              <a:uFillTx/>
              <a:latin typeface="Calibri"/>
              <a:ea typeface="+mn-ea"/>
              <a:cs typeface="+mn-cs"/>
            </a:endParaRPr>
          </a:p>
        </p:txBody>
      </p:sp>
      <p:sp>
        <p:nvSpPr>
          <p:cNvPr id="28" name="Rounded Rectangle 27">
            <a:extLst>
              <a:ext uri="{FF2B5EF4-FFF2-40B4-BE49-F238E27FC236}">
                <a16:creationId xmlns:a16="http://schemas.microsoft.com/office/drawing/2014/main" id="{4DE49EBD-90EB-1D4F-8175-B85929750640}"/>
              </a:ext>
            </a:extLst>
          </p:cNvPr>
          <p:cNvSpPr/>
          <p:nvPr/>
        </p:nvSpPr>
        <p:spPr>
          <a:xfrm>
            <a:off x="5414342" y="4972629"/>
            <a:ext cx="2355970" cy="637634"/>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a:solidFill>
                  <a:srgbClr val="646569"/>
                </a:solidFill>
              </a:rPr>
              <a:t>Readily available information</a:t>
            </a:r>
          </a:p>
        </p:txBody>
      </p:sp>
      <p:sp>
        <p:nvSpPr>
          <p:cNvPr id="29" name="Triangle 28">
            <a:extLst>
              <a:ext uri="{FF2B5EF4-FFF2-40B4-BE49-F238E27FC236}">
                <a16:creationId xmlns:a16="http://schemas.microsoft.com/office/drawing/2014/main" id="{03E31B83-E53B-EE43-9A4F-54AD983BF443}"/>
              </a:ext>
            </a:extLst>
          </p:cNvPr>
          <p:cNvSpPr/>
          <p:nvPr/>
        </p:nvSpPr>
        <p:spPr>
          <a:xfrm>
            <a:off x="4858697" y="5134249"/>
            <a:ext cx="404982" cy="297461"/>
          </a:xfrm>
          <a:prstGeom prst="triangle">
            <a:avLst/>
          </a:prstGeom>
          <a:solidFill>
            <a:schemeClr val="tx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9E16"/>
              </a:solidFill>
              <a:effectLst/>
              <a:uLnTx/>
              <a:uFillTx/>
              <a:latin typeface="Calibri"/>
              <a:ea typeface="+mn-ea"/>
              <a:cs typeface="+mn-cs"/>
            </a:endParaRPr>
          </a:p>
        </p:txBody>
      </p:sp>
      <p:sp>
        <p:nvSpPr>
          <p:cNvPr id="43" name="Rounded Rectangle 42">
            <a:extLst>
              <a:ext uri="{FF2B5EF4-FFF2-40B4-BE49-F238E27FC236}">
                <a16:creationId xmlns:a16="http://schemas.microsoft.com/office/drawing/2014/main" id="{69FE4A5C-C63D-604F-AB26-CBD66D080328}"/>
              </a:ext>
            </a:extLst>
          </p:cNvPr>
          <p:cNvSpPr/>
          <p:nvPr/>
        </p:nvSpPr>
        <p:spPr>
          <a:xfrm>
            <a:off x="5404791" y="4255675"/>
            <a:ext cx="2355970" cy="637634"/>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Changing HCP behaviours</a:t>
            </a:r>
          </a:p>
        </p:txBody>
      </p:sp>
      <p:sp>
        <p:nvSpPr>
          <p:cNvPr id="46" name="Triangle 45">
            <a:extLst>
              <a:ext uri="{FF2B5EF4-FFF2-40B4-BE49-F238E27FC236}">
                <a16:creationId xmlns:a16="http://schemas.microsoft.com/office/drawing/2014/main" id="{C3D7CD24-0D64-8A42-9983-376454D4852D}"/>
              </a:ext>
            </a:extLst>
          </p:cNvPr>
          <p:cNvSpPr/>
          <p:nvPr/>
        </p:nvSpPr>
        <p:spPr>
          <a:xfrm>
            <a:off x="4858698" y="4408828"/>
            <a:ext cx="404982" cy="297461"/>
          </a:xfrm>
          <a:prstGeom prst="triangle">
            <a:avLst/>
          </a:prstGeom>
          <a:solidFill>
            <a:schemeClr val="tx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9E16"/>
              </a:solidFill>
              <a:effectLst/>
              <a:uLnTx/>
              <a:uFillTx/>
              <a:latin typeface="Calibri"/>
              <a:ea typeface="+mn-ea"/>
              <a:cs typeface="+mn-cs"/>
            </a:endParaRPr>
          </a:p>
        </p:txBody>
      </p:sp>
      <p:grpSp>
        <p:nvGrpSpPr>
          <p:cNvPr id="36" name="Group 35">
            <a:extLst>
              <a:ext uri="{FF2B5EF4-FFF2-40B4-BE49-F238E27FC236}">
                <a16:creationId xmlns:a16="http://schemas.microsoft.com/office/drawing/2014/main" id="{32F8F5C9-D48D-954F-86D7-FF50C74702DE}"/>
              </a:ext>
            </a:extLst>
          </p:cNvPr>
          <p:cNvGrpSpPr/>
          <p:nvPr/>
        </p:nvGrpSpPr>
        <p:grpSpPr>
          <a:xfrm>
            <a:off x="4840678" y="1206632"/>
            <a:ext cx="2920083" cy="637634"/>
            <a:chOff x="1134396" y="1826215"/>
            <a:chExt cx="2920083" cy="637634"/>
          </a:xfrm>
        </p:grpSpPr>
        <p:sp>
          <p:nvSpPr>
            <p:cNvPr id="38" name="Rounded Rectangle 37">
              <a:extLst>
                <a:ext uri="{FF2B5EF4-FFF2-40B4-BE49-F238E27FC236}">
                  <a16:creationId xmlns:a16="http://schemas.microsoft.com/office/drawing/2014/main" id="{CC537AA7-FAC7-FF43-A309-7EFB798618B2}"/>
                </a:ext>
              </a:extLst>
            </p:cNvPr>
            <p:cNvSpPr/>
            <p:nvPr/>
          </p:nvSpPr>
          <p:spPr>
            <a:xfrm>
              <a:off x="1698509" y="1826215"/>
              <a:ext cx="2355970" cy="637634"/>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Patient pathway complexity</a:t>
              </a:r>
            </a:p>
          </p:txBody>
        </p:sp>
        <p:sp>
          <p:nvSpPr>
            <p:cNvPr id="40" name="Triangle 39">
              <a:extLst>
                <a:ext uri="{FF2B5EF4-FFF2-40B4-BE49-F238E27FC236}">
                  <a16:creationId xmlns:a16="http://schemas.microsoft.com/office/drawing/2014/main" id="{95A740B9-60F3-FC4A-9F00-F713E358C501}"/>
                </a:ext>
              </a:extLst>
            </p:cNvPr>
            <p:cNvSpPr/>
            <p:nvPr/>
          </p:nvSpPr>
          <p:spPr>
            <a:xfrm>
              <a:off x="1134396" y="1996302"/>
              <a:ext cx="404982" cy="297461"/>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9E16"/>
                </a:solidFill>
                <a:effectLst/>
                <a:uLnTx/>
                <a:uFillTx/>
                <a:latin typeface="Calibri"/>
                <a:ea typeface="+mn-ea"/>
                <a:cs typeface="+mn-cs"/>
              </a:endParaRPr>
            </a:p>
          </p:txBody>
        </p:sp>
      </p:grpSp>
      <p:sp>
        <p:nvSpPr>
          <p:cNvPr id="7" name="TextBox 6">
            <a:extLst>
              <a:ext uri="{FF2B5EF4-FFF2-40B4-BE49-F238E27FC236}">
                <a16:creationId xmlns:a16="http://schemas.microsoft.com/office/drawing/2014/main" id="{45EBF5D8-AEE8-2F41-B97C-B31900656604}"/>
              </a:ext>
            </a:extLst>
          </p:cNvPr>
          <p:cNvSpPr txBox="1"/>
          <p:nvPr/>
        </p:nvSpPr>
        <p:spPr>
          <a:xfrm rot="16200000">
            <a:off x="2017908" y="3217885"/>
            <a:ext cx="4584215" cy="39517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1200"/>
              </a:spcBef>
              <a:spcAft>
                <a:spcPts val="0"/>
              </a:spcAft>
              <a:buClr>
                <a:srgbClr val="FF9E16"/>
              </a:buClr>
              <a:buSzTx/>
              <a:buFontTx/>
              <a:buNone/>
              <a:tabLst/>
              <a:defRPr/>
            </a:pPr>
            <a:r>
              <a:rPr kumimoji="0" lang="en-GB" sz="2400" b="0" i="0" u="none" strike="noStrike" kern="1200" cap="none" spc="0" normalizeH="0" baseline="0" noProof="0">
                <a:ln>
                  <a:noFill/>
                </a:ln>
                <a:solidFill>
                  <a:srgbClr val="646569"/>
                </a:solidFill>
                <a:effectLst/>
                <a:uLnTx/>
                <a:uFillTx/>
                <a:latin typeface="Calibri"/>
                <a:ea typeface="+mn-ea"/>
                <a:cs typeface="+mn-cs"/>
              </a:rPr>
              <a:t>Engagement Model Influencers</a:t>
            </a:r>
          </a:p>
        </p:txBody>
      </p:sp>
      <p:sp>
        <p:nvSpPr>
          <p:cNvPr id="41" name="Google Shape;7814;p149">
            <a:extLst>
              <a:ext uri="{FF2B5EF4-FFF2-40B4-BE49-F238E27FC236}">
                <a16:creationId xmlns:a16="http://schemas.microsoft.com/office/drawing/2014/main" id="{81B95A90-27AA-324F-9AEA-288EB04978E5}"/>
              </a:ext>
            </a:extLst>
          </p:cNvPr>
          <p:cNvSpPr txBox="1">
            <a:spLocks noChangeArrowheads="1"/>
          </p:cNvSpPr>
          <p:nvPr/>
        </p:nvSpPr>
        <p:spPr bwMode="auto">
          <a:xfrm>
            <a:off x="10120962" y="41822"/>
            <a:ext cx="2071038" cy="14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Clr>
                <a:srgbClr val="484848"/>
              </a:buClr>
              <a:buSzPts val="1600"/>
              <a:buFont typeface="Open Sans" panose="020B0606030504020204" pitchFamily="34" charset="0"/>
              <a:buNone/>
            </a:pPr>
            <a:r>
              <a:rPr lang="en-US" altLang="en-US" sz="1200">
                <a:cs typeface="Calibri" panose="020F0502020204030204" pitchFamily="34" charset="0"/>
                <a:sym typeface="Open Sans" panose="020B0606030504020204" pitchFamily="34" charset="0"/>
              </a:rPr>
              <a:t>How engagement is changing</a:t>
            </a:r>
            <a:endParaRPr lang="en-US" altLang="en-US" sz="1100">
              <a:cs typeface="Calibri" panose="020F0502020204030204" pitchFamily="34" charset="0"/>
              <a:sym typeface="Arial" panose="020B0604020202020204" pitchFamily="34" charset="0"/>
            </a:endParaRPr>
          </a:p>
        </p:txBody>
      </p:sp>
      <p:pic>
        <p:nvPicPr>
          <p:cNvPr id="42" name="Graphic 41" descr="Chat outline">
            <a:extLst>
              <a:ext uri="{FF2B5EF4-FFF2-40B4-BE49-F238E27FC236}">
                <a16:creationId xmlns:a16="http://schemas.microsoft.com/office/drawing/2014/main" id="{C05240EA-5580-6C44-B923-FEDC6D83F21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696624" y="-13370"/>
            <a:ext cx="424338" cy="424338"/>
          </a:xfrm>
          <a:prstGeom prst="rect">
            <a:avLst/>
          </a:prstGeom>
        </p:spPr>
      </p:pic>
    </p:spTree>
    <p:extLst>
      <p:ext uri="{BB962C8B-B14F-4D97-AF65-F5344CB8AC3E}">
        <p14:creationId xmlns:p14="http://schemas.microsoft.com/office/powerpoint/2010/main" val="42545021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998D81-DBF2-084E-B6AB-643120C4AB0A}"/>
              </a:ext>
            </a:extLst>
          </p:cNvPr>
          <p:cNvSpPr>
            <a:spLocks noGrp="1"/>
          </p:cNvSpPr>
          <p:nvPr>
            <p:ph type="title"/>
          </p:nvPr>
        </p:nvSpPr>
        <p:spPr>
          <a:xfrm>
            <a:off x="263602" y="1260983"/>
            <a:ext cx="4114662" cy="2160000"/>
          </a:xfrm>
        </p:spPr>
        <p:txBody>
          <a:bodyPr vert="horz" lIns="91440" tIns="45720" rIns="91440" bIns="45720" rtlCol="0" anchor="ctr" anchorCtr="0">
            <a:noAutofit/>
          </a:bodyPr>
          <a:lstStyle/>
          <a:p>
            <a:pPr>
              <a:lnSpc>
                <a:spcPts val="3620"/>
              </a:lnSpc>
            </a:pPr>
            <a:r>
              <a:rPr lang="en-GB"/>
              <a:t>These forces are resulting in the emergence of four types of engagement strategy</a:t>
            </a:r>
          </a:p>
        </p:txBody>
      </p:sp>
      <p:cxnSp>
        <p:nvCxnSpPr>
          <p:cNvPr id="73" name="Straight Arrow Connector 72">
            <a:extLst>
              <a:ext uri="{FF2B5EF4-FFF2-40B4-BE49-F238E27FC236}">
                <a16:creationId xmlns:a16="http://schemas.microsoft.com/office/drawing/2014/main" id="{782F59EB-1C6F-B140-BA3A-BB8A1F73D392}"/>
              </a:ext>
            </a:extLst>
          </p:cNvPr>
          <p:cNvCxnSpPr>
            <a:cxnSpLocks/>
            <a:stCxn id="80" idx="2"/>
            <a:endCxn id="81" idx="0"/>
          </p:cNvCxnSpPr>
          <p:nvPr/>
        </p:nvCxnSpPr>
        <p:spPr>
          <a:xfrm>
            <a:off x="8499666" y="1109774"/>
            <a:ext cx="0" cy="4833768"/>
          </a:xfrm>
          <a:prstGeom prst="straightConnector1">
            <a:avLst/>
          </a:prstGeom>
          <a:ln w="28575">
            <a:solidFill>
              <a:schemeClr val="bg1">
                <a:lumMod val="75000"/>
              </a:schemeClr>
            </a:solidFill>
            <a:prstDash val="solid"/>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74" name="Straight Arrow Connector 73">
            <a:extLst>
              <a:ext uri="{FF2B5EF4-FFF2-40B4-BE49-F238E27FC236}">
                <a16:creationId xmlns:a16="http://schemas.microsoft.com/office/drawing/2014/main" id="{19940D97-4BD5-E54D-ABA6-E3CEE62C0571}"/>
              </a:ext>
            </a:extLst>
          </p:cNvPr>
          <p:cNvCxnSpPr>
            <a:cxnSpLocks/>
            <a:stCxn id="83" idx="1"/>
            <a:endCxn id="82" idx="3"/>
          </p:cNvCxnSpPr>
          <p:nvPr/>
        </p:nvCxnSpPr>
        <p:spPr>
          <a:xfrm flipH="1">
            <a:off x="5804698" y="3522171"/>
            <a:ext cx="5074971" cy="111"/>
          </a:xfrm>
          <a:prstGeom prst="straightConnector1">
            <a:avLst/>
          </a:prstGeom>
          <a:ln w="28575">
            <a:solidFill>
              <a:schemeClr val="bg1">
                <a:lumMod val="75000"/>
              </a:schemeClr>
            </a:solidFill>
            <a:prstDash val="solid"/>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75" name="Rectangle 74">
            <a:extLst>
              <a:ext uri="{FF2B5EF4-FFF2-40B4-BE49-F238E27FC236}">
                <a16:creationId xmlns:a16="http://schemas.microsoft.com/office/drawing/2014/main" id="{D989C82E-8118-0347-827E-2F1E5F38B4CE}"/>
              </a:ext>
            </a:extLst>
          </p:cNvPr>
          <p:cNvSpPr/>
          <p:nvPr/>
        </p:nvSpPr>
        <p:spPr>
          <a:xfrm>
            <a:off x="8677397" y="927684"/>
            <a:ext cx="2484829" cy="22458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6" name="Rectangle 75">
            <a:extLst>
              <a:ext uri="{FF2B5EF4-FFF2-40B4-BE49-F238E27FC236}">
                <a16:creationId xmlns:a16="http://schemas.microsoft.com/office/drawing/2014/main" id="{3F9EDB67-B3A4-4849-B4DE-AAAEBE6DAA23}"/>
              </a:ext>
            </a:extLst>
          </p:cNvPr>
          <p:cNvSpPr/>
          <p:nvPr/>
        </p:nvSpPr>
        <p:spPr>
          <a:xfrm>
            <a:off x="8826380" y="815389"/>
            <a:ext cx="2733312" cy="247042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56000" rIns="72000" bIns="7200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646569"/>
                </a:solidFill>
                <a:effectLst/>
                <a:uLnTx/>
                <a:uFillTx/>
                <a:latin typeface="Calibri"/>
                <a:ea typeface="+mn-ea"/>
                <a:cs typeface="+mn-cs"/>
              </a:rPr>
              <a:t>Outcomes Orchestrator</a:t>
            </a:r>
          </a:p>
          <a:p>
            <a:pPr marL="285750" marR="0" lvl="0" indent="-285750" algn="ctr"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46569"/>
                </a:solidFill>
                <a:effectLst/>
                <a:uLnTx/>
                <a:uFillTx/>
                <a:latin typeface="Calibri"/>
                <a:ea typeface="+mn-ea"/>
                <a:cs typeface="+mn-cs"/>
              </a:rPr>
              <a:t>Enjoys engaging in digital and prefers a mix of channels</a:t>
            </a:r>
          </a:p>
          <a:p>
            <a:pPr marL="285750" marR="0" lvl="0" indent="-285750" algn="ctr"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46569"/>
                </a:solidFill>
                <a:effectLst/>
                <a:uLnTx/>
                <a:uFillTx/>
                <a:latin typeface="Calibri"/>
                <a:ea typeface="+mn-ea"/>
                <a:cs typeface="+mn-cs"/>
              </a:rPr>
              <a:t>Seeks a service that delivers outcomes that benefit them and their patient</a:t>
            </a:r>
          </a:p>
        </p:txBody>
      </p:sp>
      <p:sp>
        <p:nvSpPr>
          <p:cNvPr id="77" name="Rectangle 76">
            <a:extLst>
              <a:ext uri="{FF2B5EF4-FFF2-40B4-BE49-F238E27FC236}">
                <a16:creationId xmlns:a16="http://schemas.microsoft.com/office/drawing/2014/main" id="{CC5E6BBB-4F05-AA4D-9388-3AAFB4F1A607}"/>
              </a:ext>
            </a:extLst>
          </p:cNvPr>
          <p:cNvSpPr/>
          <p:nvPr/>
        </p:nvSpPr>
        <p:spPr>
          <a:xfrm>
            <a:off x="8826380" y="3720648"/>
            <a:ext cx="2733312" cy="247042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56000" rIns="72000" bIns="7200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646569"/>
                </a:solidFill>
                <a:effectLst/>
                <a:uLnTx/>
                <a:uFillTx/>
                <a:latin typeface="Calibri"/>
                <a:ea typeface="+mn-ea"/>
                <a:cs typeface="+mn-cs"/>
              </a:rPr>
              <a:t>Digital Educator</a:t>
            </a:r>
          </a:p>
          <a:p>
            <a:pPr marL="285750" marR="0" lvl="0" indent="-285750" algn="ctr"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46569"/>
                </a:solidFill>
                <a:effectLst/>
                <a:uLnTx/>
                <a:uFillTx/>
                <a:latin typeface="Calibri"/>
                <a:ea typeface="+mn-ea"/>
                <a:cs typeface="+mn-cs"/>
              </a:rPr>
              <a:t>Enjoys engaging digitally, open to new channels</a:t>
            </a:r>
          </a:p>
          <a:p>
            <a:pPr marL="285750" marR="0" lvl="0" indent="-285750" algn="ctr"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46569"/>
                </a:solidFill>
                <a:effectLst/>
                <a:uLnTx/>
                <a:uFillTx/>
                <a:latin typeface="Calibri"/>
                <a:ea typeface="+mn-ea"/>
                <a:cs typeface="+mn-cs"/>
              </a:rPr>
              <a:t>Seeking promotional material to educate on the product and disease area</a:t>
            </a:r>
          </a:p>
        </p:txBody>
      </p:sp>
      <p:sp>
        <p:nvSpPr>
          <p:cNvPr id="78" name="Rectangle 77">
            <a:extLst>
              <a:ext uri="{FF2B5EF4-FFF2-40B4-BE49-F238E27FC236}">
                <a16:creationId xmlns:a16="http://schemas.microsoft.com/office/drawing/2014/main" id="{17D4DD09-60B4-574B-B895-5BABA137D52E}"/>
              </a:ext>
            </a:extLst>
          </p:cNvPr>
          <p:cNvSpPr/>
          <p:nvPr/>
        </p:nvSpPr>
        <p:spPr>
          <a:xfrm>
            <a:off x="5439639" y="3720644"/>
            <a:ext cx="2733312" cy="247042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56000" rIns="72000" bIns="7200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646569"/>
                </a:solidFill>
                <a:effectLst/>
                <a:uLnTx/>
                <a:uFillTx/>
                <a:latin typeface="Calibri"/>
                <a:ea typeface="+mn-ea"/>
                <a:cs typeface="+mn-cs"/>
              </a:rPr>
              <a:t>Traditional Promoter</a:t>
            </a:r>
          </a:p>
          <a:p>
            <a:pPr marL="285750" marR="0" lvl="0" indent="-285750" algn="ctr"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46569"/>
                </a:solidFill>
                <a:effectLst/>
                <a:uLnTx/>
                <a:uFillTx/>
                <a:latin typeface="Calibri"/>
                <a:ea typeface="+mn-ea"/>
                <a:cs typeface="+mn-cs"/>
              </a:rPr>
              <a:t>Prefers to primarily engage with F2F channels</a:t>
            </a:r>
          </a:p>
          <a:p>
            <a:pPr marL="285750" marR="0" lvl="0" indent="-285750" algn="ctr"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46569"/>
                </a:solidFill>
                <a:effectLst/>
                <a:uLnTx/>
                <a:uFillTx/>
                <a:latin typeface="Calibri"/>
                <a:ea typeface="+mn-ea"/>
                <a:cs typeface="+mn-cs"/>
              </a:rPr>
              <a:t>Values Simple Promotional Material</a:t>
            </a:r>
          </a:p>
        </p:txBody>
      </p:sp>
      <p:sp>
        <p:nvSpPr>
          <p:cNvPr id="79" name="Rectangle 78">
            <a:extLst>
              <a:ext uri="{FF2B5EF4-FFF2-40B4-BE49-F238E27FC236}">
                <a16:creationId xmlns:a16="http://schemas.microsoft.com/office/drawing/2014/main" id="{81C5AF7E-2BF0-5B45-850D-F445321990C2}"/>
              </a:ext>
            </a:extLst>
          </p:cNvPr>
          <p:cNvSpPr/>
          <p:nvPr/>
        </p:nvSpPr>
        <p:spPr>
          <a:xfrm>
            <a:off x="5439639" y="815389"/>
            <a:ext cx="2733312" cy="247042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56000" rIns="72000" bIns="7200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646569"/>
                </a:solidFill>
                <a:effectLst/>
                <a:uLnTx/>
                <a:uFillTx/>
                <a:latin typeface="Calibri"/>
                <a:ea typeface="+mn-ea"/>
                <a:cs typeface="+mn-cs"/>
              </a:rPr>
              <a:t>Personal Partner</a:t>
            </a:r>
          </a:p>
          <a:p>
            <a:pPr marL="285750" marR="0" lvl="0" indent="-285750" algn="ctr"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46569"/>
                </a:solidFill>
                <a:effectLst/>
                <a:uLnTx/>
                <a:uFillTx/>
                <a:latin typeface="Calibri"/>
                <a:ea typeface="+mn-ea"/>
                <a:cs typeface="+mn-cs"/>
              </a:rPr>
              <a:t>Values building a trusted in-person communication style with the rep</a:t>
            </a:r>
          </a:p>
          <a:p>
            <a:pPr marL="285750" marR="0" lvl="0" indent="-285750" algn="ctr"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46569"/>
                </a:solidFill>
                <a:effectLst/>
                <a:uLnTx/>
                <a:uFillTx/>
                <a:latin typeface="Calibri"/>
                <a:ea typeface="+mn-ea"/>
                <a:cs typeface="+mn-cs"/>
              </a:rPr>
              <a:t>Seeking support to develop &amp; solve broader problems</a:t>
            </a:r>
          </a:p>
        </p:txBody>
      </p:sp>
      <p:sp>
        <p:nvSpPr>
          <p:cNvPr id="81" name="TextBox 80">
            <a:extLst>
              <a:ext uri="{FF2B5EF4-FFF2-40B4-BE49-F238E27FC236}">
                <a16:creationId xmlns:a16="http://schemas.microsoft.com/office/drawing/2014/main" id="{569E0BFA-BB20-3443-B610-DDB5E6DC44D0}"/>
              </a:ext>
            </a:extLst>
          </p:cNvPr>
          <p:cNvSpPr txBox="1"/>
          <p:nvPr/>
        </p:nvSpPr>
        <p:spPr>
          <a:xfrm>
            <a:off x="8083385" y="5943542"/>
            <a:ext cx="832561" cy="307777"/>
          </a:xfrm>
          <a:prstGeom prst="rect">
            <a:avLst/>
          </a:prstGeom>
          <a:noFill/>
        </p:spPr>
        <p:txBody>
          <a:bodyPr wrap="square" rtlCol="0">
            <a:spAutoFit/>
          </a:bodyPr>
          <a:lstStyle>
            <a:defPPr>
              <a:defRPr lang="en-US"/>
            </a:defPPr>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Calibri"/>
                <a:ea typeface="+mn-ea"/>
                <a:cs typeface="+mn-cs"/>
              </a:rPr>
              <a:t>Simple</a:t>
            </a:r>
          </a:p>
        </p:txBody>
      </p:sp>
      <p:sp>
        <p:nvSpPr>
          <p:cNvPr id="82" name="TextBox 81">
            <a:extLst>
              <a:ext uri="{FF2B5EF4-FFF2-40B4-BE49-F238E27FC236}">
                <a16:creationId xmlns:a16="http://schemas.microsoft.com/office/drawing/2014/main" id="{CEF8BC60-4B9B-F944-ADA1-45FA2288DE35}"/>
              </a:ext>
            </a:extLst>
          </p:cNvPr>
          <p:cNvSpPr txBox="1"/>
          <p:nvPr/>
        </p:nvSpPr>
        <p:spPr>
          <a:xfrm>
            <a:off x="5282234" y="3368393"/>
            <a:ext cx="52246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Calibri"/>
                <a:ea typeface="+mn-ea"/>
                <a:cs typeface="+mn-cs"/>
              </a:rPr>
              <a:t>F2F</a:t>
            </a:r>
          </a:p>
        </p:txBody>
      </p:sp>
      <p:sp>
        <p:nvSpPr>
          <p:cNvPr id="80" name="TextBox 79">
            <a:extLst>
              <a:ext uri="{FF2B5EF4-FFF2-40B4-BE49-F238E27FC236}">
                <a16:creationId xmlns:a16="http://schemas.microsoft.com/office/drawing/2014/main" id="{A53A9726-C654-4D46-99EF-1D2CFD5CEF7F}"/>
              </a:ext>
            </a:extLst>
          </p:cNvPr>
          <p:cNvSpPr txBox="1"/>
          <p:nvPr/>
        </p:nvSpPr>
        <p:spPr>
          <a:xfrm>
            <a:off x="7971140" y="801997"/>
            <a:ext cx="10570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Calibri"/>
                <a:ea typeface="+mn-ea"/>
                <a:cs typeface="+mn-cs"/>
              </a:rPr>
              <a:t>Complex</a:t>
            </a:r>
          </a:p>
        </p:txBody>
      </p:sp>
      <p:sp>
        <p:nvSpPr>
          <p:cNvPr id="83" name="TextBox 82">
            <a:extLst>
              <a:ext uri="{FF2B5EF4-FFF2-40B4-BE49-F238E27FC236}">
                <a16:creationId xmlns:a16="http://schemas.microsoft.com/office/drawing/2014/main" id="{6B8C3E13-406F-8043-9930-1BFEF4C3B4C2}"/>
              </a:ext>
            </a:extLst>
          </p:cNvPr>
          <p:cNvSpPr txBox="1"/>
          <p:nvPr/>
        </p:nvSpPr>
        <p:spPr>
          <a:xfrm>
            <a:off x="10879669" y="3260561"/>
            <a:ext cx="83209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Calibri"/>
                <a:ea typeface="+mn-ea"/>
                <a:cs typeface="+mn-cs"/>
              </a:rPr>
              <a:t>Omni-channel</a:t>
            </a:r>
          </a:p>
        </p:txBody>
      </p:sp>
      <p:sp>
        <p:nvSpPr>
          <p:cNvPr id="84" name="Text Placeholder 4">
            <a:extLst>
              <a:ext uri="{FF2B5EF4-FFF2-40B4-BE49-F238E27FC236}">
                <a16:creationId xmlns:a16="http://schemas.microsoft.com/office/drawing/2014/main" id="{F80D387E-208C-0147-BBF0-932EF045AC2D}"/>
              </a:ext>
            </a:extLst>
          </p:cNvPr>
          <p:cNvSpPr txBox="1">
            <a:spLocks/>
          </p:cNvSpPr>
          <p:nvPr/>
        </p:nvSpPr>
        <p:spPr>
          <a:xfrm>
            <a:off x="7147450" y="371798"/>
            <a:ext cx="2733312" cy="367430"/>
          </a:xfrm>
          <a:prstGeom prst="rect">
            <a:avLst/>
          </a:prstGeom>
        </p:spPr>
        <p:txBody>
          <a:bodyPr vert="horz"/>
          <a:lstStyle>
            <a:lvl1pPr marL="0" indent="0" algn="l" defTabSz="457200" rtl="0" eaLnBrk="1" latinLnBrk="0" hangingPunct="1">
              <a:spcBef>
                <a:spcPts val="0"/>
              </a:spcBef>
              <a:buFont typeface="Arial"/>
              <a:buNone/>
              <a:defRPr sz="2400" kern="1200" baseline="0">
                <a:solidFill>
                  <a:schemeClr val="tx1"/>
                </a:solidFill>
                <a:latin typeface="Arial" pitchFamily="34" charset="0"/>
                <a:ea typeface="+mn-ea"/>
                <a:cs typeface="Arial" pitchFamily="34" charset="0"/>
              </a:defRPr>
            </a:lvl1pPr>
            <a:lvl2pPr marL="457200" indent="0" algn="l" defTabSz="457200" rtl="0" eaLnBrk="1" latinLnBrk="0" hangingPunct="1">
              <a:spcBef>
                <a:spcPct val="20000"/>
              </a:spcBef>
              <a:buFont typeface="Arial"/>
              <a:buNone/>
              <a:defRPr sz="24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4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a:ln>
                  <a:noFill/>
                </a:ln>
                <a:solidFill>
                  <a:srgbClr val="FF9E16"/>
                </a:solidFill>
                <a:effectLst/>
                <a:uLnTx/>
                <a:uFillTx/>
                <a:latin typeface="Calibri"/>
                <a:ea typeface="+mn-ea"/>
                <a:cs typeface="Arial" pitchFamily="34" charset="0"/>
              </a:rPr>
              <a:t>HCP Channel Preference</a:t>
            </a:r>
          </a:p>
        </p:txBody>
      </p:sp>
      <p:sp>
        <p:nvSpPr>
          <p:cNvPr id="29" name="Text Placeholder 4">
            <a:extLst>
              <a:ext uri="{FF2B5EF4-FFF2-40B4-BE49-F238E27FC236}">
                <a16:creationId xmlns:a16="http://schemas.microsoft.com/office/drawing/2014/main" id="{B880D2E6-1242-1644-893C-62E16A570A03}"/>
              </a:ext>
            </a:extLst>
          </p:cNvPr>
          <p:cNvSpPr txBox="1">
            <a:spLocks/>
          </p:cNvSpPr>
          <p:nvPr/>
        </p:nvSpPr>
        <p:spPr>
          <a:xfrm rot="16200000">
            <a:off x="3469630" y="3391172"/>
            <a:ext cx="2974377" cy="250924"/>
          </a:xfrm>
          <a:prstGeom prst="rect">
            <a:avLst/>
          </a:prstGeom>
        </p:spPr>
        <p:txBody>
          <a:bodyPr vert="horz"/>
          <a:lstStyle>
            <a:lvl1pPr marL="0" indent="0" algn="l" defTabSz="457200" rtl="0" eaLnBrk="1" latinLnBrk="0" hangingPunct="1">
              <a:spcBef>
                <a:spcPts val="0"/>
              </a:spcBef>
              <a:buFont typeface="Arial"/>
              <a:buNone/>
              <a:defRPr sz="2400" kern="1200" baseline="0">
                <a:solidFill>
                  <a:schemeClr val="tx1"/>
                </a:solidFill>
                <a:latin typeface="Arial" pitchFamily="34" charset="0"/>
                <a:ea typeface="+mn-ea"/>
                <a:cs typeface="Arial" pitchFamily="34" charset="0"/>
              </a:defRPr>
            </a:lvl1pPr>
            <a:lvl2pPr marL="457200" indent="0" algn="l" defTabSz="457200" rtl="0" eaLnBrk="1" latinLnBrk="0" hangingPunct="1">
              <a:spcBef>
                <a:spcPct val="20000"/>
              </a:spcBef>
              <a:buFont typeface="Arial"/>
              <a:buNone/>
              <a:defRPr sz="24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4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a:ln>
                  <a:noFill/>
                </a:ln>
                <a:solidFill>
                  <a:srgbClr val="DD5F11"/>
                </a:solidFill>
                <a:effectLst/>
                <a:uLnTx/>
                <a:uFillTx/>
                <a:latin typeface="Calibri"/>
                <a:ea typeface="+mn-ea"/>
                <a:cs typeface="Arial" pitchFamily="34" charset="0"/>
              </a:rPr>
              <a:t>HCP Relationship Preference</a:t>
            </a:r>
          </a:p>
        </p:txBody>
      </p:sp>
      <p:sp>
        <p:nvSpPr>
          <p:cNvPr id="38" name="TextBox 37">
            <a:extLst>
              <a:ext uri="{FF2B5EF4-FFF2-40B4-BE49-F238E27FC236}">
                <a16:creationId xmlns:a16="http://schemas.microsoft.com/office/drawing/2014/main" id="{0E434AAA-21E4-3740-B3AD-F3E4300E17AA}"/>
              </a:ext>
            </a:extLst>
          </p:cNvPr>
          <p:cNvSpPr txBox="1"/>
          <p:nvPr/>
        </p:nvSpPr>
        <p:spPr>
          <a:xfrm>
            <a:off x="275471" y="3712479"/>
            <a:ext cx="3600000" cy="2031325"/>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1200"/>
              </a:spcBef>
              <a:spcAft>
                <a:spcPts val="0"/>
              </a:spcAft>
              <a:buClr>
                <a:srgbClr val="FF9E16"/>
              </a:buClr>
              <a:buSzTx/>
              <a:buFontTx/>
              <a:buNone/>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Design and deployment of an appropriate engagement model is informed by HCP needs, preferences and behaviours, and an understanding of what channels drive impact, when to be used and how they should be used </a:t>
            </a:r>
          </a:p>
        </p:txBody>
      </p:sp>
      <p:pic>
        <p:nvPicPr>
          <p:cNvPr id="43" name="Graphic 42" descr="Presentation with checklist outline">
            <a:extLst>
              <a:ext uri="{FF2B5EF4-FFF2-40B4-BE49-F238E27FC236}">
                <a16:creationId xmlns:a16="http://schemas.microsoft.com/office/drawing/2014/main" id="{3F009EC0-785A-4C46-9B3F-D53EB7EEAB8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80762" y="3846914"/>
            <a:ext cx="624548" cy="624548"/>
          </a:xfrm>
          <a:prstGeom prst="rect">
            <a:avLst/>
          </a:prstGeom>
        </p:spPr>
      </p:pic>
      <p:pic>
        <p:nvPicPr>
          <p:cNvPr id="45" name="Graphic 44" descr="Professor female outline">
            <a:extLst>
              <a:ext uri="{FF2B5EF4-FFF2-40B4-BE49-F238E27FC236}">
                <a16:creationId xmlns:a16="http://schemas.microsoft.com/office/drawing/2014/main" id="{68CE3393-70BF-3F44-A8B9-2078781FFA1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494021" y="3812171"/>
            <a:ext cx="624548" cy="624548"/>
          </a:xfrm>
          <a:prstGeom prst="rect">
            <a:avLst/>
          </a:prstGeom>
        </p:spPr>
      </p:pic>
      <p:pic>
        <p:nvPicPr>
          <p:cNvPr id="49" name="Graphic 48" descr="Handshake outline">
            <a:extLst>
              <a:ext uri="{FF2B5EF4-FFF2-40B4-BE49-F238E27FC236}">
                <a16:creationId xmlns:a16="http://schemas.microsoft.com/office/drawing/2014/main" id="{9E86FC25-E5DB-8B42-BEE2-18E786FD7F8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494021" y="956873"/>
            <a:ext cx="624548" cy="624548"/>
          </a:xfrm>
          <a:prstGeom prst="rect">
            <a:avLst/>
          </a:prstGeom>
        </p:spPr>
      </p:pic>
      <p:pic>
        <p:nvPicPr>
          <p:cNvPr id="51" name="Graphic 50" descr="Diamond outline">
            <a:extLst>
              <a:ext uri="{FF2B5EF4-FFF2-40B4-BE49-F238E27FC236}">
                <a16:creationId xmlns:a16="http://schemas.microsoft.com/office/drawing/2014/main" id="{65C6429C-FEC4-654A-A705-E9BC372F0FC6}"/>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80762" y="956873"/>
            <a:ext cx="624548" cy="624548"/>
          </a:xfrm>
          <a:prstGeom prst="rect">
            <a:avLst/>
          </a:prstGeom>
        </p:spPr>
      </p:pic>
      <p:grpSp>
        <p:nvGrpSpPr>
          <p:cNvPr id="123" name="Group 122">
            <a:extLst>
              <a:ext uri="{FF2B5EF4-FFF2-40B4-BE49-F238E27FC236}">
                <a16:creationId xmlns:a16="http://schemas.microsoft.com/office/drawing/2014/main" id="{18CAA314-2D64-874F-B026-C3E7C06BCFFF}"/>
              </a:ext>
            </a:extLst>
          </p:cNvPr>
          <p:cNvGrpSpPr/>
          <p:nvPr/>
        </p:nvGrpSpPr>
        <p:grpSpPr>
          <a:xfrm>
            <a:off x="7838483" y="2680630"/>
            <a:ext cx="1509183" cy="1570978"/>
            <a:chOff x="6804981" y="3469850"/>
            <a:chExt cx="799966" cy="832721"/>
          </a:xfrm>
          <a:gradFill>
            <a:gsLst>
              <a:gs pos="0">
                <a:schemeClr val="tx2"/>
              </a:gs>
              <a:gs pos="100000">
                <a:schemeClr val="accent1"/>
              </a:gs>
            </a:gsLst>
            <a:lin ang="2700000" scaled="1"/>
          </a:gradFill>
        </p:grpSpPr>
        <p:sp>
          <p:nvSpPr>
            <p:cNvPr id="53" name="Up Arrow 52">
              <a:extLst>
                <a:ext uri="{FF2B5EF4-FFF2-40B4-BE49-F238E27FC236}">
                  <a16:creationId xmlns:a16="http://schemas.microsoft.com/office/drawing/2014/main" id="{525D2A40-2511-B049-A624-9E991BB7C1A3}"/>
                </a:ext>
              </a:extLst>
            </p:cNvPr>
            <p:cNvSpPr/>
            <p:nvPr/>
          </p:nvSpPr>
          <p:spPr>
            <a:xfrm>
              <a:off x="6804981" y="3469850"/>
              <a:ext cx="276940" cy="729119"/>
            </a:xfrm>
            <a:prstGeom prst="upArrow">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25" name="Up Arrow 124">
              <a:extLst>
                <a:ext uri="{FF2B5EF4-FFF2-40B4-BE49-F238E27FC236}">
                  <a16:creationId xmlns:a16="http://schemas.microsoft.com/office/drawing/2014/main" id="{0C915252-4270-954F-9B19-7B462372F861}"/>
                </a:ext>
              </a:extLst>
            </p:cNvPr>
            <p:cNvSpPr/>
            <p:nvPr/>
          </p:nvSpPr>
          <p:spPr>
            <a:xfrm rot="2484034">
              <a:off x="7054462" y="3548428"/>
              <a:ext cx="276940" cy="729119"/>
            </a:xfrm>
            <a:prstGeom prst="upArrow">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26" name="Up Arrow 125">
              <a:extLst>
                <a:ext uri="{FF2B5EF4-FFF2-40B4-BE49-F238E27FC236}">
                  <a16:creationId xmlns:a16="http://schemas.microsoft.com/office/drawing/2014/main" id="{30EE7852-6BAF-5847-AB95-6A8E026D978A}"/>
                </a:ext>
              </a:extLst>
            </p:cNvPr>
            <p:cNvSpPr/>
            <p:nvPr/>
          </p:nvSpPr>
          <p:spPr>
            <a:xfrm rot="5400000">
              <a:off x="7101918" y="3799541"/>
              <a:ext cx="276940" cy="729119"/>
            </a:xfrm>
            <a:prstGeom prst="upArrow">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95" name="Group 12">
            <a:extLst>
              <a:ext uri="{FF2B5EF4-FFF2-40B4-BE49-F238E27FC236}">
                <a16:creationId xmlns:a16="http://schemas.microsoft.com/office/drawing/2014/main" id="{9E400E9C-3097-8849-88B4-326BD3F1F10E}"/>
              </a:ext>
            </a:extLst>
          </p:cNvPr>
          <p:cNvGrpSpPr>
            <a:grpSpLocks/>
          </p:cNvGrpSpPr>
          <p:nvPr/>
        </p:nvGrpSpPr>
        <p:grpSpPr bwMode="auto">
          <a:xfrm>
            <a:off x="7520859" y="3579462"/>
            <a:ext cx="844388" cy="842442"/>
            <a:chOff x="5915754" y="1720454"/>
            <a:chExt cx="688315" cy="687586"/>
          </a:xfrm>
        </p:grpSpPr>
        <p:sp>
          <p:nvSpPr>
            <p:cNvPr id="96" name="Freeform 1188">
              <a:extLst>
                <a:ext uri="{FF2B5EF4-FFF2-40B4-BE49-F238E27FC236}">
                  <a16:creationId xmlns:a16="http://schemas.microsoft.com/office/drawing/2014/main" id="{B8787426-684D-FF4B-897E-764D6D70DE5B}"/>
                </a:ext>
              </a:extLst>
            </p:cNvPr>
            <p:cNvSpPr>
              <a:spLocks noChangeArrowheads="1"/>
            </p:cNvSpPr>
            <p:nvPr/>
          </p:nvSpPr>
          <p:spPr bwMode="auto">
            <a:xfrm>
              <a:off x="5915754" y="1720454"/>
              <a:ext cx="688315" cy="686991"/>
            </a:xfrm>
            <a:custGeom>
              <a:avLst/>
              <a:gdLst>
                <a:gd name="T0" fmla="*/ 344158 w 5096"/>
                <a:gd name="T1" fmla="*/ 686856 h 5090"/>
                <a:gd name="T2" fmla="*/ 344158 w 5096"/>
                <a:gd name="T3" fmla="*/ 686856 h 5090"/>
                <a:gd name="T4" fmla="*/ 0 w 5096"/>
                <a:gd name="T5" fmla="*/ 343765 h 5090"/>
                <a:gd name="T6" fmla="*/ 344158 w 5096"/>
                <a:gd name="T7" fmla="*/ 0 h 5090"/>
                <a:gd name="T8" fmla="*/ 688180 w 5096"/>
                <a:gd name="T9" fmla="*/ 343765 h 5090"/>
                <a:gd name="T10" fmla="*/ 344158 w 5096"/>
                <a:gd name="T11" fmla="*/ 686856 h 509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96" h="5090">
                  <a:moveTo>
                    <a:pt x="2548" y="5089"/>
                  </a:moveTo>
                  <a:lnTo>
                    <a:pt x="2548" y="5089"/>
                  </a:lnTo>
                  <a:cubicBezTo>
                    <a:pt x="1139" y="5089"/>
                    <a:pt x="0" y="3950"/>
                    <a:pt x="0" y="2547"/>
                  </a:cubicBezTo>
                  <a:cubicBezTo>
                    <a:pt x="0" y="1139"/>
                    <a:pt x="1139" y="0"/>
                    <a:pt x="2548" y="0"/>
                  </a:cubicBezTo>
                  <a:cubicBezTo>
                    <a:pt x="3956" y="0"/>
                    <a:pt x="5095" y="1139"/>
                    <a:pt x="5095" y="2547"/>
                  </a:cubicBezTo>
                  <a:cubicBezTo>
                    <a:pt x="5095" y="3950"/>
                    <a:pt x="3956" y="5089"/>
                    <a:pt x="2548" y="5089"/>
                  </a:cubicBezTo>
                </a:path>
              </a:pathLst>
            </a:custGeom>
            <a:solidFill>
              <a:schemeClr val="tx2"/>
            </a:solid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7" name="Freeform 1189">
              <a:extLst>
                <a:ext uri="{FF2B5EF4-FFF2-40B4-BE49-F238E27FC236}">
                  <a16:creationId xmlns:a16="http://schemas.microsoft.com/office/drawing/2014/main" id="{3120BD7F-C264-F843-87C9-8CB7E9214A34}"/>
                </a:ext>
              </a:extLst>
            </p:cNvPr>
            <p:cNvSpPr>
              <a:spLocks noChangeArrowheads="1"/>
            </p:cNvSpPr>
            <p:nvPr/>
          </p:nvSpPr>
          <p:spPr bwMode="auto">
            <a:xfrm>
              <a:off x="6062825" y="2174677"/>
              <a:ext cx="392983" cy="232767"/>
            </a:xfrm>
            <a:custGeom>
              <a:avLst/>
              <a:gdLst>
                <a:gd name="T0" fmla="*/ 67611 w 2912"/>
                <a:gd name="T1" fmla="*/ 46257 h 1726"/>
                <a:gd name="T2" fmla="*/ 67611 w 2912"/>
                <a:gd name="T3" fmla="*/ 46257 h 1726"/>
                <a:gd name="T4" fmla="*/ 0 w 2912"/>
                <a:gd name="T5" fmla="*/ 171406 h 1726"/>
                <a:gd name="T6" fmla="*/ 196492 w 2912"/>
                <a:gd name="T7" fmla="*/ 232632 h 1726"/>
                <a:gd name="T8" fmla="*/ 392848 w 2912"/>
                <a:gd name="T9" fmla="*/ 171406 h 1726"/>
                <a:gd name="T10" fmla="*/ 324562 w 2912"/>
                <a:gd name="T11" fmla="*/ 46257 h 1726"/>
                <a:gd name="T12" fmla="*/ 196492 w 2912"/>
                <a:gd name="T13" fmla="*/ 0 h 1726"/>
                <a:gd name="T14" fmla="*/ 67611 w 2912"/>
                <a:gd name="T15" fmla="*/ 46257 h 172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912" h="1726">
                  <a:moveTo>
                    <a:pt x="501" y="343"/>
                  </a:moveTo>
                  <a:lnTo>
                    <a:pt x="501" y="343"/>
                  </a:lnTo>
                  <a:cubicBezTo>
                    <a:pt x="253" y="507"/>
                    <a:pt x="148" y="855"/>
                    <a:pt x="0" y="1271"/>
                  </a:cubicBezTo>
                  <a:cubicBezTo>
                    <a:pt x="416" y="1556"/>
                    <a:pt x="918" y="1725"/>
                    <a:pt x="1456" y="1725"/>
                  </a:cubicBezTo>
                  <a:cubicBezTo>
                    <a:pt x="1999" y="1725"/>
                    <a:pt x="2495" y="1556"/>
                    <a:pt x="2911" y="1271"/>
                  </a:cubicBezTo>
                  <a:cubicBezTo>
                    <a:pt x="2763" y="855"/>
                    <a:pt x="2659" y="502"/>
                    <a:pt x="2405" y="343"/>
                  </a:cubicBezTo>
                  <a:cubicBezTo>
                    <a:pt x="1972" y="69"/>
                    <a:pt x="1708" y="6"/>
                    <a:pt x="1456" y="0"/>
                  </a:cubicBezTo>
                  <a:cubicBezTo>
                    <a:pt x="1192" y="0"/>
                    <a:pt x="933" y="64"/>
                    <a:pt x="501" y="343"/>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8" name="Freeform 1190">
              <a:extLst>
                <a:ext uri="{FF2B5EF4-FFF2-40B4-BE49-F238E27FC236}">
                  <a16:creationId xmlns:a16="http://schemas.microsoft.com/office/drawing/2014/main" id="{FD19374C-1D90-2E4C-A9E2-53853A878105}"/>
                </a:ext>
              </a:extLst>
            </p:cNvPr>
            <p:cNvSpPr>
              <a:spLocks noChangeArrowheads="1"/>
            </p:cNvSpPr>
            <p:nvPr/>
          </p:nvSpPr>
          <p:spPr bwMode="auto">
            <a:xfrm>
              <a:off x="6062825" y="2174677"/>
              <a:ext cx="196492" cy="232767"/>
            </a:xfrm>
            <a:custGeom>
              <a:avLst/>
              <a:gdLst>
                <a:gd name="T0" fmla="*/ 67565 w 1457"/>
                <a:gd name="T1" fmla="*/ 46257 h 1726"/>
                <a:gd name="T2" fmla="*/ 67565 w 1457"/>
                <a:gd name="T3" fmla="*/ 46257 h 1726"/>
                <a:gd name="T4" fmla="*/ 0 w 1457"/>
                <a:gd name="T5" fmla="*/ 171406 h 1726"/>
                <a:gd name="T6" fmla="*/ 196357 w 1457"/>
                <a:gd name="T7" fmla="*/ 232632 h 1726"/>
                <a:gd name="T8" fmla="*/ 196357 w 1457"/>
                <a:gd name="T9" fmla="*/ 232632 h 1726"/>
                <a:gd name="T10" fmla="*/ 196357 w 1457"/>
                <a:gd name="T11" fmla="*/ 0 h 1726"/>
                <a:gd name="T12" fmla="*/ 196357 w 1457"/>
                <a:gd name="T13" fmla="*/ 0 h 1726"/>
                <a:gd name="T14" fmla="*/ 67565 w 1457"/>
                <a:gd name="T15" fmla="*/ 46257 h 172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57" h="1726">
                  <a:moveTo>
                    <a:pt x="501" y="343"/>
                  </a:moveTo>
                  <a:lnTo>
                    <a:pt x="501" y="343"/>
                  </a:lnTo>
                  <a:cubicBezTo>
                    <a:pt x="253" y="507"/>
                    <a:pt x="148" y="855"/>
                    <a:pt x="0" y="1271"/>
                  </a:cubicBezTo>
                  <a:cubicBezTo>
                    <a:pt x="416" y="1556"/>
                    <a:pt x="918" y="1725"/>
                    <a:pt x="1456" y="1725"/>
                  </a:cubicBezTo>
                  <a:cubicBezTo>
                    <a:pt x="1456" y="0"/>
                    <a:pt x="1456" y="0"/>
                    <a:pt x="1456" y="0"/>
                  </a:cubicBezTo>
                  <a:cubicBezTo>
                    <a:pt x="1192" y="0"/>
                    <a:pt x="933" y="64"/>
                    <a:pt x="501" y="343"/>
                  </a:cubicBezTo>
                </a:path>
              </a:pathLst>
            </a:custGeom>
            <a:solidFill>
              <a:srgbClr val="E1E6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9" name="Freeform 1191">
              <a:extLst>
                <a:ext uri="{FF2B5EF4-FFF2-40B4-BE49-F238E27FC236}">
                  <a16:creationId xmlns:a16="http://schemas.microsoft.com/office/drawing/2014/main" id="{9F18D902-6BE8-E848-B60A-293AA2399C7D}"/>
                </a:ext>
              </a:extLst>
            </p:cNvPr>
            <p:cNvSpPr>
              <a:spLocks noChangeArrowheads="1"/>
            </p:cNvSpPr>
            <p:nvPr/>
          </p:nvSpPr>
          <p:spPr bwMode="auto">
            <a:xfrm>
              <a:off x="6195605" y="2178249"/>
              <a:ext cx="138735" cy="154186"/>
            </a:xfrm>
            <a:custGeom>
              <a:avLst/>
              <a:gdLst>
                <a:gd name="T0" fmla="*/ 0 w 1029"/>
                <a:gd name="T1" fmla="*/ 154051 h 1140"/>
                <a:gd name="T2" fmla="*/ 138600 w 1029"/>
                <a:gd name="T3" fmla="*/ 154051 h 1140"/>
                <a:gd name="T4" fmla="*/ 138600 w 1029"/>
                <a:gd name="T5" fmla="*/ 0 h 1140"/>
                <a:gd name="T6" fmla="*/ 0 w 1029"/>
                <a:gd name="T7" fmla="*/ 0 h 1140"/>
                <a:gd name="T8" fmla="*/ 0 w 1029"/>
                <a:gd name="T9" fmla="*/ 154051 h 1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9" h="1140">
                  <a:moveTo>
                    <a:pt x="0" y="1139"/>
                  </a:moveTo>
                  <a:lnTo>
                    <a:pt x="1028" y="1139"/>
                  </a:lnTo>
                  <a:lnTo>
                    <a:pt x="1028" y="0"/>
                  </a:lnTo>
                  <a:lnTo>
                    <a:pt x="0" y="0"/>
                  </a:lnTo>
                  <a:lnTo>
                    <a:pt x="0" y="1139"/>
                  </a:lnTo>
                </a:path>
              </a:pathLst>
            </a:custGeom>
            <a:solidFill>
              <a:srgbClr val="F1595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0" name="Freeform 1192">
              <a:extLst>
                <a:ext uri="{FF2B5EF4-FFF2-40B4-BE49-F238E27FC236}">
                  <a16:creationId xmlns:a16="http://schemas.microsoft.com/office/drawing/2014/main" id="{7012C997-ADD5-6D40-BC35-B315CAEA9687}"/>
                </a:ext>
              </a:extLst>
            </p:cNvPr>
            <p:cNvSpPr>
              <a:spLocks noChangeArrowheads="1"/>
            </p:cNvSpPr>
            <p:nvPr/>
          </p:nvSpPr>
          <p:spPr bwMode="auto">
            <a:xfrm>
              <a:off x="6211086" y="2034184"/>
              <a:ext cx="97055" cy="193476"/>
            </a:xfrm>
            <a:custGeom>
              <a:avLst/>
              <a:gdLst>
                <a:gd name="T0" fmla="*/ 0 w 718"/>
                <a:gd name="T1" fmla="*/ 0 h 1431"/>
                <a:gd name="T2" fmla="*/ 0 w 718"/>
                <a:gd name="T3" fmla="*/ 0 h 1431"/>
                <a:gd name="T4" fmla="*/ 96920 w 718"/>
                <a:gd name="T5" fmla="*/ 0 h 1431"/>
                <a:gd name="T6" fmla="*/ 96920 w 718"/>
                <a:gd name="T7" fmla="*/ 140476 h 1431"/>
                <a:gd name="T8" fmla="*/ 0 w 718"/>
                <a:gd name="T9" fmla="*/ 140476 h 1431"/>
                <a:gd name="T10" fmla="*/ 0 w 718"/>
                <a:gd name="T11" fmla="*/ 0 h 14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8" h="1431">
                  <a:moveTo>
                    <a:pt x="0" y="0"/>
                  </a:moveTo>
                  <a:lnTo>
                    <a:pt x="0" y="0"/>
                  </a:lnTo>
                  <a:cubicBezTo>
                    <a:pt x="717" y="0"/>
                    <a:pt x="717" y="0"/>
                    <a:pt x="717" y="0"/>
                  </a:cubicBezTo>
                  <a:cubicBezTo>
                    <a:pt x="717" y="1039"/>
                    <a:pt x="717" y="1039"/>
                    <a:pt x="717" y="1039"/>
                  </a:cubicBezTo>
                  <a:cubicBezTo>
                    <a:pt x="717" y="1392"/>
                    <a:pt x="0" y="1430"/>
                    <a:pt x="0" y="1039"/>
                  </a:cubicBezTo>
                  <a:lnTo>
                    <a:pt x="0" y="0"/>
                  </a:lnTo>
                </a:path>
              </a:pathLst>
            </a:custGeom>
            <a:solidFill>
              <a:srgbClr val="FFDDB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1" name="Freeform 1193">
              <a:extLst>
                <a:ext uri="{FF2B5EF4-FFF2-40B4-BE49-F238E27FC236}">
                  <a16:creationId xmlns:a16="http://schemas.microsoft.com/office/drawing/2014/main" id="{5C5B7C2F-DE93-2B4B-8A1D-2041AF7EA048}"/>
                </a:ext>
              </a:extLst>
            </p:cNvPr>
            <p:cNvSpPr>
              <a:spLocks noChangeArrowheads="1"/>
            </p:cNvSpPr>
            <p:nvPr/>
          </p:nvSpPr>
          <p:spPr bwMode="auto">
            <a:xfrm>
              <a:off x="6211086" y="2116336"/>
              <a:ext cx="97055" cy="66080"/>
            </a:xfrm>
            <a:custGeom>
              <a:avLst/>
              <a:gdLst>
                <a:gd name="T0" fmla="*/ 96920 w 718"/>
                <a:gd name="T1" fmla="*/ 17765 h 491"/>
                <a:gd name="T2" fmla="*/ 96920 w 718"/>
                <a:gd name="T3" fmla="*/ 0 h 491"/>
                <a:gd name="T4" fmla="*/ 0 w 718"/>
                <a:gd name="T5" fmla="*/ 0 h 491"/>
                <a:gd name="T6" fmla="*/ 0 w 718"/>
                <a:gd name="T7" fmla="*/ 65945 h 491"/>
                <a:gd name="T8" fmla="*/ 96920 w 718"/>
                <a:gd name="T9" fmla="*/ 17765 h 4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8" h="491">
                  <a:moveTo>
                    <a:pt x="717" y="132"/>
                  </a:moveTo>
                  <a:lnTo>
                    <a:pt x="717" y="0"/>
                  </a:lnTo>
                  <a:lnTo>
                    <a:pt x="0" y="0"/>
                  </a:lnTo>
                  <a:lnTo>
                    <a:pt x="0" y="490"/>
                  </a:lnTo>
                  <a:lnTo>
                    <a:pt x="717" y="132"/>
                  </a:lnTo>
                </a:path>
              </a:pathLst>
            </a:custGeom>
            <a:solidFill>
              <a:srgbClr val="E7C5A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2" name="Freeform 1194">
              <a:extLst>
                <a:ext uri="{FF2B5EF4-FFF2-40B4-BE49-F238E27FC236}">
                  <a16:creationId xmlns:a16="http://schemas.microsoft.com/office/drawing/2014/main" id="{3BB5D95E-A0B2-6342-B5AD-BED405ABD16C}"/>
                </a:ext>
              </a:extLst>
            </p:cNvPr>
            <p:cNvSpPr>
              <a:spLocks noChangeArrowheads="1"/>
            </p:cNvSpPr>
            <p:nvPr/>
          </p:nvSpPr>
          <p:spPr bwMode="auto">
            <a:xfrm>
              <a:off x="6053893" y="1866900"/>
              <a:ext cx="411442" cy="272058"/>
            </a:xfrm>
            <a:custGeom>
              <a:avLst/>
              <a:gdLst>
                <a:gd name="T0" fmla="*/ 205721 w 3048"/>
                <a:gd name="T1" fmla="*/ 0 h 2015"/>
                <a:gd name="T2" fmla="*/ 205721 w 3048"/>
                <a:gd name="T3" fmla="*/ 0 h 2015"/>
                <a:gd name="T4" fmla="*/ 205721 w 3048"/>
                <a:gd name="T5" fmla="*/ 271923 h 2015"/>
                <a:gd name="T6" fmla="*/ 205721 w 3048"/>
                <a:gd name="T7" fmla="*/ 0 h 201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48" h="2015">
                  <a:moveTo>
                    <a:pt x="1524" y="0"/>
                  </a:moveTo>
                  <a:lnTo>
                    <a:pt x="1524" y="0"/>
                  </a:lnTo>
                  <a:cubicBezTo>
                    <a:pt x="3047" y="0"/>
                    <a:pt x="2430" y="2014"/>
                    <a:pt x="1524" y="2014"/>
                  </a:cubicBezTo>
                  <a:cubicBezTo>
                    <a:pt x="617" y="2014"/>
                    <a:pt x="0" y="0"/>
                    <a:pt x="1524" y="0"/>
                  </a:cubicBezTo>
                </a:path>
              </a:pathLst>
            </a:custGeom>
            <a:solidFill>
              <a:srgbClr val="F0CE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3" name="Freeform 1195">
              <a:extLst>
                <a:ext uri="{FF2B5EF4-FFF2-40B4-BE49-F238E27FC236}">
                  <a16:creationId xmlns:a16="http://schemas.microsoft.com/office/drawing/2014/main" id="{F57BF2C1-1790-154F-9905-0F5D2690BFE5}"/>
                </a:ext>
              </a:extLst>
            </p:cNvPr>
            <p:cNvSpPr>
              <a:spLocks noChangeArrowheads="1"/>
            </p:cNvSpPr>
            <p:nvPr/>
          </p:nvSpPr>
          <p:spPr bwMode="auto">
            <a:xfrm>
              <a:off x="6259912" y="1866900"/>
              <a:ext cx="206018" cy="272058"/>
            </a:xfrm>
            <a:custGeom>
              <a:avLst/>
              <a:gdLst>
                <a:gd name="T0" fmla="*/ 0 w 1524"/>
                <a:gd name="T1" fmla="*/ 0 h 2015"/>
                <a:gd name="T2" fmla="*/ 0 w 1524"/>
                <a:gd name="T3" fmla="*/ 0 h 2015"/>
                <a:gd name="T4" fmla="*/ 0 w 1524"/>
                <a:gd name="T5" fmla="*/ 271923 h 2015"/>
                <a:gd name="T6" fmla="*/ 0 w 1524"/>
                <a:gd name="T7" fmla="*/ 0 h 201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4" h="2015">
                  <a:moveTo>
                    <a:pt x="0" y="0"/>
                  </a:moveTo>
                  <a:lnTo>
                    <a:pt x="0" y="0"/>
                  </a:lnTo>
                  <a:cubicBezTo>
                    <a:pt x="1523" y="0"/>
                    <a:pt x="906" y="2014"/>
                    <a:pt x="0" y="2014"/>
                  </a:cubicBezTo>
                  <a:lnTo>
                    <a:pt x="0" y="0"/>
                  </a:lnTo>
                </a:path>
              </a:pathLst>
            </a:custGeom>
            <a:solidFill>
              <a:srgbClr val="FFDDB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4" name="Freeform 1196">
              <a:extLst>
                <a:ext uri="{FF2B5EF4-FFF2-40B4-BE49-F238E27FC236}">
                  <a16:creationId xmlns:a16="http://schemas.microsoft.com/office/drawing/2014/main" id="{C9A573D4-094E-084D-9811-1E6A3C8A95F3}"/>
                </a:ext>
              </a:extLst>
            </p:cNvPr>
            <p:cNvSpPr>
              <a:spLocks noChangeArrowheads="1"/>
            </p:cNvSpPr>
            <p:nvPr/>
          </p:nvSpPr>
          <p:spPr bwMode="auto">
            <a:xfrm>
              <a:off x="6112841" y="1816894"/>
              <a:ext cx="293546" cy="221456"/>
            </a:xfrm>
            <a:custGeom>
              <a:avLst/>
              <a:gdLst>
                <a:gd name="T0" fmla="*/ 204335 w 2175"/>
                <a:gd name="T1" fmla="*/ 77550 h 1642"/>
                <a:gd name="T2" fmla="*/ 204335 w 2175"/>
                <a:gd name="T3" fmla="*/ 77550 h 1642"/>
                <a:gd name="T4" fmla="*/ 258320 w 2175"/>
                <a:gd name="T5" fmla="*/ 163057 h 1642"/>
                <a:gd name="T6" fmla="*/ 278295 w 2175"/>
                <a:gd name="T7" fmla="*/ 169396 h 1642"/>
                <a:gd name="T8" fmla="*/ 150215 w 2175"/>
                <a:gd name="T9" fmla="*/ 0 h 1642"/>
                <a:gd name="T10" fmla="*/ 14306 w 2175"/>
                <a:gd name="T11" fmla="*/ 163867 h 1642"/>
                <a:gd name="T12" fmla="*/ 39139 w 2175"/>
                <a:gd name="T13" fmla="*/ 163867 h 1642"/>
                <a:gd name="T14" fmla="*/ 204335 w 2175"/>
                <a:gd name="T15" fmla="*/ 77550 h 16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75" h="1642">
                  <a:moveTo>
                    <a:pt x="1514" y="575"/>
                  </a:moveTo>
                  <a:lnTo>
                    <a:pt x="1514" y="575"/>
                  </a:lnTo>
                  <a:cubicBezTo>
                    <a:pt x="1756" y="676"/>
                    <a:pt x="1856" y="993"/>
                    <a:pt x="1914" y="1209"/>
                  </a:cubicBezTo>
                  <a:cubicBezTo>
                    <a:pt x="1999" y="1514"/>
                    <a:pt x="1952" y="1489"/>
                    <a:pt x="2062" y="1256"/>
                  </a:cubicBezTo>
                  <a:cubicBezTo>
                    <a:pt x="2174" y="1019"/>
                    <a:pt x="1904" y="0"/>
                    <a:pt x="1113" y="0"/>
                  </a:cubicBezTo>
                  <a:cubicBezTo>
                    <a:pt x="322" y="0"/>
                    <a:pt x="0" y="781"/>
                    <a:pt x="106" y="1215"/>
                  </a:cubicBezTo>
                  <a:cubicBezTo>
                    <a:pt x="217" y="1641"/>
                    <a:pt x="217" y="1535"/>
                    <a:pt x="290" y="1215"/>
                  </a:cubicBezTo>
                  <a:cubicBezTo>
                    <a:pt x="464" y="380"/>
                    <a:pt x="1092" y="745"/>
                    <a:pt x="1514" y="575"/>
                  </a:cubicBezTo>
                </a:path>
              </a:pathLst>
            </a:custGeom>
            <a:solidFill>
              <a:srgbClr val="7E605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5" name="Freeform 1197">
              <a:extLst>
                <a:ext uri="{FF2B5EF4-FFF2-40B4-BE49-F238E27FC236}">
                  <a16:creationId xmlns:a16="http://schemas.microsoft.com/office/drawing/2014/main" id="{E8EB2E05-5CD3-9D4C-9103-F6703C6890BA}"/>
                </a:ext>
              </a:extLst>
            </p:cNvPr>
            <p:cNvSpPr>
              <a:spLocks noChangeArrowheads="1"/>
            </p:cNvSpPr>
            <p:nvPr/>
          </p:nvSpPr>
          <p:spPr bwMode="auto">
            <a:xfrm>
              <a:off x="6367089" y="1959173"/>
              <a:ext cx="35131" cy="66080"/>
            </a:xfrm>
            <a:custGeom>
              <a:avLst/>
              <a:gdLst>
                <a:gd name="T0" fmla="*/ 25094 w 259"/>
                <a:gd name="T1" fmla="*/ 2019 h 491"/>
                <a:gd name="T2" fmla="*/ 25094 w 259"/>
                <a:gd name="T3" fmla="*/ 2019 h 491"/>
                <a:gd name="T4" fmla="*/ 31469 w 259"/>
                <a:gd name="T5" fmla="*/ 36068 h 491"/>
                <a:gd name="T6" fmla="*/ 10716 w 259"/>
                <a:gd name="T7" fmla="*/ 64600 h 491"/>
                <a:gd name="T8" fmla="*/ 4205 w 259"/>
                <a:gd name="T9" fmla="*/ 29743 h 491"/>
                <a:gd name="T10" fmla="*/ 25094 w 259"/>
                <a:gd name="T11" fmla="*/ 2019 h 49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9" h="491">
                  <a:moveTo>
                    <a:pt x="185" y="15"/>
                  </a:moveTo>
                  <a:lnTo>
                    <a:pt x="185" y="15"/>
                  </a:lnTo>
                  <a:cubicBezTo>
                    <a:pt x="237" y="26"/>
                    <a:pt x="258" y="137"/>
                    <a:pt x="232" y="268"/>
                  </a:cubicBezTo>
                  <a:cubicBezTo>
                    <a:pt x="201" y="395"/>
                    <a:pt x="132" y="490"/>
                    <a:pt x="79" y="480"/>
                  </a:cubicBezTo>
                  <a:cubicBezTo>
                    <a:pt x="21" y="463"/>
                    <a:pt x="0" y="353"/>
                    <a:pt x="31" y="221"/>
                  </a:cubicBezTo>
                  <a:cubicBezTo>
                    <a:pt x="58" y="95"/>
                    <a:pt x="127" y="0"/>
                    <a:pt x="185" y="15"/>
                  </a:cubicBezTo>
                </a:path>
              </a:pathLst>
            </a:custGeom>
            <a:solidFill>
              <a:srgbClr val="FFDDB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6" name="Freeform 1198">
              <a:extLst>
                <a:ext uri="{FF2B5EF4-FFF2-40B4-BE49-F238E27FC236}">
                  <a16:creationId xmlns:a16="http://schemas.microsoft.com/office/drawing/2014/main" id="{9B2CB9D1-D64D-E64A-93E7-A5084D65869F}"/>
                </a:ext>
              </a:extLst>
            </p:cNvPr>
            <p:cNvSpPr>
              <a:spLocks noChangeArrowheads="1"/>
            </p:cNvSpPr>
            <p:nvPr/>
          </p:nvSpPr>
          <p:spPr bwMode="auto">
            <a:xfrm>
              <a:off x="6117009" y="1959173"/>
              <a:ext cx="35131" cy="66080"/>
            </a:xfrm>
            <a:custGeom>
              <a:avLst/>
              <a:gdLst>
                <a:gd name="T0" fmla="*/ 10037 w 259"/>
                <a:gd name="T1" fmla="*/ 2019 h 491"/>
                <a:gd name="T2" fmla="*/ 10037 w 259"/>
                <a:gd name="T3" fmla="*/ 2019 h 491"/>
                <a:gd name="T4" fmla="*/ 3527 w 259"/>
                <a:gd name="T5" fmla="*/ 36068 h 491"/>
                <a:gd name="T6" fmla="*/ 24280 w 259"/>
                <a:gd name="T7" fmla="*/ 64600 h 491"/>
                <a:gd name="T8" fmla="*/ 30790 w 259"/>
                <a:gd name="T9" fmla="*/ 29743 h 491"/>
                <a:gd name="T10" fmla="*/ 10037 w 259"/>
                <a:gd name="T11" fmla="*/ 2019 h 49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9" h="491">
                  <a:moveTo>
                    <a:pt x="74" y="15"/>
                  </a:moveTo>
                  <a:lnTo>
                    <a:pt x="74" y="15"/>
                  </a:lnTo>
                  <a:cubicBezTo>
                    <a:pt x="21" y="26"/>
                    <a:pt x="0" y="137"/>
                    <a:pt x="26" y="268"/>
                  </a:cubicBezTo>
                  <a:cubicBezTo>
                    <a:pt x="58" y="395"/>
                    <a:pt x="121" y="490"/>
                    <a:pt x="179" y="480"/>
                  </a:cubicBezTo>
                  <a:cubicBezTo>
                    <a:pt x="237" y="463"/>
                    <a:pt x="258" y="353"/>
                    <a:pt x="227" y="221"/>
                  </a:cubicBezTo>
                  <a:cubicBezTo>
                    <a:pt x="200" y="95"/>
                    <a:pt x="131" y="0"/>
                    <a:pt x="74" y="15"/>
                  </a:cubicBezTo>
                </a:path>
              </a:pathLst>
            </a:custGeom>
            <a:solidFill>
              <a:srgbClr val="F6D6B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7" name="Freeform 1199">
              <a:extLst>
                <a:ext uri="{FF2B5EF4-FFF2-40B4-BE49-F238E27FC236}">
                  <a16:creationId xmlns:a16="http://schemas.microsoft.com/office/drawing/2014/main" id="{3C3724EA-81DD-EE4C-88C2-20D66C4A7B15}"/>
                </a:ext>
              </a:extLst>
            </p:cNvPr>
            <p:cNvSpPr>
              <a:spLocks noChangeArrowheads="1"/>
            </p:cNvSpPr>
            <p:nvPr/>
          </p:nvSpPr>
          <p:spPr bwMode="auto">
            <a:xfrm>
              <a:off x="6214659" y="2177654"/>
              <a:ext cx="89910" cy="230386"/>
            </a:xfrm>
            <a:custGeom>
              <a:avLst/>
              <a:gdLst>
                <a:gd name="T0" fmla="*/ 34071 w 665"/>
                <a:gd name="T1" fmla="*/ 82696 h 1705"/>
                <a:gd name="T2" fmla="*/ 34071 w 665"/>
                <a:gd name="T3" fmla="*/ 82696 h 1705"/>
                <a:gd name="T4" fmla="*/ 23390 w 665"/>
                <a:gd name="T5" fmla="*/ 229575 h 1705"/>
                <a:gd name="T6" fmla="*/ 44887 w 665"/>
                <a:gd name="T7" fmla="*/ 230251 h 1705"/>
                <a:gd name="T8" fmla="*/ 65438 w 665"/>
                <a:gd name="T9" fmla="*/ 229575 h 1705"/>
                <a:gd name="T10" fmla="*/ 55568 w 665"/>
                <a:gd name="T11" fmla="*/ 82696 h 1705"/>
                <a:gd name="T12" fmla="*/ 89775 w 665"/>
                <a:gd name="T13" fmla="*/ 811 h 1705"/>
                <a:gd name="T14" fmla="*/ 0 w 665"/>
                <a:gd name="T15" fmla="*/ 811 h 1705"/>
                <a:gd name="T16" fmla="*/ 34071 w 665"/>
                <a:gd name="T17" fmla="*/ 82696 h 17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5" h="1705">
                  <a:moveTo>
                    <a:pt x="252" y="612"/>
                  </a:moveTo>
                  <a:lnTo>
                    <a:pt x="252" y="612"/>
                  </a:lnTo>
                  <a:cubicBezTo>
                    <a:pt x="173" y="1699"/>
                    <a:pt x="173" y="1699"/>
                    <a:pt x="173" y="1699"/>
                  </a:cubicBezTo>
                  <a:cubicBezTo>
                    <a:pt x="226" y="1704"/>
                    <a:pt x="279" y="1704"/>
                    <a:pt x="332" y="1704"/>
                  </a:cubicBezTo>
                  <a:cubicBezTo>
                    <a:pt x="385" y="1704"/>
                    <a:pt x="437" y="1704"/>
                    <a:pt x="484" y="1699"/>
                  </a:cubicBezTo>
                  <a:cubicBezTo>
                    <a:pt x="411" y="612"/>
                    <a:pt x="411" y="612"/>
                    <a:pt x="411" y="612"/>
                  </a:cubicBezTo>
                  <a:cubicBezTo>
                    <a:pt x="664" y="6"/>
                    <a:pt x="664" y="6"/>
                    <a:pt x="664" y="6"/>
                  </a:cubicBezTo>
                  <a:cubicBezTo>
                    <a:pt x="426" y="0"/>
                    <a:pt x="237" y="0"/>
                    <a:pt x="0" y="6"/>
                  </a:cubicBezTo>
                  <a:lnTo>
                    <a:pt x="252" y="612"/>
                  </a:lnTo>
                </a:path>
              </a:pathLst>
            </a:custGeom>
            <a:solidFill>
              <a:srgbClr val="2245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8" name="Freeform 1200">
              <a:extLst>
                <a:ext uri="{FF2B5EF4-FFF2-40B4-BE49-F238E27FC236}">
                  <a16:creationId xmlns:a16="http://schemas.microsoft.com/office/drawing/2014/main" id="{34AC9AFA-2B8A-6B41-9C99-07696277072E}"/>
                </a:ext>
              </a:extLst>
            </p:cNvPr>
            <p:cNvSpPr>
              <a:spLocks noChangeArrowheads="1"/>
            </p:cNvSpPr>
            <p:nvPr/>
          </p:nvSpPr>
          <p:spPr bwMode="auto">
            <a:xfrm>
              <a:off x="6119986" y="2170510"/>
              <a:ext cx="136353" cy="236934"/>
            </a:xfrm>
            <a:custGeom>
              <a:avLst/>
              <a:gdLst>
                <a:gd name="T0" fmla="*/ 117009 w 1008"/>
                <a:gd name="T1" fmla="*/ 236125 h 1757"/>
                <a:gd name="T2" fmla="*/ 117009 w 1008"/>
                <a:gd name="T3" fmla="*/ 236125 h 1757"/>
                <a:gd name="T4" fmla="*/ 29219 w 1008"/>
                <a:gd name="T5" fmla="*/ 158585 h 1757"/>
                <a:gd name="T6" fmla="*/ 38552 w 1008"/>
                <a:gd name="T7" fmla="*/ 92373 h 1757"/>
                <a:gd name="T8" fmla="*/ 0 w 1008"/>
                <a:gd name="T9" fmla="*/ 95205 h 1757"/>
                <a:gd name="T10" fmla="*/ 84950 w 1008"/>
                <a:gd name="T11" fmla="*/ 0 h 1757"/>
                <a:gd name="T12" fmla="*/ 103482 w 1008"/>
                <a:gd name="T13" fmla="*/ 96688 h 1757"/>
                <a:gd name="T14" fmla="*/ 136218 w 1008"/>
                <a:gd name="T15" fmla="*/ 236799 h 1757"/>
                <a:gd name="T16" fmla="*/ 117009 w 1008"/>
                <a:gd name="T17" fmla="*/ 236125 h 17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08" h="1757">
                  <a:moveTo>
                    <a:pt x="865" y="1751"/>
                  </a:moveTo>
                  <a:lnTo>
                    <a:pt x="865" y="1751"/>
                  </a:lnTo>
                  <a:cubicBezTo>
                    <a:pt x="707" y="1456"/>
                    <a:pt x="459" y="1144"/>
                    <a:pt x="216" y="1176"/>
                  </a:cubicBezTo>
                  <a:cubicBezTo>
                    <a:pt x="164" y="997"/>
                    <a:pt x="210" y="854"/>
                    <a:pt x="285" y="685"/>
                  </a:cubicBezTo>
                  <a:cubicBezTo>
                    <a:pt x="195" y="670"/>
                    <a:pt x="121" y="644"/>
                    <a:pt x="0" y="706"/>
                  </a:cubicBezTo>
                  <a:cubicBezTo>
                    <a:pt x="164" y="359"/>
                    <a:pt x="337" y="95"/>
                    <a:pt x="628" y="0"/>
                  </a:cubicBezTo>
                  <a:cubicBezTo>
                    <a:pt x="628" y="168"/>
                    <a:pt x="611" y="496"/>
                    <a:pt x="765" y="717"/>
                  </a:cubicBezTo>
                  <a:cubicBezTo>
                    <a:pt x="875" y="870"/>
                    <a:pt x="965" y="1356"/>
                    <a:pt x="1007" y="1756"/>
                  </a:cubicBezTo>
                  <a:cubicBezTo>
                    <a:pt x="960" y="1756"/>
                    <a:pt x="912" y="1756"/>
                    <a:pt x="865" y="1751"/>
                  </a:cubicBezTo>
                </a:path>
              </a:pathLst>
            </a:custGeom>
            <a:solidFill>
              <a:srgbClr val="D1D8E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9" name="Freeform 1201">
              <a:extLst>
                <a:ext uri="{FF2B5EF4-FFF2-40B4-BE49-F238E27FC236}">
                  <a16:creationId xmlns:a16="http://schemas.microsoft.com/office/drawing/2014/main" id="{7E850EC7-D555-AF48-AB11-3ED43C01464E}"/>
                </a:ext>
              </a:extLst>
            </p:cNvPr>
            <p:cNvSpPr>
              <a:spLocks noChangeArrowheads="1"/>
            </p:cNvSpPr>
            <p:nvPr/>
          </p:nvSpPr>
          <p:spPr bwMode="auto">
            <a:xfrm>
              <a:off x="6118795" y="2170510"/>
              <a:ext cx="138139" cy="236934"/>
            </a:xfrm>
            <a:custGeom>
              <a:avLst/>
              <a:gdLst>
                <a:gd name="T0" fmla="*/ 125986 w 1023"/>
                <a:gd name="T1" fmla="*/ 236799 h 1757"/>
                <a:gd name="T2" fmla="*/ 125986 w 1023"/>
                <a:gd name="T3" fmla="*/ 236799 h 1757"/>
                <a:gd name="T4" fmla="*/ 38349 w 1023"/>
                <a:gd name="T5" fmla="*/ 141459 h 1757"/>
                <a:gd name="T6" fmla="*/ 54688 w 1023"/>
                <a:gd name="T7" fmla="*/ 83203 h 1757"/>
                <a:gd name="T8" fmla="*/ 0 w 1023"/>
                <a:gd name="T9" fmla="*/ 91025 h 1757"/>
                <a:gd name="T10" fmla="*/ 86151 w 1023"/>
                <a:gd name="T11" fmla="*/ 0 h 1757"/>
                <a:gd name="T12" fmla="*/ 104651 w 1023"/>
                <a:gd name="T13" fmla="*/ 96688 h 1757"/>
                <a:gd name="T14" fmla="*/ 138004 w 1023"/>
                <a:gd name="T15" fmla="*/ 236799 h 1757"/>
                <a:gd name="T16" fmla="*/ 125986 w 1023"/>
                <a:gd name="T17" fmla="*/ 236799 h 17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23" h="1757">
                  <a:moveTo>
                    <a:pt x="933" y="1756"/>
                  </a:moveTo>
                  <a:lnTo>
                    <a:pt x="933" y="1756"/>
                  </a:lnTo>
                  <a:cubicBezTo>
                    <a:pt x="780" y="1439"/>
                    <a:pt x="506" y="1049"/>
                    <a:pt x="284" y="1049"/>
                  </a:cubicBezTo>
                  <a:cubicBezTo>
                    <a:pt x="289" y="854"/>
                    <a:pt x="305" y="764"/>
                    <a:pt x="405" y="617"/>
                  </a:cubicBezTo>
                  <a:cubicBezTo>
                    <a:pt x="263" y="596"/>
                    <a:pt x="120" y="617"/>
                    <a:pt x="0" y="675"/>
                  </a:cubicBezTo>
                  <a:cubicBezTo>
                    <a:pt x="94" y="432"/>
                    <a:pt x="411" y="95"/>
                    <a:pt x="638" y="0"/>
                  </a:cubicBezTo>
                  <a:cubicBezTo>
                    <a:pt x="638" y="168"/>
                    <a:pt x="621" y="496"/>
                    <a:pt x="775" y="717"/>
                  </a:cubicBezTo>
                  <a:cubicBezTo>
                    <a:pt x="896" y="881"/>
                    <a:pt x="986" y="1376"/>
                    <a:pt x="1022" y="1756"/>
                  </a:cubicBezTo>
                  <a:cubicBezTo>
                    <a:pt x="997" y="1756"/>
                    <a:pt x="964" y="1756"/>
                    <a:pt x="933" y="1756"/>
                  </a:cubicBezTo>
                </a:path>
              </a:pathLst>
            </a:custGeom>
            <a:solidFill>
              <a:srgbClr val="E1E6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0" name="Freeform 1202">
              <a:extLst>
                <a:ext uri="{FF2B5EF4-FFF2-40B4-BE49-F238E27FC236}">
                  <a16:creationId xmlns:a16="http://schemas.microsoft.com/office/drawing/2014/main" id="{FE027DAF-5306-104E-AB00-23359C8D6CC5}"/>
                </a:ext>
              </a:extLst>
            </p:cNvPr>
            <p:cNvSpPr>
              <a:spLocks noChangeArrowheads="1"/>
            </p:cNvSpPr>
            <p:nvPr/>
          </p:nvSpPr>
          <p:spPr bwMode="auto">
            <a:xfrm>
              <a:off x="6255148" y="2170510"/>
              <a:ext cx="145285" cy="236934"/>
            </a:xfrm>
            <a:custGeom>
              <a:avLst/>
              <a:gdLst>
                <a:gd name="T0" fmla="*/ 26305 w 1077"/>
                <a:gd name="T1" fmla="*/ 236125 h 1757"/>
                <a:gd name="T2" fmla="*/ 26305 w 1077"/>
                <a:gd name="T3" fmla="*/ 236125 h 1757"/>
                <a:gd name="T4" fmla="*/ 114528 w 1077"/>
                <a:gd name="T5" fmla="*/ 158585 h 1757"/>
                <a:gd name="T6" fmla="*/ 105355 w 1077"/>
                <a:gd name="T7" fmla="*/ 92373 h 1757"/>
                <a:gd name="T8" fmla="*/ 145150 w 1077"/>
                <a:gd name="T9" fmla="*/ 96688 h 1757"/>
                <a:gd name="T10" fmla="*/ 59085 w 1077"/>
                <a:gd name="T11" fmla="*/ 0 h 1757"/>
                <a:gd name="T12" fmla="*/ 43437 w 1077"/>
                <a:gd name="T13" fmla="*/ 97363 h 1757"/>
                <a:gd name="T14" fmla="*/ 0 w 1077"/>
                <a:gd name="T15" fmla="*/ 236799 h 1757"/>
                <a:gd name="T16" fmla="*/ 4317 w 1077"/>
                <a:gd name="T17" fmla="*/ 236799 h 1757"/>
                <a:gd name="T18" fmla="*/ 26305 w 1077"/>
                <a:gd name="T19" fmla="*/ 236125 h 17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77" h="1757">
                  <a:moveTo>
                    <a:pt x="195" y="1751"/>
                  </a:moveTo>
                  <a:lnTo>
                    <a:pt x="195" y="1751"/>
                  </a:lnTo>
                  <a:cubicBezTo>
                    <a:pt x="359" y="1456"/>
                    <a:pt x="606" y="1144"/>
                    <a:pt x="849" y="1176"/>
                  </a:cubicBezTo>
                  <a:cubicBezTo>
                    <a:pt x="902" y="997"/>
                    <a:pt x="855" y="854"/>
                    <a:pt x="781" y="685"/>
                  </a:cubicBezTo>
                  <a:cubicBezTo>
                    <a:pt x="870" y="670"/>
                    <a:pt x="960" y="654"/>
                    <a:pt x="1076" y="717"/>
                  </a:cubicBezTo>
                  <a:cubicBezTo>
                    <a:pt x="960" y="506"/>
                    <a:pt x="728" y="95"/>
                    <a:pt x="438" y="0"/>
                  </a:cubicBezTo>
                  <a:cubicBezTo>
                    <a:pt x="438" y="168"/>
                    <a:pt x="575" y="522"/>
                    <a:pt x="322" y="722"/>
                  </a:cubicBezTo>
                  <a:cubicBezTo>
                    <a:pt x="142" y="865"/>
                    <a:pt x="21" y="1350"/>
                    <a:pt x="0" y="1756"/>
                  </a:cubicBezTo>
                  <a:cubicBezTo>
                    <a:pt x="10" y="1756"/>
                    <a:pt x="21" y="1756"/>
                    <a:pt x="32" y="1756"/>
                  </a:cubicBezTo>
                  <a:cubicBezTo>
                    <a:pt x="89" y="1756"/>
                    <a:pt x="142" y="1756"/>
                    <a:pt x="195" y="1751"/>
                  </a:cubicBezTo>
                </a:path>
              </a:pathLst>
            </a:custGeom>
            <a:solidFill>
              <a:srgbClr val="E1E6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1" name="Freeform 1203">
              <a:extLst>
                <a:ext uri="{FF2B5EF4-FFF2-40B4-BE49-F238E27FC236}">
                  <a16:creationId xmlns:a16="http://schemas.microsoft.com/office/drawing/2014/main" id="{B310FAF6-B68E-D44A-9280-9390FA892FB3}"/>
                </a:ext>
              </a:extLst>
            </p:cNvPr>
            <p:cNvSpPr>
              <a:spLocks noChangeArrowheads="1"/>
            </p:cNvSpPr>
            <p:nvPr/>
          </p:nvSpPr>
          <p:spPr bwMode="auto">
            <a:xfrm>
              <a:off x="6261102" y="2170510"/>
              <a:ext cx="140521" cy="236934"/>
            </a:xfrm>
            <a:custGeom>
              <a:avLst/>
              <a:gdLst>
                <a:gd name="T0" fmla="*/ 13389 w 1039"/>
                <a:gd name="T1" fmla="*/ 236799 h 1757"/>
                <a:gd name="T2" fmla="*/ 13389 w 1039"/>
                <a:gd name="T3" fmla="*/ 236799 h 1757"/>
                <a:gd name="T4" fmla="*/ 101164 w 1039"/>
                <a:gd name="T5" fmla="*/ 141459 h 1757"/>
                <a:gd name="T6" fmla="*/ 83988 w 1039"/>
                <a:gd name="T7" fmla="*/ 83203 h 1757"/>
                <a:gd name="T8" fmla="*/ 140386 w 1039"/>
                <a:gd name="T9" fmla="*/ 91834 h 1757"/>
                <a:gd name="T10" fmla="*/ 53422 w 1039"/>
                <a:gd name="T11" fmla="*/ 0 h 1757"/>
                <a:gd name="T12" fmla="*/ 34217 w 1039"/>
                <a:gd name="T13" fmla="*/ 96688 h 1757"/>
                <a:gd name="T14" fmla="*/ 0 w 1039"/>
                <a:gd name="T15" fmla="*/ 236799 h 1757"/>
                <a:gd name="T16" fmla="*/ 13389 w 1039"/>
                <a:gd name="T17" fmla="*/ 236799 h 17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39" h="1757">
                  <a:moveTo>
                    <a:pt x="99" y="1756"/>
                  </a:moveTo>
                  <a:lnTo>
                    <a:pt x="99" y="1756"/>
                  </a:lnTo>
                  <a:cubicBezTo>
                    <a:pt x="253" y="1439"/>
                    <a:pt x="527" y="1049"/>
                    <a:pt x="748" y="1049"/>
                  </a:cubicBezTo>
                  <a:cubicBezTo>
                    <a:pt x="743" y="854"/>
                    <a:pt x="727" y="764"/>
                    <a:pt x="621" y="617"/>
                  </a:cubicBezTo>
                  <a:cubicBezTo>
                    <a:pt x="769" y="596"/>
                    <a:pt x="917" y="623"/>
                    <a:pt x="1038" y="681"/>
                  </a:cubicBezTo>
                  <a:cubicBezTo>
                    <a:pt x="906" y="448"/>
                    <a:pt x="617" y="95"/>
                    <a:pt x="395" y="0"/>
                  </a:cubicBezTo>
                  <a:cubicBezTo>
                    <a:pt x="395" y="168"/>
                    <a:pt x="421" y="517"/>
                    <a:pt x="253" y="717"/>
                  </a:cubicBezTo>
                  <a:cubicBezTo>
                    <a:pt x="126" y="870"/>
                    <a:pt x="31" y="1366"/>
                    <a:pt x="0" y="1756"/>
                  </a:cubicBezTo>
                  <a:cubicBezTo>
                    <a:pt x="31" y="1756"/>
                    <a:pt x="68" y="1756"/>
                    <a:pt x="99" y="1756"/>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2" name="Freeform 1204">
              <a:extLst>
                <a:ext uri="{FF2B5EF4-FFF2-40B4-BE49-F238E27FC236}">
                  <a16:creationId xmlns:a16="http://schemas.microsoft.com/office/drawing/2014/main" id="{B0E2ABE6-2C92-C642-9DB7-37876C3D1294}"/>
                </a:ext>
              </a:extLst>
            </p:cNvPr>
            <p:cNvSpPr>
              <a:spLocks noChangeArrowheads="1"/>
            </p:cNvSpPr>
            <p:nvPr/>
          </p:nvSpPr>
          <p:spPr bwMode="auto">
            <a:xfrm>
              <a:off x="6174765" y="2149078"/>
              <a:ext cx="83360" cy="91083"/>
            </a:xfrm>
            <a:custGeom>
              <a:avLst/>
              <a:gdLst>
                <a:gd name="T0" fmla="*/ 35475 w 618"/>
                <a:gd name="T1" fmla="*/ 0 h 676"/>
                <a:gd name="T2" fmla="*/ 4991 w 618"/>
                <a:gd name="T3" fmla="*/ 30451 h 676"/>
                <a:gd name="T4" fmla="*/ 0 w 618"/>
                <a:gd name="T5" fmla="*/ 90948 h 676"/>
                <a:gd name="T6" fmla="*/ 83225 w 618"/>
                <a:gd name="T7" fmla="*/ 29103 h 676"/>
                <a:gd name="T8" fmla="*/ 35475 w 618"/>
                <a:gd name="T9" fmla="*/ 0 h 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8" h="676">
                  <a:moveTo>
                    <a:pt x="263" y="0"/>
                  </a:moveTo>
                  <a:lnTo>
                    <a:pt x="37" y="226"/>
                  </a:lnTo>
                  <a:lnTo>
                    <a:pt x="0" y="675"/>
                  </a:lnTo>
                  <a:lnTo>
                    <a:pt x="617" y="216"/>
                  </a:lnTo>
                  <a:lnTo>
                    <a:pt x="263" y="0"/>
                  </a:lnTo>
                </a:path>
              </a:pathLst>
            </a:custGeom>
            <a:solidFill>
              <a:srgbClr val="DB4E4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3" name="Freeform 1205">
              <a:extLst>
                <a:ext uri="{FF2B5EF4-FFF2-40B4-BE49-F238E27FC236}">
                  <a16:creationId xmlns:a16="http://schemas.microsoft.com/office/drawing/2014/main" id="{DFB5A059-35D6-D34C-98F9-2971A41B4CAD}"/>
                </a:ext>
              </a:extLst>
            </p:cNvPr>
            <p:cNvSpPr>
              <a:spLocks noChangeArrowheads="1"/>
            </p:cNvSpPr>
            <p:nvPr/>
          </p:nvSpPr>
          <p:spPr bwMode="auto">
            <a:xfrm>
              <a:off x="6260507" y="2149078"/>
              <a:ext cx="84551" cy="91083"/>
            </a:xfrm>
            <a:custGeom>
              <a:avLst/>
              <a:gdLst>
                <a:gd name="T0" fmla="*/ 47831 w 624"/>
                <a:gd name="T1" fmla="*/ 0 h 676"/>
                <a:gd name="T2" fmla="*/ 78589 w 624"/>
                <a:gd name="T3" fmla="*/ 30451 h 676"/>
                <a:gd name="T4" fmla="*/ 84416 w 624"/>
                <a:gd name="T5" fmla="*/ 90948 h 676"/>
                <a:gd name="T6" fmla="*/ 0 w 624"/>
                <a:gd name="T7" fmla="*/ 29103 h 676"/>
                <a:gd name="T8" fmla="*/ 47831 w 624"/>
                <a:gd name="T9" fmla="*/ 0 h 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4" h="676">
                  <a:moveTo>
                    <a:pt x="353" y="0"/>
                  </a:moveTo>
                  <a:lnTo>
                    <a:pt x="580" y="226"/>
                  </a:lnTo>
                  <a:lnTo>
                    <a:pt x="623" y="675"/>
                  </a:lnTo>
                  <a:lnTo>
                    <a:pt x="0" y="216"/>
                  </a:lnTo>
                  <a:lnTo>
                    <a:pt x="353" y="0"/>
                  </a:lnTo>
                </a:path>
              </a:pathLst>
            </a:custGeom>
            <a:solidFill>
              <a:srgbClr val="F1595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4" name="Freeform 1206">
              <a:extLst>
                <a:ext uri="{FF2B5EF4-FFF2-40B4-BE49-F238E27FC236}">
                  <a16:creationId xmlns:a16="http://schemas.microsoft.com/office/drawing/2014/main" id="{41F236C9-F851-ED43-BF85-A8409FDBD031}"/>
                </a:ext>
              </a:extLst>
            </p:cNvPr>
            <p:cNvSpPr>
              <a:spLocks noChangeArrowheads="1"/>
            </p:cNvSpPr>
            <p:nvPr/>
          </p:nvSpPr>
          <p:spPr bwMode="auto">
            <a:xfrm>
              <a:off x="6308141" y="2137173"/>
              <a:ext cx="69070" cy="151209"/>
            </a:xfrm>
            <a:custGeom>
              <a:avLst/>
              <a:gdLst>
                <a:gd name="T0" fmla="*/ 53317 w 513"/>
                <a:gd name="T1" fmla="*/ 144047 h 1119"/>
                <a:gd name="T2" fmla="*/ 53317 w 513"/>
                <a:gd name="T3" fmla="*/ 144047 h 1119"/>
                <a:gd name="T4" fmla="*/ 58972 w 513"/>
                <a:gd name="T5" fmla="*/ 151074 h 1119"/>
                <a:gd name="T6" fmla="*/ 65973 w 513"/>
                <a:gd name="T7" fmla="*/ 144588 h 1119"/>
                <a:gd name="T8" fmla="*/ 48336 w 513"/>
                <a:gd name="T9" fmla="*/ 59186 h 1119"/>
                <a:gd name="T10" fmla="*/ 0 w 513"/>
                <a:gd name="T11" fmla="*/ 0 h 1119"/>
                <a:gd name="T12" fmla="*/ 0 w 513"/>
                <a:gd name="T13" fmla="*/ 0 h 1119"/>
                <a:gd name="T14" fmla="*/ 0 w 513"/>
                <a:gd name="T15" fmla="*/ 13513 h 1119"/>
                <a:gd name="T16" fmla="*/ 36353 w 513"/>
                <a:gd name="T17" fmla="*/ 64862 h 1119"/>
                <a:gd name="T18" fmla="*/ 53317 w 513"/>
                <a:gd name="T19" fmla="*/ 144047 h 11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13" h="1119">
                  <a:moveTo>
                    <a:pt x="396" y="1066"/>
                  </a:moveTo>
                  <a:lnTo>
                    <a:pt x="396" y="1066"/>
                  </a:lnTo>
                  <a:cubicBezTo>
                    <a:pt x="391" y="1091"/>
                    <a:pt x="411" y="1113"/>
                    <a:pt x="438" y="1118"/>
                  </a:cubicBezTo>
                  <a:cubicBezTo>
                    <a:pt x="465" y="1118"/>
                    <a:pt x="490" y="1097"/>
                    <a:pt x="490" y="1070"/>
                  </a:cubicBezTo>
                  <a:cubicBezTo>
                    <a:pt x="512" y="886"/>
                    <a:pt x="448" y="644"/>
                    <a:pt x="359" y="438"/>
                  </a:cubicBezTo>
                  <a:cubicBezTo>
                    <a:pt x="259" y="211"/>
                    <a:pt x="116" y="26"/>
                    <a:pt x="0" y="0"/>
                  </a:cubicBezTo>
                  <a:cubicBezTo>
                    <a:pt x="0" y="100"/>
                    <a:pt x="0" y="100"/>
                    <a:pt x="0" y="100"/>
                  </a:cubicBezTo>
                  <a:cubicBezTo>
                    <a:pt x="85" y="142"/>
                    <a:pt x="185" y="295"/>
                    <a:pt x="270" y="480"/>
                  </a:cubicBezTo>
                  <a:cubicBezTo>
                    <a:pt x="353" y="670"/>
                    <a:pt x="411" y="896"/>
                    <a:pt x="396" y="1066"/>
                  </a:cubicBez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5" name="Freeform 1207">
              <a:extLst>
                <a:ext uri="{FF2B5EF4-FFF2-40B4-BE49-F238E27FC236}">
                  <a16:creationId xmlns:a16="http://schemas.microsoft.com/office/drawing/2014/main" id="{E75B82FB-CA45-7C40-8222-0CE1BA20BB22}"/>
                </a:ext>
              </a:extLst>
            </p:cNvPr>
            <p:cNvSpPr>
              <a:spLocks noChangeArrowheads="1"/>
            </p:cNvSpPr>
            <p:nvPr/>
          </p:nvSpPr>
          <p:spPr bwMode="auto">
            <a:xfrm>
              <a:off x="6155712" y="2137172"/>
              <a:ext cx="55375" cy="78581"/>
            </a:xfrm>
            <a:custGeom>
              <a:avLst/>
              <a:gdLst>
                <a:gd name="T0" fmla="*/ 0 w 412"/>
                <a:gd name="T1" fmla="*/ 78446 h 581"/>
                <a:gd name="T2" fmla="*/ 0 w 412"/>
                <a:gd name="T3" fmla="*/ 78446 h 581"/>
                <a:gd name="T4" fmla="*/ 6989 w 412"/>
                <a:gd name="T5" fmla="*/ 59240 h 581"/>
                <a:gd name="T6" fmla="*/ 55241 w 412"/>
                <a:gd name="T7" fmla="*/ 0 h 581"/>
                <a:gd name="T8" fmla="*/ 55241 w 412"/>
                <a:gd name="T9" fmla="*/ 14201 h 581"/>
                <a:gd name="T10" fmla="*/ 19086 w 412"/>
                <a:gd name="T11" fmla="*/ 64921 h 581"/>
                <a:gd name="T12" fmla="*/ 14247 w 412"/>
                <a:gd name="T13" fmla="*/ 78446 h 581"/>
                <a:gd name="T14" fmla="*/ 0 w 412"/>
                <a:gd name="T15" fmla="*/ 78446 h 58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12" h="581">
                  <a:moveTo>
                    <a:pt x="0" y="580"/>
                  </a:moveTo>
                  <a:lnTo>
                    <a:pt x="0" y="580"/>
                  </a:lnTo>
                  <a:cubicBezTo>
                    <a:pt x="15" y="533"/>
                    <a:pt x="37" y="485"/>
                    <a:pt x="52" y="438"/>
                  </a:cubicBezTo>
                  <a:cubicBezTo>
                    <a:pt x="152" y="216"/>
                    <a:pt x="295" y="26"/>
                    <a:pt x="411" y="0"/>
                  </a:cubicBezTo>
                  <a:cubicBezTo>
                    <a:pt x="411" y="105"/>
                    <a:pt x="411" y="105"/>
                    <a:pt x="411" y="105"/>
                  </a:cubicBezTo>
                  <a:cubicBezTo>
                    <a:pt x="326" y="148"/>
                    <a:pt x="226" y="295"/>
                    <a:pt x="142" y="480"/>
                  </a:cubicBezTo>
                  <a:cubicBezTo>
                    <a:pt x="131" y="512"/>
                    <a:pt x="116" y="549"/>
                    <a:pt x="106" y="580"/>
                  </a:cubicBezTo>
                  <a:lnTo>
                    <a:pt x="0" y="580"/>
                  </a:ln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6" name="Freeform 1208">
              <a:extLst>
                <a:ext uri="{FF2B5EF4-FFF2-40B4-BE49-F238E27FC236}">
                  <a16:creationId xmlns:a16="http://schemas.microsoft.com/office/drawing/2014/main" id="{78F0ABD9-E807-3249-84D0-6DFACADCA57F}"/>
                </a:ext>
              </a:extLst>
            </p:cNvPr>
            <p:cNvSpPr>
              <a:spLocks noChangeArrowheads="1"/>
            </p:cNvSpPr>
            <p:nvPr/>
          </p:nvSpPr>
          <p:spPr bwMode="auto">
            <a:xfrm>
              <a:off x="6342081" y="2270522"/>
              <a:ext cx="40489" cy="40481"/>
            </a:xfrm>
            <a:custGeom>
              <a:avLst/>
              <a:gdLst>
                <a:gd name="T0" fmla="*/ 19842 w 302"/>
                <a:gd name="T1" fmla="*/ 40347 h 302"/>
                <a:gd name="T2" fmla="*/ 19842 w 302"/>
                <a:gd name="T3" fmla="*/ 40347 h 302"/>
                <a:gd name="T4" fmla="*/ 40355 w 302"/>
                <a:gd name="T5" fmla="*/ 20643 h 302"/>
                <a:gd name="T6" fmla="*/ 19842 w 302"/>
                <a:gd name="T7" fmla="*/ 0 h 302"/>
                <a:gd name="T8" fmla="*/ 0 w 302"/>
                <a:gd name="T9" fmla="*/ 20643 h 302"/>
                <a:gd name="T10" fmla="*/ 19842 w 302"/>
                <a:gd name="T11" fmla="*/ 40347 h 30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2" h="302">
                  <a:moveTo>
                    <a:pt x="148" y="301"/>
                  </a:moveTo>
                  <a:lnTo>
                    <a:pt x="148" y="301"/>
                  </a:lnTo>
                  <a:cubicBezTo>
                    <a:pt x="233" y="301"/>
                    <a:pt x="301" y="233"/>
                    <a:pt x="301" y="154"/>
                  </a:cubicBezTo>
                  <a:cubicBezTo>
                    <a:pt x="301" y="69"/>
                    <a:pt x="233" y="0"/>
                    <a:pt x="148" y="0"/>
                  </a:cubicBezTo>
                  <a:cubicBezTo>
                    <a:pt x="69" y="0"/>
                    <a:pt x="0" y="69"/>
                    <a:pt x="0" y="154"/>
                  </a:cubicBezTo>
                  <a:cubicBezTo>
                    <a:pt x="0" y="233"/>
                    <a:pt x="69" y="301"/>
                    <a:pt x="148" y="301"/>
                  </a:cubicBez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7" name="Freeform 1209">
              <a:extLst>
                <a:ext uri="{FF2B5EF4-FFF2-40B4-BE49-F238E27FC236}">
                  <a16:creationId xmlns:a16="http://schemas.microsoft.com/office/drawing/2014/main" id="{E6512FD6-2252-924C-9DB1-119C50814AC3}"/>
                </a:ext>
              </a:extLst>
            </p:cNvPr>
            <p:cNvSpPr>
              <a:spLocks noChangeArrowheads="1"/>
            </p:cNvSpPr>
            <p:nvPr/>
          </p:nvSpPr>
          <p:spPr bwMode="auto">
            <a:xfrm>
              <a:off x="6349226" y="2278261"/>
              <a:ext cx="26199" cy="26194"/>
            </a:xfrm>
            <a:custGeom>
              <a:avLst/>
              <a:gdLst>
                <a:gd name="T0" fmla="*/ 12698 w 196"/>
                <a:gd name="T1" fmla="*/ 26060 h 195"/>
                <a:gd name="T2" fmla="*/ 12698 w 196"/>
                <a:gd name="T3" fmla="*/ 26060 h 195"/>
                <a:gd name="T4" fmla="*/ 26065 w 196"/>
                <a:gd name="T5" fmla="*/ 13433 h 195"/>
                <a:gd name="T6" fmla="*/ 12698 w 196"/>
                <a:gd name="T7" fmla="*/ 0 h 195"/>
                <a:gd name="T8" fmla="*/ 0 w 196"/>
                <a:gd name="T9" fmla="*/ 13433 h 195"/>
                <a:gd name="T10" fmla="*/ 12698 w 196"/>
                <a:gd name="T11" fmla="*/ 26060 h 1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 h="195">
                  <a:moveTo>
                    <a:pt x="95" y="194"/>
                  </a:moveTo>
                  <a:lnTo>
                    <a:pt x="95" y="194"/>
                  </a:lnTo>
                  <a:cubicBezTo>
                    <a:pt x="148" y="194"/>
                    <a:pt x="195" y="152"/>
                    <a:pt x="195" y="100"/>
                  </a:cubicBezTo>
                  <a:cubicBezTo>
                    <a:pt x="195" y="42"/>
                    <a:pt x="148" y="0"/>
                    <a:pt x="95" y="0"/>
                  </a:cubicBezTo>
                  <a:cubicBezTo>
                    <a:pt x="43" y="0"/>
                    <a:pt x="0" y="42"/>
                    <a:pt x="0" y="100"/>
                  </a:cubicBezTo>
                  <a:cubicBezTo>
                    <a:pt x="0" y="152"/>
                    <a:pt x="43" y="194"/>
                    <a:pt x="95" y="194"/>
                  </a:cubicBezTo>
                </a:path>
              </a:pathLst>
            </a:custGeom>
            <a:solidFill>
              <a:srgbClr val="2245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8" name="Freeform 1210">
              <a:extLst>
                <a:ext uri="{FF2B5EF4-FFF2-40B4-BE49-F238E27FC236}">
                  <a16:creationId xmlns:a16="http://schemas.microsoft.com/office/drawing/2014/main" id="{BA1F09B1-5AA1-E34E-8EB0-B238047A8026}"/>
                </a:ext>
              </a:extLst>
            </p:cNvPr>
            <p:cNvSpPr>
              <a:spLocks noChangeArrowheads="1"/>
            </p:cNvSpPr>
            <p:nvPr/>
          </p:nvSpPr>
          <p:spPr bwMode="auto">
            <a:xfrm>
              <a:off x="6130108" y="2246710"/>
              <a:ext cx="42276" cy="112514"/>
            </a:xfrm>
            <a:custGeom>
              <a:avLst/>
              <a:gdLst>
                <a:gd name="T0" fmla="*/ 9320 w 313"/>
                <a:gd name="T1" fmla="*/ 675 h 834"/>
                <a:gd name="T2" fmla="*/ 9320 w 313"/>
                <a:gd name="T3" fmla="*/ 675 h 834"/>
                <a:gd name="T4" fmla="*/ 8644 w 313"/>
                <a:gd name="T5" fmla="*/ 61923 h 834"/>
                <a:gd name="T6" fmla="*/ 42141 w 313"/>
                <a:gd name="T7" fmla="*/ 107387 h 834"/>
                <a:gd name="T8" fmla="*/ 41466 w 313"/>
                <a:gd name="T9" fmla="*/ 112379 h 834"/>
                <a:gd name="T10" fmla="*/ 3647 w 313"/>
                <a:gd name="T11" fmla="*/ 62598 h 834"/>
                <a:gd name="T12" fmla="*/ 4457 w 313"/>
                <a:gd name="T13" fmla="*/ 0 h 834"/>
                <a:gd name="T14" fmla="*/ 9320 w 313"/>
                <a:gd name="T15" fmla="*/ 675 h 83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3" h="834">
                  <a:moveTo>
                    <a:pt x="69" y="5"/>
                  </a:moveTo>
                  <a:lnTo>
                    <a:pt x="69" y="5"/>
                  </a:lnTo>
                  <a:cubicBezTo>
                    <a:pt x="58" y="95"/>
                    <a:pt x="43" y="285"/>
                    <a:pt x="64" y="459"/>
                  </a:cubicBezTo>
                  <a:cubicBezTo>
                    <a:pt x="91" y="628"/>
                    <a:pt x="154" y="775"/>
                    <a:pt x="312" y="796"/>
                  </a:cubicBezTo>
                  <a:cubicBezTo>
                    <a:pt x="307" y="833"/>
                    <a:pt x="307" y="833"/>
                    <a:pt x="307" y="833"/>
                  </a:cubicBezTo>
                  <a:cubicBezTo>
                    <a:pt x="127" y="812"/>
                    <a:pt x="54" y="649"/>
                    <a:pt x="27" y="464"/>
                  </a:cubicBezTo>
                  <a:cubicBezTo>
                    <a:pt x="0" y="285"/>
                    <a:pt x="22" y="90"/>
                    <a:pt x="33" y="0"/>
                  </a:cubicBezTo>
                  <a:lnTo>
                    <a:pt x="69" y="5"/>
                  </a:ln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19" name="Freeform 1211">
              <a:extLst>
                <a:ext uri="{FF2B5EF4-FFF2-40B4-BE49-F238E27FC236}">
                  <a16:creationId xmlns:a16="http://schemas.microsoft.com/office/drawing/2014/main" id="{28B28CFF-2BB3-AE40-86CF-CCB3DB484CD8}"/>
                </a:ext>
              </a:extLst>
            </p:cNvPr>
            <p:cNvSpPr>
              <a:spLocks noChangeArrowheads="1"/>
            </p:cNvSpPr>
            <p:nvPr/>
          </p:nvSpPr>
          <p:spPr bwMode="auto">
            <a:xfrm>
              <a:off x="6170597" y="2350889"/>
              <a:ext cx="17863" cy="11906"/>
            </a:xfrm>
            <a:custGeom>
              <a:avLst/>
              <a:gdLst>
                <a:gd name="T0" fmla="*/ 5599 w 134"/>
                <a:gd name="T1" fmla="*/ 0 h 86"/>
                <a:gd name="T2" fmla="*/ 5599 w 134"/>
                <a:gd name="T3" fmla="*/ 0 h 86"/>
                <a:gd name="T4" fmla="*/ 12664 w 134"/>
                <a:gd name="T5" fmla="*/ 831 h 86"/>
                <a:gd name="T6" fmla="*/ 17730 w 134"/>
                <a:gd name="T7" fmla="*/ 6645 h 86"/>
                <a:gd name="T8" fmla="*/ 17730 w 134"/>
                <a:gd name="T9" fmla="*/ 6645 h 86"/>
                <a:gd name="T10" fmla="*/ 11998 w 134"/>
                <a:gd name="T11" fmla="*/ 11768 h 86"/>
                <a:gd name="T12" fmla="*/ 4266 w 134"/>
                <a:gd name="T13" fmla="*/ 10383 h 86"/>
                <a:gd name="T14" fmla="*/ 0 w 134"/>
                <a:gd name="T15" fmla="*/ 4430 h 86"/>
                <a:gd name="T16" fmla="*/ 0 w 134"/>
                <a:gd name="T17" fmla="*/ 4430 h 86"/>
                <a:gd name="T18" fmla="*/ 5599 w 134"/>
                <a:gd name="T19" fmla="*/ 0 h 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4" h="86">
                  <a:moveTo>
                    <a:pt x="42" y="0"/>
                  </a:moveTo>
                  <a:lnTo>
                    <a:pt x="42" y="0"/>
                  </a:lnTo>
                  <a:cubicBezTo>
                    <a:pt x="95" y="6"/>
                    <a:pt x="95" y="6"/>
                    <a:pt x="95" y="6"/>
                  </a:cubicBezTo>
                  <a:cubicBezTo>
                    <a:pt x="116" y="11"/>
                    <a:pt x="133" y="27"/>
                    <a:pt x="133" y="48"/>
                  </a:cubicBezTo>
                  <a:cubicBezTo>
                    <a:pt x="127" y="69"/>
                    <a:pt x="111" y="85"/>
                    <a:pt x="90" y="85"/>
                  </a:cubicBezTo>
                  <a:cubicBezTo>
                    <a:pt x="32" y="75"/>
                    <a:pt x="32" y="75"/>
                    <a:pt x="32" y="75"/>
                  </a:cubicBezTo>
                  <a:cubicBezTo>
                    <a:pt x="11" y="75"/>
                    <a:pt x="0" y="53"/>
                    <a:pt x="0" y="32"/>
                  </a:cubicBezTo>
                  <a:cubicBezTo>
                    <a:pt x="0" y="17"/>
                    <a:pt x="21" y="0"/>
                    <a:pt x="42" y="0"/>
                  </a:cubicBezTo>
                </a:path>
              </a:pathLst>
            </a:custGeom>
            <a:solidFill>
              <a:srgbClr val="2245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20" name="Freeform 1212">
              <a:extLst>
                <a:ext uri="{FF2B5EF4-FFF2-40B4-BE49-F238E27FC236}">
                  <a16:creationId xmlns:a16="http://schemas.microsoft.com/office/drawing/2014/main" id="{5AE7B77E-1D1A-234E-9A5C-1720BA123566}"/>
                </a:ext>
              </a:extLst>
            </p:cNvPr>
            <p:cNvSpPr>
              <a:spLocks noChangeArrowheads="1"/>
            </p:cNvSpPr>
            <p:nvPr/>
          </p:nvSpPr>
          <p:spPr bwMode="auto">
            <a:xfrm>
              <a:off x="6119390" y="2251472"/>
              <a:ext cx="61925" cy="104775"/>
            </a:xfrm>
            <a:custGeom>
              <a:avLst/>
              <a:gdLst>
                <a:gd name="T0" fmla="*/ 56809 w 460"/>
                <a:gd name="T1" fmla="*/ 0 h 775"/>
                <a:gd name="T2" fmla="*/ 56809 w 460"/>
                <a:gd name="T3" fmla="*/ 0 h 775"/>
                <a:gd name="T4" fmla="*/ 43348 w 460"/>
                <a:gd name="T5" fmla="*/ 59756 h 775"/>
                <a:gd name="T6" fmla="*/ 808 w 460"/>
                <a:gd name="T7" fmla="*/ 96123 h 775"/>
                <a:gd name="T8" fmla="*/ 0 w 460"/>
                <a:gd name="T9" fmla="*/ 101936 h 775"/>
                <a:gd name="T10" fmla="*/ 48328 w 460"/>
                <a:gd name="T11" fmla="*/ 61243 h 775"/>
                <a:gd name="T12" fmla="*/ 61790 w 460"/>
                <a:gd name="T13" fmla="*/ 541 h 775"/>
                <a:gd name="T14" fmla="*/ 56809 w 460"/>
                <a:gd name="T15" fmla="*/ 0 h 77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0" h="775">
                  <a:moveTo>
                    <a:pt x="422" y="0"/>
                  </a:moveTo>
                  <a:lnTo>
                    <a:pt x="422" y="0"/>
                  </a:lnTo>
                  <a:cubicBezTo>
                    <a:pt x="412" y="83"/>
                    <a:pt x="386" y="279"/>
                    <a:pt x="322" y="442"/>
                  </a:cubicBezTo>
                  <a:cubicBezTo>
                    <a:pt x="259" y="600"/>
                    <a:pt x="164" y="733"/>
                    <a:pt x="6" y="711"/>
                  </a:cubicBezTo>
                  <a:cubicBezTo>
                    <a:pt x="0" y="754"/>
                    <a:pt x="0" y="754"/>
                    <a:pt x="0" y="754"/>
                  </a:cubicBezTo>
                  <a:cubicBezTo>
                    <a:pt x="180" y="774"/>
                    <a:pt x="291" y="627"/>
                    <a:pt x="359" y="453"/>
                  </a:cubicBezTo>
                  <a:cubicBezTo>
                    <a:pt x="422" y="289"/>
                    <a:pt x="449" y="94"/>
                    <a:pt x="459" y="4"/>
                  </a:cubicBezTo>
                  <a:lnTo>
                    <a:pt x="422" y="0"/>
                  </a:ln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21" name="Freeform 1213">
              <a:extLst>
                <a:ext uri="{FF2B5EF4-FFF2-40B4-BE49-F238E27FC236}">
                  <a16:creationId xmlns:a16="http://schemas.microsoft.com/office/drawing/2014/main" id="{7CAE1ABF-1CC5-7143-9793-B8B76A089E44}"/>
                </a:ext>
              </a:extLst>
            </p:cNvPr>
            <p:cNvSpPr>
              <a:spLocks noChangeArrowheads="1"/>
            </p:cNvSpPr>
            <p:nvPr/>
          </p:nvSpPr>
          <p:spPr bwMode="auto">
            <a:xfrm>
              <a:off x="6103314" y="2344341"/>
              <a:ext cx="17863" cy="11311"/>
            </a:xfrm>
            <a:custGeom>
              <a:avLst/>
              <a:gdLst>
                <a:gd name="T0" fmla="*/ 13464 w 134"/>
                <a:gd name="T1" fmla="*/ 665 h 85"/>
                <a:gd name="T2" fmla="*/ 13464 w 134"/>
                <a:gd name="T3" fmla="*/ 665 h 85"/>
                <a:gd name="T4" fmla="*/ 5732 w 134"/>
                <a:gd name="T5" fmla="*/ 0 h 85"/>
                <a:gd name="T6" fmla="*/ 0 w 134"/>
                <a:gd name="T7" fmla="*/ 4258 h 85"/>
                <a:gd name="T8" fmla="*/ 0 w 134"/>
                <a:gd name="T9" fmla="*/ 4258 h 85"/>
                <a:gd name="T10" fmla="*/ 4932 w 134"/>
                <a:gd name="T11" fmla="*/ 9714 h 85"/>
                <a:gd name="T12" fmla="*/ 12131 w 134"/>
                <a:gd name="T13" fmla="*/ 10513 h 85"/>
                <a:gd name="T14" fmla="*/ 17730 w 134"/>
                <a:gd name="T15" fmla="*/ 6387 h 85"/>
                <a:gd name="T16" fmla="*/ 17730 w 134"/>
                <a:gd name="T17" fmla="*/ 6387 h 85"/>
                <a:gd name="T18" fmla="*/ 13464 w 134"/>
                <a:gd name="T19" fmla="*/ 665 h 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4" h="85">
                  <a:moveTo>
                    <a:pt x="101" y="5"/>
                  </a:moveTo>
                  <a:lnTo>
                    <a:pt x="101" y="5"/>
                  </a:lnTo>
                  <a:cubicBezTo>
                    <a:pt x="43" y="0"/>
                    <a:pt x="43" y="0"/>
                    <a:pt x="43" y="0"/>
                  </a:cubicBezTo>
                  <a:cubicBezTo>
                    <a:pt x="22" y="0"/>
                    <a:pt x="6" y="11"/>
                    <a:pt x="0" y="32"/>
                  </a:cubicBezTo>
                  <a:cubicBezTo>
                    <a:pt x="0" y="52"/>
                    <a:pt x="16" y="73"/>
                    <a:pt x="37" y="73"/>
                  </a:cubicBezTo>
                  <a:cubicBezTo>
                    <a:pt x="91" y="79"/>
                    <a:pt x="91" y="79"/>
                    <a:pt x="91" y="79"/>
                  </a:cubicBezTo>
                  <a:cubicBezTo>
                    <a:pt x="112" y="84"/>
                    <a:pt x="127" y="69"/>
                    <a:pt x="133" y="48"/>
                  </a:cubicBezTo>
                  <a:cubicBezTo>
                    <a:pt x="133" y="26"/>
                    <a:pt x="116" y="11"/>
                    <a:pt x="101" y="5"/>
                  </a:cubicBezTo>
                </a:path>
              </a:pathLst>
            </a:custGeom>
            <a:solidFill>
              <a:srgbClr val="2245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22" name="Freeform 1214">
              <a:extLst>
                <a:ext uri="{FF2B5EF4-FFF2-40B4-BE49-F238E27FC236}">
                  <a16:creationId xmlns:a16="http://schemas.microsoft.com/office/drawing/2014/main" id="{5D42479D-D45D-AA4E-84A2-724C71CD4996}"/>
                </a:ext>
              </a:extLst>
            </p:cNvPr>
            <p:cNvSpPr>
              <a:spLocks noChangeArrowheads="1"/>
            </p:cNvSpPr>
            <p:nvPr/>
          </p:nvSpPr>
          <p:spPr bwMode="auto">
            <a:xfrm>
              <a:off x="6127131" y="2201466"/>
              <a:ext cx="60734" cy="85725"/>
            </a:xfrm>
            <a:custGeom>
              <a:avLst/>
              <a:gdLst>
                <a:gd name="T0" fmla="*/ 12850 w 449"/>
                <a:gd name="T1" fmla="*/ 74773 h 634"/>
                <a:gd name="T2" fmla="*/ 12850 w 449"/>
                <a:gd name="T3" fmla="*/ 74773 h 634"/>
                <a:gd name="T4" fmla="*/ 5681 w 449"/>
                <a:gd name="T5" fmla="*/ 79776 h 634"/>
                <a:gd name="T6" fmla="*/ 0 w 449"/>
                <a:gd name="T7" fmla="*/ 73421 h 634"/>
                <a:gd name="T8" fmla="*/ 5681 w 449"/>
                <a:gd name="T9" fmla="*/ 25014 h 634"/>
                <a:gd name="T10" fmla="*/ 15691 w 449"/>
                <a:gd name="T11" fmla="*/ 6490 h 634"/>
                <a:gd name="T12" fmla="*/ 35575 w 449"/>
                <a:gd name="T13" fmla="*/ 676 h 634"/>
                <a:gd name="T14" fmla="*/ 54106 w 449"/>
                <a:gd name="T15" fmla="*/ 10682 h 634"/>
                <a:gd name="T16" fmla="*/ 59922 w 449"/>
                <a:gd name="T17" fmla="*/ 31369 h 634"/>
                <a:gd name="T18" fmla="*/ 54106 w 449"/>
                <a:gd name="T19" fmla="*/ 79235 h 634"/>
                <a:gd name="T20" fmla="*/ 47749 w 449"/>
                <a:gd name="T21" fmla="*/ 84914 h 634"/>
                <a:gd name="T22" fmla="*/ 42067 w 449"/>
                <a:gd name="T23" fmla="*/ 77747 h 634"/>
                <a:gd name="T24" fmla="*/ 47749 w 449"/>
                <a:gd name="T25" fmla="*/ 29882 h 634"/>
                <a:gd name="T26" fmla="*/ 44232 w 449"/>
                <a:gd name="T27" fmla="*/ 18524 h 634"/>
                <a:gd name="T28" fmla="*/ 34222 w 449"/>
                <a:gd name="T29" fmla="*/ 12845 h 634"/>
                <a:gd name="T30" fmla="*/ 23536 w 449"/>
                <a:gd name="T31" fmla="*/ 16361 h 634"/>
                <a:gd name="T32" fmla="*/ 17855 w 449"/>
                <a:gd name="T33" fmla="*/ 26367 h 634"/>
                <a:gd name="T34" fmla="*/ 12850 w 449"/>
                <a:gd name="T35" fmla="*/ 74773 h 6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49" h="634">
                  <a:moveTo>
                    <a:pt x="95" y="553"/>
                  </a:moveTo>
                  <a:lnTo>
                    <a:pt x="95" y="553"/>
                  </a:lnTo>
                  <a:cubicBezTo>
                    <a:pt x="89" y="575"/>
                    <a:pt x="68" y="596"/>
                    <a:pt x="42" y="590"/>
                  </a:cubicBezTo>
                  <a:cubicBezTo>
                    <a:pt x="16" y="590"/>
                    <a:pt x="0" y="565"/>
                    <a:pt x="0" y="543"/>
                  </a:cubicBezTo>
                  <a:cubicBezTo>
                    <a:pt x="42" y="185"/>
                    <a:pt x="42" y="185"/>
                    <a:pt x="42" y="185"/>
                  </a:cubicBezTo>
                  <a:cubicBezTo>
                    <a:pt x="47" y="127"/>
                    <a:pt x="78" y="79"/>
                    <a:pt x="116" y="48"/>
                  </a:cubicBezTo>
                  <a:cubicBezTo>
                    <a:pt x="157" y="15"/>
                    <a:pt x="211" y="0"/>
                    <a:pt x="263" y="5"/>
                  </a:cubicBezTo>
                  <a:cubicBezTo>
                    <a:pt x="321" y="11"/>
                    <a:pt x="369" y="42"/>
                    <a:pt x="400" y="79"/>
                  </a:cubicBezTo>
                  <a:cubicBezTo>
                    <a:pt x="432" y="121"/>
                    <a:pt x="448" y="174"/>
                    <a:pt x="443" y="232"/>
                  </a:cubicBezTo>
                  <a:cubicBezTo>
                    <a:pt x="400" y="586"/>
                    <a:pt x="400" y="586"/>
                    <a:pt x="400" y="586"/>
                  </a:cubicBezTo>
                  <a:cubicBezTo>
                    <a:pt x="400" y="611"/>
                    <a:pt x="374" y="633"/>
                    <a:pt x="353" y="628"/>
                  </a:cubicBezTo>
                  <a:cubicBezTo>
                    <a:pt x="327" y="622"/>
                    <a:pt x="305" y="601"/>
                    <a:pt x="311" y="575"/>
                  </a:cubicBezTo>
                  <a:cubicBezTo>
                    <a:pt x="353" y="221"/>
                    <a:pt x="353" y="221"/>
                    <a:pt x="353" y="221"/>
                  </a:cubicBezTo>
                  <a:cubicBezTo>
                    <a:pt x="353" y="190"/>
                    <a:pt x="348" y="158"/>
                    <a:pt x="327" y="137"/>
                  </a:cubicBezTo>
                  <a:cubicBezTo>
                    <a:pt x="311" y="116"/>
                    <a:pt x="284" y="100"/>
                    <a:pt x="253" y="95"/>
                  </a:cubicBezTo>
                  <a:cubicBezTo>
                    <a:pt x="226" y="95"/>
                    <a:pt x="195" y="106"/>
                    <a:pt x="174" y="121"/>
                  </a:cubicBezTo>
                  <a:cubicBezTo>
                    <a:pt x="153" y="137"/>
                    <a:pt x="137" y="164"/>
                    <a:pt x="132" y="195"/>
                  </a:cubicBezTo>
                  <a:lnTo>
                    <a:pt x="95" y="553"/>
                  </a:ln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grpSp>
      <p:sp>
        <p:nvSpPr>
          <p:cNvPr id="62" name="Google Shape;7814;p149">
            <a:extLst>
              <a:ext uri="{FF2B5EF4-FFF2-40B4-BE49-F238E27FC236}">
                <a16:creationId xmlns:a16="http://schemas.microsoft.com/office/drawing/2014/main" id="{4BAEBDAD-60AD-2A4C-9913-7CA2439122B1}"/>
              </a:ext>
            </a:extLst>
          </p:cNvPr>
          <p:cNvSpPr txBox="1">
            <a:spLocks noChangeArrowheads="1"/>
          </p:cNvSpPr>
          <p:nvPr/>
        </p:nvSpPr>
        <p:spPr bwMode="auto">
          <a:xfrm>
            <a:off x="10120962" y="41822"/>
            <a:ext cx="2071038" cy="14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Clr>
                <a:srgbClr val="484848"/>
              </a:buClr>
              <a:buSzPts val="1600"/>
              <a:buFont typeface="Open Sans" panose="020B0606030504020204" pitchFamily="34" charset="0"/>
              <a:buNone/>
            </a:pPr>
            <a:r>
              <a:rPr lang="en-US" altLang="en-US" sz="1200">
                <a:cs typeface="Calibri" panose="020F0502020204030204" pitchFamily="34" charset="0"/>
                <a:sym typeface="Open Sans" panose="020B0606030504020204" pitchFamily="34" charset="0"/>
              </a:rPr>
              <a:t>How engagement is changing</a:t>
            </a:r>
            <a:endParaRPr lang="en-US" altLang="en-US" sz="1100">
              <a:cs typeface="Calibri" panose="020F0502020204030204" pitchFamily="34" charset="0"/>
              <a:sym typeface="Arial" panose="020B0604020202020204" pitchFamily="34" charset="0"/>
            </a:endParaRPr>
          </a:p>
        </p:txBody>
      </p:sp>
      <p:pic>
        <p:nvPicPr>
          <p:cNvPr id="63" name="Graphic 62" descr="Chat outline">
            <a:extLst>
              <a:ext uri="{FF2B5EF4-FFF2-40B4-BE49-F238E27FC236}">
                <a16:creationId xmlns:a16="http://schemas.microsoft.com/office/drawing/2014/main" id="{C0E8B7B4-0F99-1C4B-B30C-1E350B7E8237}"/>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696624" y="-13370"/>
            <a:ext cx="424338" cy="424338"/>
          </a:xfrm>
          <a:prstGeom prst="rect">
            <a:avLst/>
          </a:prstGeom>
        </p:spPr>
      </p:pic>
    </p:spTree>
    <p:extLst>
      <p:ext uri="{BB962C8B-B14F-4D97-AF65-F5344CB8AC3E}">
        <p14:creationId xmlns:p14="http://schemas.microsoft.com/office/powerpoint/2010/main" val="33615293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F545618-844B-5F4C-A973-60B712D420AB}"/>
              </a:ext>
            </a:extLst>
          </p:cNvPr>
          <p:cNvSpPr/>
          <p:nvPr/>
        </p:nvSpPr>
        <p:spPr>
          <a:xfrm>
            <a:off x="364144" y="1453412"/>
            <a:ext cx="11254115" cy="919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A4D9BD34-AF7C-E14D-BE44-202B98D984D8}"/>
              </a:ext>
            </a:extLst>
          </p:cNvPr>
          <p:cNvSpPr/>
          <p:nvPr/>
        </p:nvSpPr>
        <p:spPr>
          <a:xfrm>
            <a:off x="364144" y="3320409"/>
            <a:ext cx="11254115" cy="919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168C983C-7258-CA49-B215-058EB39202B3}"/>
              </a:ext>
            </a:extLst>
          </p:cNvPr>
          <p:cNvSpPr/>
          <p:nvPr/>
        </p:nvSpPr>
        <p:spPr>
          <a:xfrm>
            <a:off x="364144" y="5185890"/>
            <a:ext cx="11254115" cy="919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4F8D0864-FF57-0942-B2BE-7841721BE4E9}"/>
              </a:ext>
            </a:extLst>
          </p:cNvPr>
          <p:cNvSpPr/>
          <p:nvPr/>
        </p:nvSpPr>
        <p:spPr>
          <a:xfrm>
            <a:off x="364144" y="4252478"/>
            <a:ext cx="11254115" cy="919719"/>
          </a:xfrm>
          <a:prstGeom prst="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Rectangle 157">
            <a:extLst>
              <a:ext uri="{FF2B5EF4-FFF2-40B4-BE49-F238E27FC236}">
                <a16:creationId xmlns:a16="http://schemas.microsoft.com/office/drawing/2014/main" id="{82A94656-8A96-8742-9FC9-BFB0BA545D6F}"/>
              </a:ext>
            </a:extLst>
          </p:cNvPr>
          <p:cNvSpPr/>
          <p:nvPr/>
        </p:nvSpPr>
        <p:spPr>
          <a:xfrm>
            <a:off x="364144" y="2386822"/>
            <a:ext cx="11254115" cy="919719"/>
          </a:xfrm>
          <a:prstGeom prst="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F0C5480-9953-9F4D-8EA7-361AE09DA8BB}"/>
              </a:ext>
            </a:extLst>
          </p:cNvPr>
          <p:cNvSpPr>
            <a:spLocks noGrp="1"/>
          </p:cNvSpPr>
          <p:nvPr>
            <p:ph type="title"/>
          </p:nvPr>
        </p:nvSpPr>
        <p:spPr>
          <a:xfrm>
            <a:off x="276303" y="358182"/>
            <a:ext cx="11639394" cy="970524"/>
          </a:xfrm>
        </p:spPr>
        <p:txBody>
          <a:bodyPr vert="horz" lIns="91440" tIns="45720" rIns="91440" bIns="45720" rtlCol="0" anchor="ctr" anchorCtr="0">
            <a:noAutofit/>
          </a:bodyPr>
          <a:lstStyle/>
          <a:p>
            <a:pPr algn="l"/>
            <a:r>
              <a:rPr lang="en-GB" sz="3600"/>
              <a:t>This shift has important implications for how we plan and execute customer engagement</a:t>
            </a:r>
          </a:p>
        </p:txBody>
      </p:sp>
      <p:sp>
        <p:nvSpPr>
          <p:cNvPr id="7" name="Rectangle 6">
            <a:extLst>
              <a:ext uri="{FF2B5EF4-FFF2-40B4-BE49-F238E27FC236}">
                <a16:creationId xmlns:a16="http://schemas.microsoft.com/office/drawing/2014/main" id="{EA60E405-3546-BE4E-A373-B24B4558ED8D}"/>
              </a:ext>
            </a:extLst>
          </p:cNvPr>
          <p:cNvSpPr/>
          <p:nvPr/>
        </p:nvSpPr>
        <p:spPr>
          <a:xfrm>
            <a:off x="1350287" y="1585023"/>
            <a:ext cx="1728000" cy="64633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b="1" u="none" strike="noStrike" kern="1200" cap="none" spc="0" normalizeH="0" baseline="0" noProof="0">
                <a:ln>
                  <a:noFill/>
                </a:ln>
                <a:solidFill>
                  <a:schemeClr val="accent5"/>
                </a:solidFill>
                <a:effectLst/>
                <a:uLnTx/>
                <a:uFillTx/>
                <a:latin typeface="Calibri"/>
                <a:ea typeface="+mn-ea"/>
                <a:cs typeface="+mn-cs"/>
              </a:rPr>
              <a:t>Rise of the hybrid Rep</a:t>
            </a:r>
          </a:p>
        </p:txBody>
      </p:sp>
      <p:sp>
        <p:nvSpPr>
          <p:cNvPr id="93" name="Rectangle 92">
            <a:extLst>
              <a:ext uri="{FF2B5EF4-FFF2-40B4-BE49-F238E27FC236}">
                <a16:creationId xmlns:a16="http://schemas.microsoft.com/office/drawing/2014/main" id="{4C50F5D6-D0BB-0B43-8E74-AF80E351F520}"/>
              </a:ext>
            </a:extLst>
          </p:cNvPr>
          <p:cNvSpPr/>
          <p:nvPr/>
        </p:nvSpPr>
        <p:spPr>
          <a:xfrm>
            <a:off x="3165621" y="2461060"/>
            <a:ext cx="8136000" cy="738664"/>
          </a:xfrm>
          <a:prstGeom prst="rect">
            <a:avLst/>
          </a:prstGeom>
          <a:noFill/>
          <a:ln>
            <a:noFill/>
          </a:ln>
        </p:spPr>
        <p:txBody>
          <a:bodyPr wrap="square" anchor="ctr">
            <a:spAutoFit/>
          </a:bodyPr>
          <a:lstStyle/>
          <a:p>
            <a:pPr marL="33338" indent="-133350">
              <a:buFont typeface="Arial" panose="020B0604020202020204" pitchFamily="34" charset="0"/>
              <a:buChar char="•"/>
              <a:defRPr/>
            </a:pPr>
            <a:r>
              <a:rPr lang="en-GB" sz="1400">
                <a:solidFill>
                  <a:srgbClr val="646569"/>
                </a:solidFill>
              </a:rPr>
              <a:t>Measuring digital engagement reality across all channels into a 360 degree HCP view</a:t>
            </a:r>
          </a:p>
          <a:p>
            <a:pPr marL="33338" indent="-133350">
              <a:buFont typeface="Arial" panose="020B0604020202020204" pitchFamily="34" charset="0"/>
              <a:buChar char="•"/>
              <a:defRPr/>
            </a:pPr>
            <a:r>
              <a:rPr lang="en-GB" sz="1400">
                <a:solidFill>
                  <a:srgbClr val="646569"/>
                </a:solidFill>
              </a:rPr>
              <a:t>Use customer sentiment and perception measures to drive action</a:t>
            </a:r>
            <a:endParaRPr kumimoji="0" lang="en-GB" sz="1400" b="0" i="0" u="none" strike="noStrike" kern="1200" cap="none" spc="0" normalizeH="0" baseline="0" noProof="0">
              <a:ln>
                <a:noFill/>
              </a:ln>
              <a:solidFill>
                <a:srgbClr val="646569"/>
              </a:solidFill>
              <a:effectLst/>
              <a:uLnTx/>
              <a:uFillTx/>
              <a:latin typeface="Calibri"/>
              <a:ea typeface="+mn-ea"/>
              <a:cs typeface="+mn-cs"/>
            </a:endParaRPr>
          </a:p>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Supplement field teams </a:t>
            </a:r>
            <a:r>
              <a:rPr lang="en-GB" sz="1400">
                <a:solidFill>
                  <a:srgbClr val="646569"/>
                </a:solidFill>
                <a:latin typeface="Calibri"/>
              </a:rPr>
              <a:t>through </a:t>
            </a:r>
            <a:r>
              <a:rPr kumimoji="0" lang="en-GB" sz="1400" b="0" i="0" u="none" strike="noStrike" kern="1200" cap="none" spc="0" normalizeH="0" baseline="0" noProof="0">
                <a:ln>
                  <a:noFill/>
                </a:ln>
                <a:solidFill>
                  <a:srgbClr val="646569"/>
                </a:solidFill>
                <a:effectLst/>
                <a:uLnTx/>
                <a:uFillTx/>
                <a:latin typeface="Calibri"/>
                <a:ea typeface="+mn-ea"/>
                <a:cs typeface="+mn-cs"/>
              </a:rPr>
              <a:t>“next </a:t>
            </a:r>
            <a:r>
              <a:rPr lang="en-GB" sz="1400">
                <a:solidFill>
                  <a:srgbClr val="646569"/>
                </a:solidFill>
                <a:latin typeface="Calibri"/>
              </a:rPr>
              <a:t>best a</a:t>
            </a:r>
            <a:r>
              <a:rPr kumimoji="0" lang="en-GB" sz="1400" b="0" i="0" u="none" strike="noStrike" kern="1200" cap="none" spc="0" normalizeH="0" baseline="0" noProof="0" err="1">
                <a:ln>
                  <a:noFill/>
                </a:ln>
                <a:solidFill>
                  <a:srgbClr val="646569"/>
                </a:solidFill>
                <a:effectLst/>
                <a:uLnTx/>
                <a:uFillTx/>
                <a:latin typeface="Calibri"/>
                <a:ea typeface="+mn-ea"/>
                <a:cs typeface="+mn-cs"/>
              </a:rPr>
              <a:t>ction</a:t>
            </a:r>
            <a:r>
              <a:rPr kumimoji="0" lang="en-GB" sz="1400" b="0" i="0" u="none" strike="noStrike" kern="1200" cap="none" spc="0" normalizeH="0" baseline="0" noProof="0">
                <a:ln>
                  <a:noFill/>
                </a:ln>
                <a:solidFill>
                  <a:srgbClr val="646569"/>
                </a:solidFill>
                <a:effectLst/>
                <a:uLnTx/>
                <a:uFillTx/>
                <a:latin typeface="Calibri"/>
                <a:ea typeface="+mn-ea"/>
                <a:cs typeface="+mn-cs"/>
              </a:rPr>
              <a:t>” solutions to support Rep engagement-decisions</a:t>
            </a:r>
          </a:p>
        </p:txBody>
      </p:sp>
      <p:sp>
        <p:nvSpPr>
          <p:cNvPr id="96" name="Rectangle 95">
            <a:extLst>
              <a:ext uri="{FF2B5EF4-FFF2-40B4-BE49-F238E27FC236}">
                <a16:creationId xmlns:a16="http://schemas.microsoft.com/office/drawing/2014/main" id="{A560F64A-A4D9-7F40-867D-274A0D2386D5}"/>
              </a:ext>
            </a:extLst>
          </p:cNvPr>
          <p:cNvSpPr/>
          <p:nvPr/>
        </p:nvSpPr>
        <p:spPr>
          <a:xfrm>
            <a:off x="3165621" y="3397376"/>
            <a:ext cx="8136000" cy="738664"/>
          </a:xfrm>
          <a:prstGeom prst="rect">
            <a:avLst/>
          </a:prstGeom>
          <a:noFill/>
          <a:ln>
            <a:noFill/>
          </a:ln>
        </p:spPr>
        <p:txBody>
          <a:bodyPr wrap="square" anchor="ctr">
            <a:spAutoFit/>
          </a:bodyPr>
          <a:lstStyle/>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Adapting field structures and roles to align to customer decision-making structures</a:t>
            </a:r>
          </a:p>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Faster, more dynamic planning and shorter cycle times</a:t>
            </a:r>
          </a:p>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Leveraging automation to respond faster </a:t>
            </a:r>
          </a:p>
        </p:txBody>
      </p:sp>
      <p:sp>
        <p:nvSpPr>
          <p:cNvPr id="92" name="Rectangle 91">
            <a:extLst>
              <a:ext uri="{FF2B5EF4-FFF2-40B4-BE49-F238E27FC236}">
                <a16:creationId xmlns:a16="http://schemas.microsoft.com/office/drawing/2014/main" id="{A39BE083-23CF-2349-911E-DFBD04A9C821}"/>
              </a:ext>
            </a:extLst>
          </p:cNvPr>
          <p:cNvSpPr/>
          <p:nvPr/>
        </p:nvSpPr>
        <p:spPr>
          <a:xfrm>
            <a:off x="3165621" y="4329930"/>
            <a:ext cx="8136000" cy="738664"/>
          </a:xfrm>
          <a:prstGeom prst="rect">
            <a:avLst/>
          </a:prstGeom>
          <a:noFill/>
          <a:ln>
            <a:noFill/>
          </a:ln>
        </p:spPr>
        <p:txBody>
          <a:bodyPr wrap="square" anchor="ctr">
            <a:spAutoFit/>
          </a:bodyPr>
          <a:lstStyle/>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Rep is given insights on full spectrum of engagement with assigned HCPs</a:t>
            </a:r>
          </a:p>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Alignment of channels following HCP preference and delivery optimisation</a:t>
            </a:r>
          </a:p>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Driving the HCP forwards on a defined customer journey using customer-selected touchpoints  </a:t>
            </a:r>
          </a:p>
        </p:txBody>
      </p:sp>
      <p:sp>
        <p:nvSpPr>
          <p:cNvPr id="94" name="Rectangle 93">
            <a:extLst>
              <a:ext uri="{FF2B5EF4-FFF2-40B4-BE49-F238E27FC236}">
                <a16:creationId xmlns:a16="http://schemas.microsoft.com/office/drawing/2014/main" id="{2321FFBB-EF66-2041-A8AE-A822AE16D393}"/>
              </a:ext>
            </a:extLst>
          </p:cNvPr>
          <p:cNvSpPr/>
          <p:nvPr/>
        </p:nvSpPr>
        <p:spPr>
          <a:xfrm>
            <a:off x="3165621" y="5279082"/>
            <a:ext cx="8136000" cy="738664"/>
          </a:xfrm>
          <a:prstGeom prst="rect">
            <a:avLst/>
          </a:prstGeom>
          <a:noFill/>
          <a:ln>
            <a:noFill/>
          </a:ln>
        </p:spPr>
        <p:txBody>
          <a:bodyPr wrap="square" anchor="ctr">
            <a:spAutoFit/>
          </a:bodyPr>
          <a:lstStyle/>
          <a:p>
            <a:pPr marL="33338" indent="-133350">
              <a:buFont typeface="Arial" panose="020B0604020202020204" pitchFamily="34" charset="0"/>
              <a:buChar char="•"/>
              <a:defRPr/>
            </a:pPr>
            <a:r>
              <a:rPr lang="en-GB" sz="1400">
                <a:solidFill>
                  <a:srgbClr val="646569"/>
                </a:solidFill>
              </a:rPr>
              <a:t>Commercial &amp; Medical alignment and cross-fertilisation</a:t>
            </a:r>
          </a:p>
          <a:p>
            <a:pPr marL="33338" lvl="0" indent="-133350">
              <a:buFont typeface="Arial" panose="020B0604020202020204" pitchFamily="34" charset="0"/>
              <a:buChar char="•"/>
              <a:defRPr/>
            </a:pPr>
            <a:r>
              <a:rPr lang="en-GB" sz="1400">
                <a:solidFill>
                  <a:srgbClr val="646569"/>
                </a:solidFill>
              </a:rPr>
              <a:t>Cross functional integrated approach to accounts and HCPs cross Medical and Commercial in launch </a:t>
            </a:r>
          </a:p>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Account specialist role, feeding in expertise and right skills to Account as required</a:t>
            </a:r>
          </a:p>
        </p:txBody>
      </p:sp>
      <p:sp>
        <p:nvSpPr>
          <p:cNvPr id="10" name="Rectangle 9">
            <a:extLst>
              <a:ext uri="{FF2B5EF4-FFF2-40B4-BE49-F238E27FC236}">
                <a16:creationId xmlns:a16="http://schemas.microsoft.com/office/drawing/2014/main" id="{74DBC3A6-CD2A-9A4D-A9F0-525449B6103D}"/>
              </a:ext>
            </a:extLst>
          </p:cNvPr>
          <p:cNvSpPr/>
          <p:nvPr/>
        </p:nvSpPr>
        <p:spPr>
          <a:xfrm>
            <a:off x="3165621" y="1553428"/>
            <a:ext cx="8136000" cy="738664"/>
          </a:xfrm>
          <a:prstGeom prst="rect">
            <a:avLst/>
          </a:prstGeom>
          <a:noFill/>
          <a:ln>
            <a:noFill/>
          </a:ln>
        </p:spPr>
        <p:txBody>
          <a:bodyPr wrap="square" anchor="ctr">
            <a:spAutoFit/>
          </a:bodyPr>
          <a:lstStyle/>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Reps need more </a:t>
            </a:r>
            <a:r>
              <a:rPr lang="en-GB" sz="1400">
                <a:solidFill>
                  <a:srgbClr val="646569"/>
                </a:solidFill>
                <a:latin typeface="Calibri"/>
              </a:rPr>
              <a:t>engagement tools at their disposal including use of “pull” channels</a:t>
            </a:r>
            <a:endParaRPr kumimoji="0" lang="en-GB" sz="1400" b="0" i="0" u="none" strike="noStrike" kern="1200" cap="none" spc="0" normalizeH="0" baseline="0" noProof="0">
              <a:ln>
                <a:noFill/>
              </a:ln>
              <a:solidFill>
                <a:srgbClr val="646569"/>
              </a:solidFill>
              <a:effectLst/>
              <a:uLnTx/>
              <a:uFillTx/>
              <a:latin typeface="Calibri"/>
              <a:ea typeface="+mn-ea"/>
              <a:cs typeface="+mn-cs"/>
            </a:endParaRPr>
          </a:p>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Empowering reps to orchestrate and curate </a:t>
            </a:r>
            <a:r>
              <a:rPr lang="en-GB" sz="1400">
                <a:solidFill>
                  <a:srgbClr val="646569"/>
                </a:solidFill>
                <a:latin typeface="Calibri"/>
              </a:rPr>
              <a:t>engagement, focusing on </a:t>
            </a:r>
            <a:r>
              <a:rPr kumimoji="0" lang="en-GB" sz="1400" b="0" i="0" u="none" strike="noStrike" kern="1200" cap="none" spc="0" normalizeH="0" baseline="0" noProof="0">
                <a:ln>
                  <a:noFill/>
                </a:ln>
                <a:solidFill>
                  <a:srgbClr val="646569"/>
                </a:solidFill>
                <a:effectLst/>
                <a:uLnTx/>
                <a:uFillTx/>
                <a:latin typeface="Calibri"/>
                <a:ea typeface="+mn-ea"/>
                <a:cs typeface="+mn-cs"/>
              </a:rPr>
              <a:t>building/maintaining relationships </a:t>
            </a:r>
          </a:p>
          <a:p>
            <a:pPr marL="33338" marR="0" lvl="0" indent="-133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646569"/>
                </a:solidFill>
                <a:effectLst/>
                <a:uLnTx/>
                <a:uFillTx/>
                <a:latin typeface="Calibri"/>
                <a:ea typeface="+mn-ea"/>
                <a:cs typeface="+mn-cs"/>
              </a:rPr>
              <a:t>Soft </a:t>
            </a:r>
            <a:r>
              <a:rPr lang="en-GB" sz="1400">
                <a:solidFill>
                  <a:srgbClr val="646569"/>
                </a:solidFill>
                <a:latin typeface="Calibri"/>
              </a:rPr>
              <a:t>and agile skills important </a:t>
            </a:r>
            <a:r>
              <a:rPr kumimoji="0" lang="en-GB" sz="1400" b="0" i="0" u="none" strike="noStrike" kern="1200" cap="none" spc="0" normalizeH="0" baseline="0" noProof="0">
                <a:ln>
                  <a:noFill/>
                </a:ln>
                <a:solidFill>
                  <a:srgbClr val="646569"/>
                </a:solidFill>
                <a:effectLst/>
                <a:uLnTx/>
                <a:uFillTx/>
                <a:latin typeface="Calibri"/>
                <a:ea typeface="+mn-ea"/>
                <a:cs typeface="+mn-cs"/>
              </a:rPr>
              <a:t>to augment sales skills</a:t>
            </a:r>
          </a:p>
        </p:txBody>
      </p:sp>
      <p:sp>
        <p:nvSpPr>
          <p:cNvPr id="11" name="Rectangle 10">
            <a:extLst>
              <a:ext uri="{FF2B5EF4-FFF2-40B4-BE49-F238E27FC236}">
                <a16:creationId xmlns:a16="http://schemas.microsoft.com/office/drawing/2014/main" id="{E138E28B-F355-E84B-B812-52C9246A389A}"/>
              </a:ext>
            </a:extLst>
          </p:cNvPr>
          <p:cNvSpPr/>
          <p:nvPr/>
        </p:nvSpPr>
        <p:spPr>
          <a:xfrm>
            <a:off x="1350289" y="2517384"/>
            <a:ext cx="1728000" cy="64633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a:solidFill>
                  <a:schemeClr val="accent5"/>
                </a:solidFill>
                <a:latin typeface="Calibri"/>
              </a:rPr>
              <a:t>Need for data</a:t>
            </a:r>
            <a:r>
              <a:rPr kumimoji="0" lang="en-GB" b="1" u="none" strike="noStrike" kern="1200" cap="none" spc="0" normalizeH="0" baseline="0" noProof="0">
                <a:ln>
                  <a:noFill/>
                </a:ln>
                <a:solidFill>
                  <a:schemeClr val="accent5"/>
                </a:solidFill>
                <a:effectLst/>
                <a:uLnTx/>
                <a:uFillTx/>
                <a:latin typeface="Calibri"/>
                <a:ea typeface="+mn-ea"/>
                <a:cs typeface="+mn-cs"/>
              </a:rPr>
              <a:t>-driven decisions</a:t>
            </a:r>
          </a:p>
        </p:txBody>
      </p:sp>
      <p:sp>
        <p:nvSpPr>
          <p:cNvPr id="15" name="Rectangle 14">
            <a:extLst>
              <a:ext uri="{FF2B5EF4-FFF2-40B4-BE49-F238E27FC236}">
                <a16:creationId xmlns:a16="http://schemas.microsoft.com/office/drawing/2014/main" id="{48974DCD-C3EE-FA43-9C1E-D1ED613E13B9}"/>
              </a:ext>
            </a:extLst>
          </p:cNvPr>
          <p:cNvSpPr/>
          <p:nvPr/>
        </p:nvSpPr>
        <p:spPr>
          <a:xfrm>
            <a:off x="1350289" y="3472547"/>
            <a:ext cx="1728000" cy="64633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b="1" u="none" strike="noStrike" kern="1200" cap="none" spc="0" normalizeH="0" baseline="0" noProof="0">
                <a:ln>
                  <a:noFill/>
                </a:ln>
                <a:solidFill>
                  <a:schemeClr val="accent5"/>
                </a:solidFill>
                <a:effectLst/>
                <a:uLnTx/>
                <a:uFillTx/>
                <a:latin typeface="Calibri"/>
                <a:ea typeface="+mn-ea"/>
                <a:cs typeface="+mn-cs"/>
              </a:rPr>
              <a:t>Ability to react fast</a:t>
            </a:r>
          </a:p>
        </p:txBody>
      </p:sp>
      <p:sp>
        <p:nvSpPr>
          <p:cNvPr id="16" name="Rectangle 15">
            <a:extLst>
              <a:ext uri="{FF2B5EF4-FFF2-40B4-BE49-F238E27FC236}">
                <a16:creationId xmlns:a16="http://schemas.microsoft.com/office/drawing/2014/main" id="{73CFDE96-171F-A84A-9410-15E3AB846C64}"/>
              </a:ext>
            </a:extLst>
          </p:cNvPr>
          <p:cNvSpPr/>
          <p:nvPr/>
        </p:nvSpPr>
        <p:spPr>
          <a:xfrm>
            <a:off x="1350288" y="4378760"/>
            <a:ext cx="1728000" cy="64633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b="1" u="none" strike="noStrike" kern="1200" cap="none" spc="0" normalizeH="0" baseline="0" noProof="0">
                <a:ln>
                  <a:noFill/>
                </a:ln>
                <a:solidFill>
                  <a:schemeClr val="accent5"/>
                </a:solidFill>
                <a:effectLst/>
                <a:uLnTx/>
                <a:uFillTx/>
                <a:latin typeface="Calibri"/>
                <a:ea typeface="+mn-ea"/>
                <a:cs typeface="+mn-cs"/>
              </a:rPr>
              <a:t>Digital encirclement</a:t>
            </a:r>
          </a:p>
        </p:txBody>
      </p:sp>
      <p:sp>
        <p:nvSpPr>
          <p:cNvPr id="18" name="Rectangle 17">
            <a:extLst>
              <a:ext uri="{FF2B5EF4-FFF2-40B4-BE49-F238E27FC236}">
                <a16:creationId xmlns:a16="http://schemas.microsoft.com/office/drawing/2014/main" id="{1BC30800-C572-714C-9B01-660AEDAF91AC}"/>
              </a:ext>
            </a:extLst>
          </p:cNvPr>
          <p:cNvSpPr/>
          <p:nvPr/>
        </p:nvSpPr>
        <p:spPr>
          <a:xfrm>
            <a:off x="1350289" y="5344681"/>
            <a:ext cx="1728000" cy="64633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b="1" u="none" strike="noStrike" kern="1200" cap="none" spc="0" normalizeH="0" baseline="0" noProof="0">
                <a:ln>
                  <a:noFill/>
                </a:ln>
                <a:solidFill>
                  <a:schemeClr val="accent5"/>
                </a:solidFill>
                <a:effectLst/>
                <a:uLnTx/>
                <a:uFillTx/>
                <a:latin typeface="Calibri"/>
                <a:ea typeface="+mn-ea"/>
                <a:cs typeface="+mn-cs"/>
              </a:rPr>
              <a:t>X-functional collaboration</a:t>
            </a:r>
          </a:p>
        </p:txBody>
      </p:sp>
      <p:sp>
        <p:nvSpPr>
          <p:cNvPr id="153" name="Google Shape;7814;p149">
            <a:extLst>
              <a:ext uri="{FF2B5EF4-FFF2-40B4-BE49-F238E27FC236}">
                <a16:creationId xmlns:a16="http://schemas.microsoft.com/office/drawing/2014/main" id="{628B8549-D5AE-DD4F-8890-FDF285D5678E}"/>
              </a:ext>
            </a:extLst>
          </p:cNvPr>
          <p:cNvSpPr txBox="1">
            <a:spLocks noChangeArrowheads="1"/>
          </p:cNvSpPr>
          <p:nvPr/>
        </p:nvSpPr>
        <p:spPr bwMode="auto">
          <a:xfrm>
            <a:off x="9139652" y="41823"/>
            <a:ext cx="3052348" cy="1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Clr>
                <a:srgbClr val="FFFFFF"/>
              </a:buClr>
              <a:buSzPts val="1600"/>
              <a:buNone/>
            </a:pPr>
            <a:r>
              <a:rPr lang="en-US" altLang="en-US" sz="1200">
                <a:cs typeface="Calibri" panose="020F0502020204030204" pitchFamily="34" charset="0"/>
                <a:sym typeface="Open Sans" panose="020B0606030504020204" pitchFamily="34" charset="0"/>
              </a:rPr>
              <a:t>Implications for customer engagement design</a:t>
            </a:r>
            <a:endParaRPr lang="en-US" altLang="en-US" sz="1600">
              <a:cs typeface="Calibri" panose="020F0502020204030204" pitchFamily="34" charset="0"/>
              <a:sym typeface="Arial" panose="020B0604020202020204" pitchFamily="34" charset="0"/>
            </a:endParaRPr>
          </a:p>
        </p:txBody>
      </p:sp>
      <p:pic>
        <p:nvPicPr>
          <p:cNvPr id="154" name="Graphic 153" descr="Ui Ux outline">
            <a:extLst>
              <a:ext uri="{FF2B5EF4-FFF2-40B4-BE49-F238E27FC236}">
                <a16:creationId xmlns:a16="http://schemas.microsoft.com/office/drawing/2014/main" id="{2E5882FD-910B-2444-9831-CBF166A7564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783267" y="30587"/>
            <a:ext cx="356385" cy="356385"/>
          </a:xfrm>
          <a:prstGeom prst="rect">
            <a:avLst/>
          </a:prstGeom>
        </p:spPr>
      </p:pic>
      <p:pic>
        <p:nvPicPr>
          <p:cNvPr id="8" name="Graphic 7" descr="Artificial Intelligence outline">
            <a:extLst>
              <a:ext uri="{FF2B5EF4-FFF2-40B4-BE49-F238E27FC236}">
                <a16:creationId xmlns:a16="http://schemas.microsoft.com/office/drawing/2014/main" id="{D565EE49-5B26-6D4D-B577-89EC4BBAA66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61752" y="1543940"/>
            <a:ext cx="708763" cy="708763"/>
          </a:xfrm>
          <a:prstGeom prst="rect">
            <a:avLst/>
          </a:prstGeom>
        </p:spPr>
      </p:pic>
      <p:pic>
        <p:nvPicPr>
          <p:cNvPr id="19" name="Graphic 18" descr="Atom outline">
            <a:extLst>
              <a:ext uri="{FF2B5EF4-FFF2-40B4-BE49-F238E27FC236}">
                <a16:creationId xmlns:a16="http://schemas.microsoft.com/office/drawing/2014/main" id="{2242520F-9F67-6F4A-BD10-83F95177851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1752" y="5272140"/>
            <a:ext cx="708763" cy="708763"/>
          </a:xfrm>
          <a:prstGeom prst="rect">
            <a:avLst/>
          </a:prstGeom>
        </p:spPr>
      </p:pic>
      <p:pic>
        <p:nvPicPr>
          <p:cNvPr id="21" name="Graphic 20" descr="Binary outline">
            <a:extLst>
              <a:ext uri="{FF2B5EF4-FFF2-40B4-BE49-F238E27FC236}">
                <a16:creationId xmlns:a16="http://schemas.microsoft.com/office/drawing/2014/main" id="{573F8A30-3698-5449-A350-4963DCB9AE2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1752" y="2517010"/>
            <a:ext cx="708763" cy="708763"/>
          </a:xfrm>
          <a:prstGeom prst="rect">
            <a:avLst/>
          </a:prstGeom>
        </p:spPr>
      </p:pic>
      <p:pic>
        <p:nvPicPr>
          <p:cNvPr id="25" name="Graphic 24" descr="Circles with arrows outline">
            <a:extLst>
              <a:ext uri="{FF2B5EF4-FFF2-40B4-BE49-F238E27FC236}">
                <a16:creationId xmlns:a16="http://schemas.microsoft.com/office/drawing/2014/main" id="{CBB48425-CB80-864C-BA3F-DD7E5EC42E5C}"/>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79585" y="4268429"/>
            <a:ext cx="873096" cy="873096"/>
          </a:xfrm>
          <a:prstGeom prst="rect">
            <a:avLst/>
          </a:prstGeom>
        </p:spPr>
      </p:pic>
      <p:pic>
        <p:nvPicPr>
          <p:cNvPr id="27" name="Graphic 26" descr="Gauge outline">
            <a:extLst>
              <a:ext uri="{FF2B5EF4-FFF2-40B4-BE49-F238E27FC236}">
                <a16:creationId xmlns:a16="http://schemas.microsoft.com/office/drawing/2014/main" id="{A7DE788C-F3D1-E445-941F-B1B23420F37B}"/>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61752" y="3382840"/>
            <a:ext cx="708763" cy="708763"/>
          </a:xfrm>
          <a:prstGeom prst="rect">
            <a:avLst/>
          </a:prstGeom>
        </p:spPr>
      </p:pic>
    </p:spTree>
    <p:extLst>
      <p:ext uri="{BB962C8B-B14F-4D97-AF65-F5344CB8AC3E}">
        <p14:creationId xmlns:p14="http://schemas.microsoft.com/office/powerpoint/2010/main" val="279498546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525CFF-5BDF-8B47-BD3B-634FAAA45564}"/>
              </a:ext>
            </a:extLst>
          </p:cNvPr>
          <p:cNvSpPr>
            <a:spLocks noGrp="1"/>
          </p:cNvSpPr>
          <p:nvPr>
            <p:ph type="title"/>
          </p:nvPr>
        </p:nvSpPr>
        <p:spPr>
          <a:xfrm>
            <a:off x="230985" y="278121"/>
            <a:ext cx="11799156" cy="1101213"/>
          </a:xfrm>
        </p:spPr>
        <p:txBody>
          <a:bodyPr/>
          <a:lstStyle/>
          <a:p>
            <a:r>
              <a:rPr lang="en-US"/>
              <a:t>A robust framework is required to simplify engagement model design and enable timely and effective decision making</a:t>
            </a:r>
          </a:p>
        </p:txBody>
      </p:sp>
      <p:sp>
        <p:nvSpPr>
          <p:cNvPr id="4" name="Rectangle 3">
            <a:extLst>
              <a:ext uri="{FF2B5EF4-FFF2-40B4-BE49-F238E27FC236}">
                <a16:creationId xmlns:a16="http://schemas.microsoft.com/office/drawing/2014/main" id="{794CB3AB-06FB-0841-A438-B6CC79380F68}"/>
              </a:ext>
            </a:extLst>
          </p:cNvPr>
          <p:cNvSpPr/>
          <p:nvPr/>
        </p:nvSpPr>
        <p:spPr>
          <a:xfrm>
            <a:off x="1766040" y="3739614"/>
            <a:ext cx="4525903" cy="481302"/>
          </a:xfrm>
          <a:prstGeom prst="rect">
            <a:avLst/>
          </a:prstGeom>
          <a:solidFill>
            <a:srgbClr val="FF9E16">
              <a:lumMod val="40000"/>
              <a:lumOff val="60000"/>
            </a:srgbClr>
          </a:solidFill>
          <a:ln w="9525" cap="flat" cmpd="sng" algn="ctr">
            <a:noFill/>
            <a:prstDash val="solid"/>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646569"/>
                </a:solidFill>
                <a:effectLst/>
                <a:uLnTx/>
                <a:uFillTx/>
              </a:rPr>
              <a:t>Experience </a:t>
            </a:r>
            <a:r>
              <a:rPr lang="en-GB" sz="1400" b="1" kern="0">
                <a:solidFill>
                  <a:srgbClr val="646569"/>
                </a:solidFill>
              </a:rPr>
              <a:t>Strategy</a:t>
            </a:r>
            <a:endParaRPr kumimoji="0" lang="en-GB" sz="1400" b="1" i="0" u="none" strike="noStrike" kern="0" cap="none" spc="0" normalizeH="0" baseline="0" noProof="0">
              <a:ln>
                <a:noFill/>
              </a:ln>
              <a:solidFill>
                <a:srgbClr val="646569"/>
              </a:solidFill>
              <a:effectLst/>
              <a:uLnTx/>
              <a:uFillTx/>
            </a:endParaRPr>
          </a:p>
        </p:txBody>
      </p:sp>
      <p:sp>
        <p:nvSpPr>
          <p:cNvPr id="5" name="Rectangle 4">
            <a:extLst>
              <a:ext uri="{FF2B5EF4-FFF2-40B4-BE49-F238E27FC236}">
                <a16:creationId xmlns:a16="http://schemas.microsoft.com/office/drawing/2014/main" id="{E95F3EFB-F76A-334B-9087-2A94AD8CB84C}"/>
              </a:ext>
            </a:extLst>
          </p:cNvPr>
          <p:cNvSpPr/>
          <p:nvPr/>
        </p:nvSpPr>
        <p:spPr>
          <a:xfrm>
            <a:off x="6400816" y="3739614"/>
            <a:ext cx="4525903" cy="481302"/>
          </a:xfrm>
          <a:prstGeom prst="rect">
            <a:avLst/>
          </a:prstGeom>
          <a:solidFill>
            <a:srgbClr val="61B4E4">
              <a:lumMod val="40000"/>
              <a:lumOff val="60000"/>
            </a:srgbClr>
          </a:solidFill>
          <a:ln w="9525" cap="flat" cmpd="sng" algn="ctr">
            <a:noFill/>
            <a:prstDash val="solid"/>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646569"/>
                </a:solidFill>
                <a:effectLst/>
                <a:uLnTx/>
                <a:uFillTx/>
              </a:rPr>
              <a:t>Brand </a:t>
            </a:r>
            <a:r>
              <a:rPr lang="en-GB" sz="1400" b="1" kern="0">
                <a:solidFill>
                  <a:srgbClr val="646569"/>
                </a:solidFill>
              </a:rPr>
              <a:t>Strategy</a:t>
            </a:r>
            <a:endParaRPr kumimoji="0" lang="en-GB" sz="1400" b="1" i="0" u="none" strike="noStrike" kern="0" cap="none" spc="0" normalizeH="0" baseline="0" noProof="0">
              <a:ln>
                <a:noFill/>
              </a:ln>
              <a:solidFill>
                <a:srgbClr val="646569"/>
              </a:solidFill>
              <a:effectLst/>
              <a:uLnTx/>
              <a:uFillTx/>
            </a:endParaRPr>
          </a:p>
        </p:txBody>
      </p:sp>
      <p:sp>
        <p:nvSpPr>
          <p:cNvPr id="6" name="Rounded Rectangle 5">
            <a:extLst>
              <a:ext uri="{FF2B5EF4-FFF2-40B4-BE49-F238E27FC236}">
                <a16:creationId xmlns:a16="http://schemas.microsoft.com/office/drawing/2014/main" id="{6030C1B5-BBD2-1D42-89B7-EF528B9FB62A}"/>
              </a:ext>
            </a:extLst>
          </p:cNvPr>
          <p:cNvSpPr/>
          <p:nvPr/>
        </p:nvSpPr>
        <p:spPr>
          <a:xfrm>
            <a:off x="3510820" y="3837978"/>
            <a:ext cx="1144067" cy="266959"/>
          </a:xfrm>
          <a:prstGeom prst="roundRect">
            <a:avLst/>
          </a:prstGeom>
          <a:solidFill>
            <a:sysClr val="window" lastClr="FFFFFF"/>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white">
                    <a:lumMod val="50000"/>
                  </a:prstClr>
                </a:solidFill>
                <a:effectLst/>
                <a:uLnTx/>
                <a:uFillTx/>
              </a:rPr>
              <a:t>Experience Principles</a:t>
            </a:r>
          </a:p>
        </p:txBody>
      </p:sp>
      <p:sp>
        <p:nvSpPr>
          <p:cNvPr id="7" name="Rounded Rectangle 6">
            <a:extLst>
              <a:ext uri="{FF2B5EF4-FFF2-40B4-BE49-F238E27FC236}">
                <a16:creationId xmlns:a16="http://schemas.microsoft.com/office/drawing/2014/main" id="{7ADCFA40-54A3-2645-9A34-9CFC292BD0B4}"/>
              </a:ext>
            </a:extLst>
          </p:cNvPr>
          <p:cNvSpPr/>
          <p:nvPr/>
        </p:nvSpPr>
        <p:spPr>
          <a:xfrm>
            <a:off x="4799804" y="3837978"/>
            <a:ext cx="1144067" cy="266959"/>
          </a:xfrm>
          <a:prstGeom prst="roundRect">
            <a:avLst/>
          </a:prstGeom>
          <a:solidFill>
            <a:sysClr val="window" lastClr="FFFFFF"/>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white">
                    <a:lumMod val="50000"/>
                  </a:prstClr>
                </a:solidFill>
                <a:effectLst/>
                <a:uLnTx/>
                <a:uFillTx/>
              </a:rPr>
              <a:t>Customer Journey Map</a:t>
            </a:r>
          </a:p>
        </p:txBody>
      </p:sp>
      <p:sp>
        <p:nvSpPr>
          <p:cNvPr id="8" name="Rectangle 7">
            <a:extLst>
              <a:ext uri="{FF2B5EF4-FFF2-40B4-BE49-F238E27FC236}">
                <a16:creationId xmlns:a16="http://schemas.microsoft.com/office/drawing/2014/main" id="{B8122330-7D96-E944-9596-DBB725B70380}"/>
              </a:ext>
            </a:extLst>
          </p:cNvPr>
          <p:cNvSpPr/>
          <p:nvPr/>
        </p:nvSpPr>
        <p:spPr>
          <a:xfrm>
            <a:off x="1766040" y="4384645"/>
            <a:ext cx="9160680" cy="1822075"/>
          </a:xfrm>
          <a:prstGeom prst="rect">
            <a:avLst/>
          </a:prstGeom>
          <a:gradFill flip="none" rotWithShape="1">
            <a:gsLst>
              <a:gs pos="0">
                <a:srgbClr val="FF9E16">
                  <a:lumMod val="60000"/>
                  <a:lumOff val="40000"/>
                </a:srgbClr>
              </a:gs>
              <a:gs pos="100000">
                <a:srgbClr val="61B4E4">
                  <a:lumMod val="40000"/>
                  <a:lumOff val="60000"/>
                </a:srgbClr>
              </a:gs>
            </a:gsLst>
            <a:lin ang="0" scaled="1"/>
            <a:tileRect/>
          </a:gradFill>
          <a:ln w="28575" cap="flat" cmpd="sng" algn="ctr">
            <a:noFill/>
            <a:prstDash val="solid"/>
          </a:ln>
          <a:effectLst/>
        </p:spPr>
        <p:txBody>
          <a:bodyPr lIns="72000" tIns="36000" rIns="72000" bIns="72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646569"/>
                </a:solidFill>
                <a:effectLst/>
                <a:uLnTx/>
                <a:uFillTx/>
              </a:rPr>
              <a:t>Customer Engagement Model</a:t>
            </a:r>
          </a:p>
        </p:txBody>
      </p:sp>
      <p:sp>
        <p:nvSpPr>
          <p:cNvPr id="9" name="Rectangle 122">
            <a:extLst>
              <a:ext uri="{FF2B5EF4-FFF2-40B4-BE49-F238E27FC236}">
                <a16:creationId xmlns:a16="http://schemas.microsoft.com/office/drawing/2014/main" id="{664BA292-37A5-AB41-A763-ACCA95C76560}"/>
              </a:ext>
            </a:extLst>
          </p:cNvPr>
          <p:cNvSpPr/>
          <p:nvPr/>
        </p:nvSpPr>
        <p:spPr>
          <a:xfrm>
            <a:off x="1829595" y="4747114"/>
            <a:ext cx="3181078" cy="1119964"/>
          </a:xfrm>
          <a:prstGeom prst="roundRect">
            <a:avLst/>
          </a:prstGeom>
          <a:solidFill>
            <a:srgbClr val="FFFFFF">
              <a:alpha val="80000"/>
            </a:srgbClr>
          </a:solidFill>
          <a:ln w="9525" cap="flat" cmpd="sng" algn="ctr">
            <a:noFill/>
            <a:prstDash val="solid"/>
          </a:ln>
          <a:effectLst/>
        </p:spPr>
        <p:txBody>
          <a:bodyPr lIns="72000" tIns="36000" rIns="72000" bIns="72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strike="noStrike" kern="0" cap="none" spc="0" normalizeH="0" baseline="0" noProof="0">
                <a:ln>
                  <a:noFill/>
                </a:ln>
                <a:solidFill>
                  <a:srgbClr val="646569"/>
                </a:solidFill>
                <a:effectLst/>
                <a:uLnTx/>
                <a:uFillTx/>
              </a:rPr>
              <a:t>Right Channel</a:t>
            </a:r>
          </a:p>
        </p:txBody>
      </p:sp>
      <p:sp>
        <p:nvSpPr>
          <p:cNvPr id="10" name="Rectangle 123">
            <a:extLst>
              <a:ext uri="{FF2B5EF4-FFF2-40B4-BE49-F238E27FC236}">
                <a16:creationId xmlns:a16="http://schemas.microsoft.com/office/drawing/2014/main" id="{5C090567-D11C-1F4E-BEA2-D737AE509BE7}"/>
              </a:ext>
            </a:extLst>
          </p:cNvPr>
          <p:cNvSpPr/>
          <p:nvPr/>
        </p:nvSpPr>
        <p:spPr>
          <a:xfrm>
            <a:off x="5094901" y="4747114"/>
            <a:ext cx="3181078" cy="1119964"/>
          </a:xfrm>
          <a:prstGeom prst="roundRect">
            <a:avLst/>
          </a:prstGeom>
          <a:solidFill>
            <a:srgbClr val="FFFFFF">
              <a:alpha val="80000"/>
            </a:srgbClr>
          </a:solidFill>
          <a:ln w="9525" cap="flat" cmpd="sng" algn="ctr">
            <a:noFill/>
            <a:prstDash val="solid"/>
          </a:ln>
          <a:effectLst/>
        </p:spPr>
        <p:txBody>
          <a:bodyPr lIns="72000" tIns="36000" rIns="72000" bIns="72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strike="noStrike" kern="0" cap="none" spc="0" normalizeH="0" baseline="0" noProof="0">
                <a:ln>
                  <a:noFill/>
                </a:ln>
                <a:solidFill>
                  <a:srgbClr val="646569"/>
                </a:solidFill>
                <a:effectLst/>
                <a:uLnTx/>
                <a:uFillTx/>
              </a:rPr>
              <a:t>Right Content</a:t>
            </a:r>
          </a:p>
        </p:txBody>
      </p:sp>
      <p:sp>
        <p:nvSpPr>
          <p:cNvPr id="11" name="TextBox 10">
            <a:extLst>
              <a:ext uri="{FF2B5EF4-FFF2-40B4-BE49-F238E27FC236}">
                <a16:creationId xmlns:a16="http://schemas.microsoft.com/office/drawing/2014/main" id="{2597773F-49D4-2845-826B-C534F4110CBC}"/>
              </a:ext>
            </a:extLst>
          </p:cNvPr>
          <p:cNvSpPr txBox="1"/>
          <p:nvPr/>
        </p:nvSpPr>
        <p:spPr>
          <a:xfrm>
            <a:off x="2994739" y="5591807"/>
            <a:ext cx="805416" cy="336797"/>
          </a:xfrm>
          <a:prstGeom prst="rect">
            <a:avLst/>
          </a:prstGeom>
          <a:noFill/>
        </p:spPr>
        <p:txBody>
          <a:bodyPr wrap="square" rtlCol="0">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Frequency</a:t>
            </a:r>
          </a:p>
        </p:txBody>
      </p:sp>
      <p:sp>
        <p:nvSpPr>
          <p:cNvPr id="12" name="TextBox 11">
            <a:extLst>
              <a:ext uri="{FF2B5EF4-FFF2-40B4-BE49-F238E27FC236}">
                <a16:creationId xmlns:a16="http://schemas.microsoft.com/office/drawing/2014/main" id="{76D3B9D7-7838-6941-AFDC-0C765E69D559}"/>
              </a:ext>
            </a:extLst>
          </p:cNvPr>
          <p:cNvSpPr txBox="1"/>
          <p:nvPr/>
        </p:nvSpPr>
        <p:spPr>
          <a:xfrm>
            <a:off x="4197648" y="5596040"/>
            <a:ext cx="627446" cy="336797"/>
          </a:xfrm>
          <a:prstGeom prst="rect">
            <a:avLst/>
          </a:prstGeom>
          <a:noFill/>
        </p:spPr>
        <p:txBody>
          <a:bodyPr wrap="square" rtlCol="0">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Timing</a:t>
            </a:r>
          </a:p>
        </p:txBody>
      </p:sp>
      <p:sp>
        <p:nvSpPr>
          <p:cNvPr id="13" name="TextBox 12">
            <a:extLst>
              <a:ext uri="{FF2B5EF4-FFF2-40B4-BE49-F238E27FC236}">
                <a16:creationId xmlns:a16="http://schemas.microsoft.com/office/drawing/2014/main" id="{5A3E4EB8-0CEF-0240-9360-C1CCA1F31747}"/>
              </a:ext>
            </a:extLst>
          </p:cNvPr>
          <p:cNvSpPr txBox="1"/>
          <p:nvPr/>
        </p:nvSpPr>
        <p:spPr>
          <a:xfrm>
            <a:off x="1983054" y="5582730"/>
            <a:ext cx="805416" cy="336797"/>
          </a:xfrm>
          <a:prstGeom prst="rect">
            <a:avLst/>
          </a:prstGeom>
          <a:noFill/>
        </p:spPr>
        <p:txBody>
          <a:bodyPr wrap="square" rtlCol="0">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Channel</a:t>
            </a:r>
          </a:p>
        </p:txBody>
      </p:sp>
      <p:sp>
        <p:nvSpPr>
          <p:cNvPr id="14" name="TextBox 13">
            <a:extLst>
              <a:ext uri="{FF2B5EF4-FFF2-40B4-BE49-F238E27FC236}">
                <a16:creationId xmlns:a16="http://schemas.microsoft.com/office/drawing/2014/main" id="{7ADA5854-1A53-0E47-9714-8BA8AAC06B8C}"/>
              </a:ext>
            </a:extLst>
          </p:cNvPr>
          <p:cNvSpPr txBox="1"/>
          <p:nvPr/>
        </p:nvSpPr>
        <p:spPr>
          <a:xfrm>
            <a:off x="5224170" y="5586694"/>
            <a:ext cx="723157" cy="261610"/>
          </a:xfrm>
          <a:prstGeom prst="rect">
            <a:avLst/>
          </a:prstGeom>
          <a:noFill/>
        </p:spPr>
        <p:txBody>
          <a:bodyPr wrap="square" rtlCol="0">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Type</a:t>
            </a:r>
          </a:p>
        </p:txBody>
      </p:sp>
      <p:sp>
        <p:nvSpPr>
          <p:cNvPr id="15" name="TextBox 14">
            <a:extLst>
              <a:ext uri="{FF2B5EF4-FFF2-40B4-BE49-F238E27FC236}">
                <a16:creationId xmlns:a16="http://schemas.microsoft.com/office/drawing/2014/main" id="{E741FB04-A116-3948-95B1-916210054E68}"/>
              </a:ext>
            </a:extLst>
          </p:cNvPr>
          <p:cNvSpPr txBox="1"/>
          <p:nvPr/>
        </p:nvSpPr>
        <p:spPr>
          <a:xfrm>
            <a:off x="6339022" y="5614328"/>
            <a:ext cx="672079" cy="261610"/>
          </a:xfrm>
          <a:prstGeom prst="rect">
            <a:avLst/>
          </a:prstGeom>
          <a:noFill/>
        </p:spPr>
        <p:txBody>
          <a:bodyPr wrap="square" rtlCol="0">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Tone</a:t>
            </a:r>
          </a:p>
        </p:txBody>
      </p:sp>
      <p:sp>
        <p:nvSpPr>
          <p:cNvPr id="16" name="TextBox 15">
            <a:extLst>
              <a:ext uri="{FF2B5EF4-FFF2-40B4-BE49-F238E27FC236}">
                <a16:creationId xmlns:a16="http://schemas.microsoft.com/office/drawing/2014/main" id="{C5E2C840-A74E-6542-8B21-6964417C604E}"/>
              </a:ext>
            </a:extLst>
          </p:cNvPr>
          <p:cNvSpPr txBox="1"/>
          <p:nvPr/>
        </p:nvSpPr>
        <p:spPr>
          <a:xfrm>
            <a:off x="7307132" y="5618040"/>
            <a:ext cx="760841" cy="430887"/>
          </a:xfrm>
          <a:prstGeom prst="rect">
            <a:avLst/>
          </a:prstGeom>
          <a:noFill/>
        </p:spPr>
        <p:txBody>
          <a:bodyPr wrap="square" rtlCol="0">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Sequence</a:t>
            </a:r>
          </a:p>
        </p:txBody>
      </p:sp>
      <p:cxnSp>
        <p:nvCxnSpPr>
          <p:cNvPr id="17" name="Straight Arrow Connector 16">
            <a:extLst>
              <a:ext uri="{FF2B5EF4-FFF2-40B4-BE49-F238E27FC236}">
                <a16:creationId xmlns:a16="http://schemas.microsoft.com/office/drawing/2014/main" id="{8B79DE59-1EE2-CB4D-BFC2-EDB5C15FC607}"/>
              </a:ext>
            </a:extLst>
          </p:cNvPr>
          <p:cNvCxnSpPr>
            <a:stCxn id="18" idx="3"/>
            <a:endCxn id="20" idx="1"/>
          </p:cNvCxnSpPr>
          <p:nvPr/>
        </p:nvCxnSpPr>
        <p:spPr>
          <a:xfrm>
            <a:off x="2261709" y="6067547"/>
            <a:ext cx="8151455" cy="230"/>
          </a:xfrm>
          <a:prstGeom prst="straightConnector1">
            <a:avLst/>
          </a:prstGeom>
          <a:noFill/>
          <a:ln w="9525" cap="flat" cmpd="sng" algn="ctr">
            <a:solidFill>
              <a:srgbClr val="7F7E82">
                <a:shade val="95000"/>
                <a:satMod val="105000"/>
              </a:srgbClr>
            </a:solidFill>
            <a:prstDash val="solid"/>
            <a:tailEnd type="triangle"/>
          </a:ln>
          <a:effectLst/>
        </p:spPr>
      </p:cxnSp>
      <p:sp>
        <p:nvSpPr>
          <p:cNvPr id="18" name="TextBox 17">
            <a:extLst>
              <a:ext uri="{FF2B5EF4-FFF2-40B4-BE49-F238E27FC236}">
                <a16:creationId xmlns:a16="http://schemas.microsoft.com/office/drawing/2014/main" id="{015B593C-4260-BB4C-B70E-D6FE13221E56}"/>
              </a:ext>
            </a:extLst>
          </p:cNvPr>
          <p:cNvSpPr txBox="1"/>
          <p:nvPr/>
        </p:nvSpPr>
        <p:spPr>
          <a:xfrm>
            <a:off x="1829594" y="5962418"/>
            <a:ext cx="432115" cy="210258"/>
          </a:xfrm>
          <a:prstGeom prst="rect">
            <a:avLst/>
          </a:prstGeom>
          <a:noFill/>
        </p:spPr>
        <p:txBody>
          <a:bodyPr wrap="square" lIns="0" tIns="0" rIns="0" bIns="0" rtlCol="0" anchor="ctr">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646569"/>
                </a:solidFill>
                <a:effectLst/>
                <a:uLnTx/>
                <a:uFillTx/>
              </a:rPr>
              <a:t>Low</a:t>
            </a:r>
          </a:p>
        </p:txBody>
      </p:sp>
      <p:sp>
        <p:nvSpPr>
          <p:cNvPr id="19" name="TextBox 18">
            <a:extLst>
              <a:ext uri="{FF2B5EF4-FFF2-40B4-BE49-F238E27FC236}">
                <a16:creationId xmlns:a16="http://schemas.microsoft.com/office/drawing/2014/main" id="{9BD5B4A5-3F6F-414A-9B84-76F3D8FF32D4}"/>
              </a:ext>
            </a:extLst>
          </p:cNvPr>
          <p:cNvSpPr txBox="1"/>
          <p:nvPr/>
        </p:nvSpPr>
        <p:spPr>
          <a:xfrm>
            <a:off x="5834270" y="5855921"/>
            <a:ext cx="1133091" cy="270336"/>
          </a:xfrm>
          <a:prstGeom prst="rect">
            <a:avLst/>
          </a:prstGeom>
          <a:noFill/>
        </p:spPr>
        <p:txBody>
          <a:bodyPr wrap="square" lIns="0" tIns="0" rIns="0" bIns="0" rtlCol="0" anchor="ctr">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646569"/>
                </a:solidFill>
                <a:effectLst/>
                <a:uLnTx/>
                <a:uFillTx/>
              </a:rPr>
              <a:t>Difficulty to get right</a:t>
            </a:r>
          </a:p>
        </p:txBody>
      </p:sp>
      <p:sp>
        <p:nvSpPr>
          <p:cNvPr id="20" name="TextBox 19">
            <a:extLst>
              <a:ext uri="{FF2B5EF4-FFF2-40B4-BE49-F238E27FC236}">
                <a16:creationId xmlns:a16="http://schemas.microsoft.com/office/drawing/2014/main" id="{57D6AE91-155A-8C42-B827-ECE86305F293}"/>
              </a:ext>
            </a:extLst>
          </p:cNvPr>
          <p:cNvSpPr txBox="1"/>
          <p:nvPr/>
        </p:nvSpPr>
        <p:spPr>
          <a:xfrm>
            <a:off x="10413165" y="5962649"/>
            <a:ext cx="432115" cy="210258"/>
          </a:xfrm>
          <a:prstGeom prst="rect">
            <a:avLst/>
          </a:prstGeom>
          <a:noFill/>
        </p:spPr>
        <p:txBody>
          <a:bodyPr wrap="square" lIns="0" tIns="0" rIns="0" bIns="0" rtlCol="0" anchor="ctr">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646569"/>
                </a:solidFill>
                <a:effectLst/>
                <a:uLnTx/>
                <a:uFillTx/>
              </a:rPr>
              <a:t>High</a:t>
            </a:r>
          </a:p>
        </p:txBody>
      </p:sp>
      <p:sp>
        <p:nvSpPr>
          <p:cNvPr id="21" name="Rectangle 124">
            <a:extLst>
              <a:ext uri="{FF2B5EF4-FFF2-40B4-BE49-F238E27FC236}">
                <a16:creationId xmlns:a16="http://schemas.microsoft.com/office/drawing/2014/main" id="{41E51152-70D5-0C43-82AE-3849F38D15A2}"/>
              </a:ext>
            </a:extLst>
          </p:cNvPr>
          <p:cNvSpPr/>
          <p:nvPr/>
        </p:nvSpPr>
        <p:spPr>
          <a:xfrm>
            <a:off x="9635784" y="4735375"/>
            <a:ext cx="1215243" cy="1119964"/>
          </a:xfrm>
          <a:prstGeom prst="roundRect">
            <a:avLst/>
          </a:prstGeom>
          <a:solidFill>
            <a:srgbClr val="FFFFFF">
              <a:alpha val="80000"/>
            </a:srgbClr>
          </a:solidFill>
          <a:ln w="9525" cap="flat" cmpd="sng" algn="ctr">
            <a:noFill/>
            <a:prstDash val="solid"/>
          </a:ln>
          <a:effectLst/>
        </p:spPr>
        <p:txBody>
          <a:bodyPr lIns="72000" tIns="36000" rIns="72000" bIns="72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strike="noStrike" kern="0" cap="none" spc="0" normalizeH="0" baseline="0" noProof="0">
                <a:ln>
                  <a:noFill/>
                </a:ln>
                <a:solidFill>
                  <a:srgbClr val="646569"/>
                </a:solidFill>
                <a:effectLst/>
                <a:uLnTx/>
                <a:uFillTx/>
              </a:rPr>
              <a:t>Integrated</a:t>
            </a:r>
          </a:p>
        </p:txBody>
      </p:sp>
      <p:sp>
        <p:nvSpPr>
          <p:cNvPr id="22" name="TextBox 21">
            <a:extLst>
              <a:ext uri="{FF2B5EF4-FFF2-40B4-BE49-F238E27FC236}">
                <a16:creationId xmlns:a16="http://schemas.microsoft.com/office/drawing/2014/main" id="{3393E456-378A-6343-8ADD-957561E974C6}"/>
              </a:ext>
            </a:extLst>
          </p:cNvPr>
          <p:cNvSpPr txBox="1"/>
          <p:nvPr/>
        </p:nvSpPr>
        <p:spPr>
          <a:xfrm>
            <a:off x="9840697" y="5607848"/>
            <a:ext cx="805416" cy="336797"/>
          </a:xfrm>
          <a:prstGeom prst="rect">
            <a:avLst/>
          </a:prstGeom>
          <a:noFill/>
        </p:spPr>
        <p:txBody>
          <a:bodyPr wrap="square" rtlCol="0">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X-Channel</a:t>
            </a:r>
          </a:p>
        </p:txBody>
      </p:sp>
      <p:sp>
        <p:nvSpPr>
          <p:cNvPr id="23" name="Rectangle 125">
            <a:extLst>
              <a:ext uri="{FF2B5EF4-FFF2-40B4-BE49-F238E27FC236}">
                <a16:creationId xmlns:a16="http://schemas.microsoft.com/office/drawing/2014/main" id="{2D904C48-D50F-6347-A3DF-0AE63CD00B4F}"/>
              </a:ext>
            </a:extLst>
          </p:cNvPr>
          <p:cNvSpPr/>
          <p:nvPr/>
        </p:nvSpPr>
        <p:spPr>
          <a:xfrm>
            <a:off x="8344940" y="4747114"/>
            <a:ext cx="1215243" cy="1119964"/>
          </a:xfrm>
          <a:prstGeom prst="roundRect">
            <a:avLst/>
          </a:prstGeom>
          <a:solidFill>
            <a:srgbClr val="FFFFFF">
              <a:alpha val="80000"/>
            </a:srgbClr>
          </a:solidFill>
          <a:ln w="9525" cap="flat" cmpd="sng" algn="ctr">
            <a:noFill/>
            <a:prstDash val="solid"/>
          </a:ln>
          <a:effectLst/>
        </p:spPr>
        <p:txBody>
          <a:bodyPr lIns="72000" tIns="36000" rIns="72000" bIns="72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strike="noStrike" kern="0" cap="none" spc="0" normalizeH="0" baseline="0" noProof="0">
                <a:ln>
                  <a:noFill/>
                </a:ln>
                <a:solidFill>
                  <a:srgbClr val="646569"/>
                </a:solidFill>
                <a:effectLst/>
                <a:uLnTx/>
                <a:uFillTx/>
              </a:rPr>
              <a:t>Services</a:t>
            </a:r>
          </a:p>
        </p:txBody>
      </p:sp>
      <p:sp>
        <p:nvSpPr>
          <p:cNvPr id="24" name="TextBox 23">
            <a:extLst>
              <a:ext uri="{FF2B5EF4-FFF2-40B4-BE49-F238E27FC236}">
                <a16:creationId xmlns:a16="http://schemas.microsoft.com/office/drawing/2014/main" id="{0635455D-E168-6942-80C0-B53C0D46F9F3}"/>
              </a:ext>
            </a:extLst>
          </p:cNvPr>
          <p:cNvSpPr txBox="1"/>
          <p:nvPr/>
        </p:nvSpPr>
        <p:spPr>
          <a:xfrm>
            <a:off x="8329707" y="5603065"/>
            <a:ext cx="1313080" cy="430887"/>
          </a:xfrm>
          <a:prstGeom prst="rect">
            <a:avLst/>
          </a:prstGeom>
          <a:noFill/>
        </p:spPr>
        <p:txBody>
          <a:bodyPr wrap="square" rtlCol="0">
            <a:spAutoFit/>
          </a:bodyP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Services/solutions</a:t>
            </a:r>
          </a:p>
        </p:txBody>
      </p:sp>
      <p:sp>
        <p:nvSpPr>
          <p:cNvPr id="25" name="Rectangle 24">
            <a:extLst>
              <a:ext uri="{FF2B5EF4-FFF2-40B4-BE49-F238E27FC236}">
                <a16:creationId xmlns:a16="http://schemas.microsoft.com/office/drawing/2014/main" id="{A0709493-26E8-304D-A425-E92A425718A0}"/>
              </a:ext>
            </a:extLst>
          </p:cNvPr>
          <p:cNvSpPr/>
          <p:nvPr/>
        </p:nvSpPr>
        <p:spPr>
          <a:xfrm>
            <a:off x="1766040" y="1831499"/>
            <a:ext cx="4525903" cy="1729987"/>
          </a:xfrm>
          <a:prstGeom prst="rect">
            <a:avLst/>
          </a:prstGeom>
          <a:solidFill>
            <a:srgbClr val="FF9E16">
              <a:lumMod val="20000"/>
              <a:lumOff val="80000"/>
            </a:srgbClr>
          </a:solidFill>
          <a:ln w="9525" cap="flat" cmpd="sng" algn="ctr">
            <a:noFill/>
            <a:prstDash val="solid"/>
          </a:ln>
          <a:effectLst/>
        </p:spPr>
        <p:txBody>
          <a:bodyPr lIns="72000" tIns="36000" rIns="72000" bIns="72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646569"/>
                </a:solidFill>
                <a:effectLst/>
                <a:uLnTx/>
                <a:uFillTx/>
              </a:rPr>
              <a:t>Customer Insights</a:t>
            </a:r>
          </a:p>
        </p:txBody>
      </p:sp>
      <p:sp>
        <p:nvSpPr>
          <p:cNvPr id="26" name="Rectangle 25">
            <a:extLst>
              <a:ext uri="{FF2B5EF4-FFF2-40B4-BE49-F238E27FC236}">
                <a16:creationId xmlns:a16="http://schemas.microsoft.com/office/drawing/2014/main" id="{9FE754E6-3065-CF4D-896F-1586DBBBE0F7}"/>
              </a:ext>
            </a:extLst>
          </p:cNvPr>
          <p:cNvSpPr/>
          <p:nvPr/>
        </p:nvSpPr>
        <p:spPr>
          <a:xfrm>
            <a:off x="1829595" y="2129337"/>
            <a:ext cx="4381392" cy="691281"/>
          </a:xfrm>
          <a:prstGeom prst="rect">
            <a:avLst/>
          </a:prstGeom>
          <a:noFill/>
          <a:ln w="9525" cap="flat" cmpd="sng" algn="ctr">
            <a:noFill/>
            <a:prstDash val="solid"/>
          </a:ln>
          <a:effectLst/>
        </p:spPr>
        <p:txBody>
          <a:bodyPr lIns="72000" tIns="36000" rIns="72000" bIns="72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646569"/>
                </a:solidFill>
                <a:effectLst/>
                <a:uLnTx/>
                <a:uFillTx/>
              </a:rPr>
              <a:t>Needs &amp; ”jobs to be done” e.g.</a:t>
            </a:r>
          </a:p>
        </p:txBody>
      </p:sp>
      <p:sp>
        <p:nvSpPr>
          <p:cNvPr id="27" name="TextBox 46">
            <a:extLst>
              <a:ext uri="{FF2B5EF4-FFF2-40B4-BE49-F238E27FC236}">
                <a16:creationId xmlns:a16="http://schemas.microsoft.com/office/drawing/2014/main" id="{0BE45DB9-16D8-8849-9A74-C9D643199232}"/>
              </a:ext>
            </a:extLst>
          </p:cNvPr>
          <p:cNvSpPr txBox="1">
            <a:spLocks/>
          </p:cNvSpPr>
          <p:nvPr/>
        </p:nvSpPr>
        <p:spPr>
          <a:xfrm>
            <a:off x="1893409" y="2411941"/>
            <a:ext cx="665181" cy="358756"/>
          </a:xfrm>
          <a:prstGeom prst="roundRect">
            <a:avLst/>
          </a:prstGeom>
          <a:noFill/>
          <a:ln>
            <a:solidFill>
              <a:schemeClr val="bg1"/>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85000"/>
              </a:lnSpc>
              <a:spcAft>
                <a:spcPts val="529"/>
              </a:spcAft>
              <a:buClr>
                <a:srgbClr val="FFE600"/>
              </a:buClr>
              <a:buSzPct val="70000"/>
              <a:defRPr/>
            </a:pPr>
            <a:r>
              <a:rPr lang="en-US" sz="800">
                <a:solidFill>
                  <a:srgbClr val="646569"/>
                </a:solidFill>
                <a:cs typeface="Calibri" panose="020F0502020204030204" pitchFamily="34" charset="0"/>
              </a:rPr>
              <a:t>Stay up to date</a:t>
            </a:r>
          </a:p>
        </p:txBody>
      </p:sp>
      <p:sp>
        <p:nvSpPr>
          <p:cNvPr id="28" name="TextBox 37">
            <a:extLst>
              <a:ext uri="{FF2B5EF4-FFF2-40B4-BE49-F238E27FC236}">
                <a16:creationId xmlns:a16="http://schemas.microsoft.com/office/drawing/2014/main" id="{161D56B0-B6A1-0146-9238-CA0AC1859659}"/>
              </a:ext>
            </a:extLst>
          </p:cNvPr>
          <p:cNvSpPr txBox="1">
            <a:spLocks/>
          </p:cNvSpPr>
          <p:nvPr/>
        </p:nvSpPr>
        <p:spPr>
          <a:xfrm>
            <a:off x="2613256" y="2411941"/>
            <a:ext cx="665181" cy="358756"/>
          </a:xfrm>
          <a:prstGeom prst="roundRect">
            <a:avLst/>
          </a:prstGeom>
          <a:noFill/>
          <a:ln>
            <a:solidFill>
              <a:schemeClr val="bg1"/>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800">
                <a:solidFill>
                  <a:srgbClr val="646569"/>
                </a:solidFill>
                <a:cs typeface="Calibri" panose="020F0502020204030204" pitchFamily="34" charset="0"/>
              </a:rPr>
              <a:t>Deliver patient consultations</a:t>
            </a:r>
          </a:p>
        </p:txBody>
      </p:sp>
      <p:sp>
        <p:nvSpPr>
          <p:cNvPr id="29" name="TextBox 73">
            <a:extLst>
              <a:ext uri="{FF2B5EF4-FFF2-40B4-BE49-F238E27FC236}">
                <a16:creationId xmlns:a16="http://schemas.microsoft.com/office/drawing/2014/main" id="{F0B0C318-79FC-3C4A-B537-F562BB00AE56}"/>
              </a:ext>
            </a:extLst>
          </p:cNvPr>
          <p:cNvSpPr txBox="1">
            <a:spLocks/>
          </p:cNvSpPr>
          <p:nvPr/>
        </p:nvSpPr>
        <p:spPr>
          <a:xfrm>
            <a:off x="3334623" y="2411941"/>
            <a:ext cx="665181" cy="358756"/>
          </a:xfrm>
          <a:prstGeom prst="roundRect">
            <a:avLst/>
          </a:prstGeom>
          <a:noFill/>
          <a:ln>
            <a:solidFill>
              <a:schemeClr val="bg1"/>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800">
                <a:solidFill>
                  <a:srgbClr val="646569"/>
                </a:solidFill>
                <a:cs typeface="Calibri" panose="020F0502020204030204" pitchFamily="34" charset="0"/>
              </a:rPr>
              <a:t>Provide patient support</a:t>
            </a:r>
          </a:p>
        </p:txBody>
      </p:sp>
      <p:sp>
        <p:nvSpPr>
          <p:cNvPr id="30" name="TextBox 47">
            <a:extLst>
              <a:ext uri="{FF2B5EF4-FFF2-40B4-BE49-F238E27FC236}">
                <a16:creationId xmlns:a16="http://schemas.microsoft.com/office/drawing/2014/main" id="{29E0AE2A-15BD-1749-B722-29C988C240E8}"/>
              </a:ext>
            </a:extLst>
          </p:cNvPr>
          <p:cNvSpPr txBox="1">
            <a:spLocks/>
          </p:cNvSpPr>
          <p:nvPr/>
        </p:nvSpPr>
        <p:spPr>
          <a:xfrm>
            <a:off x="4048516" y="2411941"/>
            <a:ext cx="665181" cy="358756"/>
          </a:xfrm>
          <a:prstGeom prst="roundRect">
            <a:avLst/>
          </a:prstGeom>
          <a:noFill/>
          <a:ln>
            <a:solidFill>
              <a:schemeClr val="bg1"/>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800">
                <a:solidFill>
                  <a:srgbClr val="646569"/>
                </a:solidFill>
                <a:cs typeface="Calibri" panose="020F0502020204030204" pitchFamily="34" charset="0"/>
              </a:rPr>
              <a:t>Connect with peers</a:t>
            </a:r>
          </a:p>
        </p:txBody>
      </p:sp>
      <p:sp>
        <p:nvSpPr>
          <p:cNvPr id="31" name="TextBox 48">
            <a:extLst>
              <a:ext uri="{FF2B5EF4-FFF2-40B4-BE49-F238E27FC236}">
                <a16:creationId xmlns:a16="http://schemas.microsoft.com/office/drawing/2014/main" id="{A4B7DD5E-1C8C-8045-B21C-115B7BEE80C4}"/>
              </a:ext>
            </a:extLst>
          </p:cNvPr>
          <p:cNvSpPr txBox="1">
            <a:spLocks/>
          </p:cNvSpPr>
          <p:nvPr/>
        </p:nvSpPr>
        <p:spPr>
          <a:xfrm>
            <a:off x="4756949" y="2411941"/>
            <a:ext cx="665181" cy="358756"/>
          </a:xfrm>
          <a:prstGeom prst="roundRect">
            <a:avLst/>
          </a:prstGeom>
          <a:noFill/>
          <a:ln>
            <a:solidFill>
              <a:schemeClr val="bg1"/>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800">
                <a:solidFill>
                  <a:srgbClr val="646569"/>
                </a:solidFill>
                <a:cs typeface="Calibri" panose="020F0502020204030204" pitchFamily="34" charset="0"/>
              </a:rPr>
              <a:t>Complete administration </a:t>
            </a:r>
          </a:p>
        </p:txBody>
      </p:sp>
      <p:sp>
        <p:nvSpPr>
          <p:cNvPr id="32" name="TextBox 48">
            <a:extLst>
              <a:ext uri="{FF2B5EF4-FFF2-40B4-BE49-F238E27FC236}">
                <a16:creationId xmlns:a16="http://schemas.microsoft.com/office/drawing/2014/main" id="{F21C13BB-D65B-A64F-A6B7-58CB766A1BC2}"/>
              </a:ext>
            </a:extLst>
          </p:cNvPr>
          <p:cNvSpPr txBox="1">
            <a:spLocks/>
          </p:cNvSpPr>
          <p:nvPr/>
        </p:nvSpPr>
        <p:spPr>
          <a:xfrm>
            <a:off x="5465382" y="2411941"/>
            <a:ext cx="665181" cy="358756"/>
          </a:xfrm>
          <a:prstGeom prst="roundRect">
            <a:avLst/>
          </a:prstGeom>
          <a:noFill/>
          <a:ln>
            <a:solidFill>
              <a:schemeClr val="bg1"/>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800">
                <a:solidFill>
                  <a:srgbClr val="646569"/>
                </a:solidFill>
                <a:cs typeface="Calibri" panose="020F0502020204030204" pitchFamily="34" charset="0"/>
              </a:rPr>
              <a:t>Advance the science</a:t>
            </a:r>
          </a:p>
        </p:txBody>
      </p:sp>
      <p:sp>
        <p:nvSpPr>
          <p:cNvPr id="33" name="Rectangle 32">
            <a:extLst>
              <a:ext uri="{FF2B5EF4-FFF2-40B4-BE49-F238E27FC236}">
                <a16:creationId xmlns:a16="http://schemas.microsoft.com/office/drawing/2014/main" id="{9E0D2524-AC62-8F43-B6B3-A59A6AA2D65B}"/>
              </a:ext>
            </a:extLst>
          </p:cNvPr>
          <p:cNvSpPr/>
          <p:nvPr/>
        </p:nvSpPr>
        <p:spPr>
          <a:xfrm>
            <a:off x="1823619" y="2834831"/>
            <a:ext cx="4381391" cy="594025"/>
          </a:xfrm>
          <a:prstGeom prst="rect">
            <a:avLst/>
          </a:prstGeom>
          <a:noFill/>
          <a:ln w="9525" cap="flat" cmpd="sng" algn="ctr">
            <a:noFill/>
            <a:prstDash val="solid"/>
          </a:ln>
          <a:effectLst/>
        </p:spPr>
        <p:txBody>
          <a:bodyPr lIns="72000" tIns="36000" rIns="72000" bIns="72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646569"/>
                </a:solidFill>
                <a:effectLst/>
                <a:uLnTx/>
                <a:uFillTx/>
              </a:rPr>
              <a:t>Customer Understanding</a:t>
            </a:r>
          </a:p>
        </p:txBody>
      </p:sp>
      <p:grpSp>
        <p:nvGrpSpPr>
          <p:cNvPr id="34" name="Group 33">
            <a:extLst>
              <a:ext uri="{FF2B5EF4-FFF2-40B4-BE49-F238E27FC236}">
                <a16:creationId xmlns:a16="http://schemas.microsoft.com/office/drawing/2014/main" id="{0DAE5979-344B-BE4F-88C1-185B11866B20}"/>
              </a:ext>
            </a:extLst>
          </p:cNvPr>
          <p:cNvGrpSpPr/>
          <p:nvPr/>
        </p:nvGrpSpPr>
        <p:grpSpPr>
          <a:xfrm>
            <a:off x="1893410" y="3143489"/>
            <a:ext cx="4237153" cy="266959"/>
            <a:chOff x="2811719" y="3192475"/>
            <a:chExt cx="4209695" cy="266959"/>
          </a:xfrm>
        </p:grpSpPr>
        <p:sp>
          <p:nvSpPr>
            <p:cNvPr id="35" name="Rounded Rectangle 34">
              <a:extLst>
                <a:ext uri="{FF2B5EF4-FFF2-40B4-BE49-F238E27FC236}">
                  <a16:creationId xmlns:a16="http://schemas.microsoft.com/office/drawing/2014/main" id="{75065158-6D03-5848-90DA-FD915EE0E3B2}"/>
                </a:ext>
              </a:extLst>
            </p:cNvPr>
            <p:cNvSpPr/>
            <p:nvPr/>
          </p:nvSpPr>
          <p:spPr>
            <a:xfrm>
              <a:off x="2811719" y="3192475"/>
              <a:ext cx="968579" cy="266959"/>
            </a:xfrm>
            <a:prstGeom prst="roundRect">
              <a:avLst/>
            </a:prstGeom>
            <a:solidFill>
              <a:srgbClr val="FFFFFF">
                <a:alpha val="81961"/>
              </a:srgbClr>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white">
                      <a:lumMod val="50000"/>
                    </a:prstClr>
                  </a:solidFill>
                  <a:effectLst/>
                  <a:uLnTx/>
                  <a:uFillTx/>
                </a:rPr>
                <a:t>S</a:t>
              </a:r>
              <a:r>
                <a:rPr kumimoji="0" lang="en-GB" sz="900" b="0" i="0" u="none" strike="noStrike" kern="0" cap="none" spc="0" normalizeH="0" baseline="0" noProof="0" err="1">
                  <a:ln>
                    <a:noFill/>
                  </a:ln>
                  <a:solidFill>
                    <a:prstClr val="white">
                      <a:lumMod val="50000"/>
                    </a:prstClr>
                  </a:solidFill>
                  <a:effectLst/>
                  <a:uLnTx/>
                  <a:uFillTx/>
                </a:rPr>
                <a:t>egments</a:t>
              </a:r>
              <a:r>
                <a:rPr kumimoji="0" lang="en-GB" sz="900" b="0" i="0" u="none" strike="noStrike" kern="0" cap="none" spc="0" normalizeH="0" baseline="0" noProof="0">
                  <a:ln>
                    <a:noFill/>
                  </a:ln>
                  <a:solidFill>
                    <a:prstClr val="white">
                      <a:lumMod val="50000"/>
                    </a:prstClr>
                  </a:solidFill>
                  <a:effectLst/>
                  <a:uLnTx/>
                  <a:uFillTx/>
                </a:rPr>
                <a:t> / personas</a:t>
              </a:r>
            </a:p>
          </p:txBody>
        </p:sp>
        <p:sp>
          <p:nvSpPr>
            <p:cNvPr id="36" name="Rounded Rectangle 35">
              <a:extLst>
                <a:ext uri="{FF2B5EF4-FFF2-40B4-BE49-F238E27FC236}">
                  <a16:creationId xmlns:a16="http://schemas.microsoft.com/office/drawing/2014/main" id="{6F31AC11-4690-2A4D-91D6-E3043BF23D85}"/>
                </a:ext>
              </a:extLst>
            </p:cNvPr>
            <p:cNvSpPr/>
            <p:nvPr/>
          </p:nvSpPr>
          <p:spPr>
            <a:xfrm>
              <a:off x="3892090" y="3192475"/>
              <a:ext cx="968579" cy="266959"/>
            </a:xfrm>
            <a:prstGeom prst="roundRect">
              <a:avLst/>
            </a:prstGeom>
            <a:solidFill>
              <a:srgbClr val="FFFFFF">
                <a:alpha val="81961"/>
              </a:srgbClr>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white">
                      <a:lumMod val="50000"/>
                    </a:prstClr>
                  </a:solidFill>
                  <a:effectLst/>
                  <a:uLnTx/>
                  <a:uFillTx/>
                </a:rPr>
                <a:t>As-is Journeys</a:t>
              </a:r>
            </a:p>
          </p:txBody>
        </p:sp>
        <p:sp>
          <p:nvSpPr>
            <p:cNvPr id="37" name="Rounded Rectangle 36">
              <a:extLst>
                <a:ext uri="{FF2B5EF4-FFF2-40B4-BE49-F238E27FC236}">
                  <a16:creationId xmlns:a16="http://schemas.microsoft.com/office/drawing/2014/main" id="{BC4CA66E-5305-594F-88D3-571412ABE542}"/>
                </a:ext>
              </a:extLst>
            </p:cNvPr>
            <p:cNvSpPr/>
            <p:nvPr/>
          </p:nvSpPr>
          <p:spPr>
            <a:xfrm>
              <a:off x="4972462" y="3192475"/>
              <a:ext cx="968579" cy="266959"/>
            </a:xfrm>
            <a:prstGeom prst="roundRect">
              <a:avLst/>
            </a:prstGeom>
            <a:solidFill>
              <a:srgbClr val="FFFFFF">
                <a:alpha val="81961"/>
              </a:srgbClr>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white">
                      <a:lumMod val="50000"/>
                    </a:prstClr>
                  </a:solidFill>
                  <a:effectLst/>
                  <a:uLnTx/>
                  <a:uFillTx/>
                </a:rPr>
                <a:t>Pain Points</a:t>
              </a:r>
            </a:p>
          </p:txBody>
        </p:sp>
        <p:sp>
          <p:nvSpPr>
            <p:cNvPr id="38" name="Rounded Rectangle 37">
              <a:extLst>
                <a:ext uri="{FF2B5EF4-FFF2-40B4-BE49-F238E27FC236}">
                  <a16:creationId xmlns:a16="http://schemas.microsoft.com/office/drawing/2014/main" id="{01E606B3-898C-0246-93E7-998BAF6D4D2F}"/>
                </a:ext>
              </a:extLst>
            </p:cNvPr>
            <p:cNvSpPr/>
            <p:nvPr/>
          </p:nvSpPr>
          <p:spPr>
            <a:xfrm>
              <a:off x="6052835" y="3192475"/>
              <a:ext cx="968579" cy="266959"/>
            </a:xfrm>
            <a:prstGeom prst="roundRect">
              <a:avLst/>
            </a:prstGeom>
            <a:solidFill>
              <a:srgbClr val="FFFFFF">
                <a:alpha val="81961"/>
              </a:srgbClr>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white">
                      <a:lumMod val="50000"/>
                    </a:prstClr>
                  </a:solidFill>
                  <a:effectLst/>
                  <a:uLnTx/>
                  <a:uFillTx/>
                </a:rPr>
                <a:t>Signature Moments</a:t>
              </a:r>
            </a:p>
          </p:txBody>
        </p:sp>
      </p:grpSp>
      <p:sp>
        <p:nvSpPr>
          <p:cNvPr id="39" name="Rectangle 38">
            <a:extLst>
              <a:ext uri="{FF2B5EF4-FFF2-40B4-BE49-F238E27FC236}">
                <a16:creationId xmlns:a16="http://schemas.microsoft.com/office/drawing/2014/main" id="{5AF954EF-D92E-7E4F-B0FD-51D155A51D2C}"/>
              </a:ext>
            </a:extLst>
          </p:cNvPr>
          <p:cNvSpPr/>
          <p:nvPr/>
        </p:nvSpPr>
        <p:spPr>
          <a:xfrm>
            <a:off x="6430171" y="1853624"/>
            <a:ext cx="4525903" cy="1729987"/>
          </a:xfrm>
          <a:prstGeom prst="rect">
            <a:avLst/>
          </a:prstGeom>
          <a:solidFill>
            <a:srgbClr val="4F86A0">
              <a:lumMod val="20000"/>
              <a:lumOff val="80000"/>
            </a:srgbClr>
          </a:solidFill>
          <a:ln w="9525" cap="flat" cmpd="sng" algn="ctr">
            <a:noFill/>
            <a:prstDash val="solid"/>
          </a:ln>
          <a:effectLst/>
        </p:spPr>
        <p:txBody>
          <a:bodyPr lIns="72000" tIns="36000" rIns="72000" bIns="72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646569"/>
                </a:solidFill>
                <a:effectLst/>
                <a:uLnTx/>
                <a:uFillTx/>
              </a:rPr>
              <a:t>Brand Insights</a:t>
            </a:r>
          </a:p>
        </p:txBody>
      </p:sp>
      <p:sp>
        <p:nvSpPr>
          <p:cNvPr id="40" name="Rectangle 39">
            <a:extLst>
              <a:ext uri="{FF2B5EF4-FFF2-40B4-BE49-F238E27FC236}">
                <a16:creationId xmlns:a16="http://schemas.microsoft.com/office/drawing/2014/main" id="{29F93371-E19D-9240-9803-38F2AC6EF211}"/>
              </a:ext>
            </a:extLst>
          </p:cNvPr>
          <p:cNvSpPr/>
          <p:nvPr/>
        </p:nvSpPr>
        <p:spPr>
          <a:xfrm>
            <a:off x="6494179" y="2905697"/>
            <a:ext cx="812225" cy="415911"/>
          </a:xfrm>
          <a:prstGeom prst="rect">
            <a:avLst/>
          </a:prstGeom>
          <a:noFill/>
          <a:ln w="9525" cap="flat" cmpd="sng" algn="ctr">
            <a:noFill/>
            <a:prstDash val="solid"/>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646569"/>
                </a:solidFill>
                <a:effectLst/>
                <a:uLnTx/>
                <a:uFillTx/>
              </a:rPr>
              <a:t>Business Issue e.g.</a:t>
            </a:r>
          </a:p>
        </p:txBody>
      </p:sp>
      <p:sp>
        <p:nvSpPr>
          <p:cNvPr id="41" name="Rectangle 40">
            <a:extLst>
              <a:ext uri="{FF2B5EF4-FFF2-40B4-BE49-F238E27FC236}">
                <a16:creationId xmlns:a16="http://schemas.microsoft.com/office/drawing/2014/main" id="{CFFCCAC1-CAD8-BF45-A75A-B4EAD04026C5}"/>
              </a:ext>
            </a:extLst>
          </p:cNvPr>
          <p:cNvSpPr/>
          <p:nvPr/>
        </p:nvSpPr>
        <p:spPr>
          <a:xfrm>
            <a:off x="6463891" y="2319134"/>
            <a:ext cx="4415101" cy="415911"/>
          </a:xfrm>
          <a:prstGeom prst="rect">
            <a:avLst/>
          </a:prstGeom>
          <a:noFill/>
          <a:ln w="9525" cap="flat" cmpd="sng" algn="ctr">
            <a:noFill/>
            <a:prstDash val="solid"/>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646569"/>
                </a:solidFill>
                <a:effectLst/>
                <a:uLnTx/>
                <a:uFillTx/>
              </a:rPr>
              <a:t>Market Insights</a:t>
            </a:r>
          </a:p>
        </p:txBody>
      </p:sp>
      <p:grpSp>
        <p:nvGrpSpPr>
          <p:cNvPr id="42" name="Group 41">
            <a:extLst>
              <a:ext uri="{FF2B5EF4-FFF2-40B4-BE49-F238E27FC236}">
                <a16:creationId xmlns:a16="http://schemas.microsoft.com/office/drawing/2014/main" id="{07C478D6-9CF1-9B47-A320-787E76DD0C03}"/>
              </a:ext>
            </a:extLst>
          </p:cNvPr>
          <p:cNvGrpSpPr/>
          <p:nvPr/>
        </p:nvGrpSpPr>
        <p:grpSpPr>
          <a:xfrm>
            <a:off x="7494857" y="2381418"/>
            <a:ext cx="3287124" cy="266959"/>
            <a:chOff x="9034369" y="2235706"/>
            <a:chExt cx="1372986" cy="266959"/>
          </a:xfrm>
        </p:grpSpPr>
        <p:sp>
          <p:nvSpPr>
            <p:cNvPr id="43" name="Rounded Rectangle 42">
              <a:extLst>
                <a:ext uri="{FF2B5EF4-FFF2-40B4-BE49-F238E27FC236}">
                  <a16:creationId xmlns:a16="http://schemas.microsoft.com/office/drawing/2014/main" id="{6237AB1A-CC1B-AC4C-A5A6-B77CEE04A632}"/>
                </a:ext>
              </a:extLst>
            </p:cNvPr>
            <p:cNvSpPr/>
            <p:nvPr/>
          </p:nvSpPr>
          <p:spPr>
            <a:xfrm>
              <a:off x="9034369" y="2235706"/>
              <a:ext cx="665181" cy="266959"/>
            </a:xfrm>
            <a:prstGeom prst="roundRect">
              <a:avLst/>
            </a:prstGeom>
            <a:solidFill>
              <a:srgbClr val="FFFFFF">
                <a:alpha val="81961"/>
              </a:srgbClr>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646569"/>
                  </a:solidFill>
                  <a:effectLst/>
                  <a:uLnTx/>
                  <a:uFillTx/>
                </a:rPr>
                <a:t>Product Lifecycle</a:t>
              </a:r>
            </a:p>
          </p:txBody>
        </p:sp>
        <p:sp>
          <p:nvSpPr>
            <p:cNvPr id="44" name="Rounded Rectangle 43">
              <a:extLst>
                <a:ext uri="{FF2B5EF4-FFF2-40B4-BE49-F238E27FC236}">
                  <a16:creationId xmlns:a16="http://schemas.microsoft.com/office/drawing/2014/main" id="{409E7053-3685-BF42-8D50-8C07D3E20F62}"/>
                </a:ext>
              </a:extLst>
            </p:cNvPr>
            <p:cNvSpPr/>
            <p:nvPr/>
          </p:nvSpPr>
          <p:spPr>
            <a:xfrm>
              <a:off x="9742174" y="2235706"/>
              <a:ext cx="665181" cy="266959"/>
            </a:xfrm>
            <a:prstGeom prst="roundRect">
              <a:avLst/>
            </a:prstGeom>
            <a:solidFill>
              <a:srgbClr val="FFFFFF">
                <a:alpha val="81961"/>
              </a:srgbClr>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646569"/>
                  </a:solidFill>
                  <a:effectLst/>
                  <a:uLnTx/>
                  <a:uFillTx/>
                </a:rPr>
                <a:t>Competitive Positioning</a:t>
              </a:r>
            </a:p>
          </p:txBody>
        </p:sp>
      </p:grpSp>
      <p:grpSp>
        <p:nvGrpSpPr>
          <p:cNvPr id="45" name="Group 44">
            <a:extLst>
              <a:ext uri="{FF2B5EF4-FFF2-40B4-BE49-F238E27FC236}">
                <a16:creationId xmlns:a16="http://schemas.microsoft.com/office/drawing/2014/main" id="{38E1807C-3023-C246-9B3E-3EEA19751E2D}"/>
              </a:ext>
            </a:extLst>
          </p:cNvPr>
          <p:cNvGrpSpPr/>
          <p:nvPr/>
        </p:nvGrpSpPr>
        <p:grpSpPr>
          <a:xfrm>
            <a:off x="7387270" y="2903108"/>
            <a:ext cx="3457650" cy="370193"/>
            <a:chOff x="8126616" y="2673345"/>
            <a:chExt cx="3553697" cy="370193"/>
          </a:xfrm>
          <a:noFill/>
        </p:grpSpPr>
        <p:sp>
          <p:nvSpPr>
            <p:cNvPr id="46" name="Rectangle 45">
              <a:extLst>
                <a:ext uri="{FF2B5EF4-FFF2-40B4-BE49-F238E27FC236}">
                  <a16:creationId xmlns:a16="http://schemas.microsoft.com/office/drawing/2014/main" id="{5B41EE04-46AD-3E43-ADB5-88F83D8D6A6A}"/>
                </a:ext>
              </a:extLst>
            </p:cNvPr>
            <p:cNvSpPr/>
            <p:nvPr/>
          </p:nvSpPr>
          <p:spPr>
            <a:xfrm>
              <a:off x="8126616" y="2673345"/>
              <a:ext cx="680396" cy="370193"/>
            </a:xfrm>
            <a:prstGeom prst="rect">
              <a:avLst/>
            </a:prstGeom>
            <a:grpFill/>
            <a:ln w="3175" cap="flat" cmpd="sng" algn="ctr">
              <a:solidFill>
                <a:schemeClr val="bg1"/>
              </a:solidFill>
              <a:prstDash val="solid"/>
            </a:ln>
            <a:effectLst/>
          </p:spPr>
          <p:txBody>
            <a:bodyPr lIns="0" rIns="0" rtlCol="0" anchor="ctr"/>
            <a:lstStyle/>
            <a:p>
              <a:pPr algn="ctr"/>
              <a:r>
                <a:rPr lang="en-GB" sz="800" kern="0">
                  <a:solidFill>
                    <a:srgbClr val="646569"/>
                  </a:solidFill>
                </a:rPr>
                <a:t>Drive awareness</a:t>
              </a:r>
            </a:p>
          </p:txBody>
        </p:sp>
        <p:sp>
          <p:nvSpPr>
            <p:cNvPr id="47" name="Rectangle 46">
              <a:extLst>
                <a:ext uri="{FF2B5EF4-FFF2-40B4-BE49-F238E27FC236}">
                  <a16:creationId xmlns:a16="http://schemas.microsoft.com/office/drawing/2014/main" id="{2BA03E11-3285-AD44-B7A0-F7F8177775AC}"/>
                </a:ext>
              </a:extLst>
            </p:cNvPr>
            <p:cNvSpPr/>
            <p:nvPr/>
          </p:nvSpPr>
          <p:spPr>
            <a:xfrm>
              <a:off x="8856147" y="2673345"/>
              <a:ext cx="680396" cy="370193"/>
            </a:xfrm>
            <a:prstGeom prst="rect">
              <a:avLst/>
            </a:prstGeom>
            <a:grpFill/>
            <a:ln w="3175" cap="flat" cmpd="sng" algn="ctr">
              <a:solidFill>
                <a:schemeClr val="bg1"/>
              </a:solidFill>
              <a:prstDash val="solid"/>
            </a:ln>
            <a:effectLst/>
          </p:spPr>
          <p:txBody>
            <a:bodyPr lIns="0" rIns="0" rtlCol="0" anchor="ctr"/>
            <a:lstStyle/>
            <a:p>
              <a:pPr algn="ctr"/>
              <a:r>
                <a:rPr lang="en-GB" sz="800" kern="0">
                  <a:solidFill>
                    <a:srgbClr val="646569"/>
                  </a:solidFill>
                </a:rPr>
                <a:t>Convince &amp; Differentiate</a:t>
              </a:r>
            </a:p>
          </p:txBody>
        </p:sp>
        <p:sp>
          <p:nvSpPr>
            <p:cNvPr id="48" name="Rectangle 47">
              <a:extLst>
                <a:ext uri="{FF2B5EF4-FFF2-40B4-BE49-F238E27FC236}">
                  <a16:creationId xmlns:a16="http://schemas.microsoft.com/office/drawing/2014/main" id="{9AA7318B-58DE-E04D-B2F2-C2B023DCAF3B}"/>
                </a:ext>
              </a:extLst>
            </p:cNvPr>
            <p:cNvSpPr/>
            <p:nvPr/>
          </p:nvSpPr>
          <p:spPr>
            <a:xfrm>
              <a:off x="9572111" y="2673345"/>
              <a:ext cx="680396" cy="370193"/>
            </a:xfrm>
            <a:prstGeom prst="rect">
              <a:avLst/>
            </a:prstGeom>
            <a:grpFill/>
            <a:ln w="3175" cap="flat" cmpd="sng" algn="ctr">
              <a:solidFill>
                <a:schemeClr val="bg1"/>
              </a:solidFill>
              <a:prstDash val="solid"/>
            </a:ln>
            <a:effectLst/>
          </p:spPr>
          <p:txBody>
            <a:bodyPr lIns="0" rIns="0" rtlCol="0" anchor="ctr"/>
            <a:lstStyle/>
            <a:p>
              <a:pPr algn="ctr"/>
              <a:r>
                <a:rPr lang="en-GB" sz="800" kern="0">
                  <a:solidFill>
                    <a:srgbClr val="646569"/>
                  </a:solidFill>
                </a:rPr>
                <a:t>Reinforce differentiation </a:t>
              </a:r>
            </a:p>
          </p:txBody>
        </p:sp>
        <p:sp>
          <p:nvSpPr>
            <p:cNvPr id="49" name="Rectangle 48">
              <a:extLst>
                <a:ext uri="{FF2B5EF4-FFF2-40B4-BE49-F238E27FC236}">
                  <a16:creationId xmlns:a16="http://schemas.microsoft.com/office/drawing/2014/main" id="{0ADC43E3-2FC7-2940-B5AC-CFCB562563DE}"/>
                </a:ext>
              </a:extLst>
            </p:cNvPr>
            <p:cNvSpPr/>
            <p:nvPr/>
          </p:nvSpPr>
          <p:spPr>
            <a:xfrm>
              <a:off x="10294484" y="2673345"/>
              <a:ext cx="680396" cy="370193"/>
            </a:xfrm>
            <a:prstGeom prst="rect">
              <a:avLst/>
            </a:prstGeom>
            <a:grpFill/>
            <a:ln w="3175" cap="flat" cmpd="sng" algn="ctr">
              <a:solidFill>
                <a:schemeClr val="bg1"/>
              </a:solidFill>
              <a:prstDash val="solid"/>
            </a:ln>
            <a:effectLst/>
          </p:spPr>
          <p:txBody>
            <a:bodyPr lIns="0" rIns="0" rtlCol="0" anchor="ctr"/>
            <a:lstStyle/>
            <a:p>
              <a:pPr algn="ctr"/>
              <a:r>
                <a:rPr lang="en-GB" sz="800" kern="0">
                  <a:solidFill>
                    <a:srgbClr val="646569"/>
                  </a:solidFill>
                </a:rPr>
                <a:t>Build trusted relationships</a:t>
              </a:r>
            </a:p>
          </p:txBody>
        </p:sp>
        <p:sp>
          <p:nvSpPr>
            <p:cNvPr id="50" name="Rectangle 49">
              <a:extLst>
                <a:ext uri="{FF2B5EF4-FFF2-40B4-BE49-F238E27FC236}">
                  <a16:creationId xmlns:a16="http://schemas.microsoft.com/office/drawing/2014/main" id="{D490629E-F955-C047-872F-48CED0F9A590}"/>
                </a:ext>
              </a:extLst>
            </p:cNvPr>
            <p:cNvSpPr/>
            <p:nvPr/>
          </p:nvSpPr>
          <p:spPr>
            <a:xfrm>
              <a:off x="10999917" y="2673345"/>
              <a:ext cx="680396" cy="370193"/>
            </a:xfrm>
            <a:prstGeom prst="rect">
              <a:avLst/>
            </a:prstGeom>
            <a:grpFill/>
            <a:ln w="3175" cap="flat" cmpd="sng" algn="ctr">
              <a:solidFill>
                <a:schemeClr val="bg1"/>
              </a:solidFill>
              <a:prstDash val="solid"/>
            </a:ln>
            <a:effectLst/>
          </p:spPr>
          <p:txBody>
            <a:bodyPr lIns="0" rIns="0" rtlCol="0" anchor="ctr"/>
            <a:lstStyle/>
            <a:p>
              <a:pPr algn="ctr"/>
              <a:r>
                <a:rPr lang="en-GB" sz="800" kern="0">
                  <a:solidFill>
                    <a:srgbClr val="646569"/>
                  </a:solidFill>
                </a:rPr>
                <a:t>Drive   advocacy</a:t>
              </a:r>
            </a:p>
          </p:txBody>
        </p:sp>
      </p:grpSp>
      <p:sp>
        <p:nvSpPr>
          <p:cNvPr id="51" name="Left Bracket 50">
            <a:extLst>
              <a:ext uri="{FF2B5EF4-FFF2-40B4-BE49-F238E27FC236}">
                <a16:creationId xmlns:a16="http://schemas.microsoft.com/office/drawing/2014/main" id="{33979EFE-4453-0747-BBEC-EAFFB8AF1D7A}"/>
              </a:ext>
            </a:extLst>
          </p:cNvPr>
          <p:cNvSpPr/>
          <p:nvPr/>
        </p:nvSpPr>
        <p:spPr>
          <a:xfrm>
            <a:off x="1514930" y="1962815"/>
            <a:ext cx="52187" cy="1519828"/>
          </a:xfrm>
          <a:prstGeom prst="leftBracket">
            <a:avLst/>
          </a:prstGeom>
          <a:noFill/>
          <a:ln w="6350" cap="flat" cmpd="sng" algn="ctr">
            <a:solidFill>
              <a:srgbClr val="646569"/>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569"/>
              </a:solidFill>
              <a:effectLst/>
              <a:uLnTx/>
              <a:uFillTx/>
              <a:latin typeface="Calibri"/>
              <a:ea typeface="+mn-ea"/>
              <a:cs typeface="+mn-cs"/>
            </a:endParaRPr>
          </a:p>
        </p:txBody>
      </p:sp>
      <p:sp>
        <p:nvSpPr>
          <p:cNvPr id="52" name="Rectangle 51">
            <a:extLst>
              <a:ext uri="{FF2B5EF4-FFF2-40B4-BE49-F238E27FC236}">
                <a16:creationId xmlns:a16="http://schemas.microsoft.com/office/drawing/2014/main" id="{57C135FA-9845-5844-BAEE-CDB219222C7B}"/>
              </a:ext>
            </a:extLst>
          </p:cNvPr>
          <p:cNvSpPr/>
          <p:nvPr/>
        </p:nvSpPr>
        <p:spPr>
          <a:xfrm rot="16200000">
            <a:off x="470704" y="2585221"/>
            <a:ext cx="1741751" cy="239576"/>
          </a:xfrm>
          <a:prstGeom prst="rect">
            <a:avLst/>
          </a:prstGeom>
          <a:noFill/>
          <a:ln w="9525" cap="flat" cmpd="sng" algn="ctr">
            <a:noFill/>
            <a:prstDash val="solid"/>
          </a:ln>
          <a:effectLst/>
        </p:spPr>
        <p:txBody>
          <a:bodyPr lIns="72000" tIns="72000" rIns="72000" bIns="72000" rtlCol="0" anchor="ct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Insights</a:t>
            </a:r>
          </a:p>
        </p:txBody>
      </p:sp>
      <p:sp>
        <p:nvSpPr>
          <p:cNvPr id="53" name="Left Bracket 52">
            <a:extLst>
              <a:ext uri="{FF2B5EF4-FFF2-40B4-BE49-F238E27FC236}">
                <a16:creationId xmlns:a16="http://schemas.microsoft.com/office/drawing/2014/main" id="{E1668627-61FF-6C48-9E16-42E9185E71B6}"/>
              </a:ext>
            </a:extLst>
          </p:cNvPr>
          <p:cNvSpPr/>
          <p:nvPr/>
        </p:nvSpPr>
        <p:spPr>
          <a:xfrm>
            <a:off x="1504650" y="4384644"/>
            <a:ext cx="49191" cy="1788032"/>
          </a:xfrm>
          <a:prstGeom prst="leftBracket">
            <a:avLst/>
          </a:prstGeom>
          <a:noFill/>
          <a:ln w="6350" cap="flat" cmpd="sng" algn="ctr">
            <a:solidFill>
              <a:srgbClr val="646569"/>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569"/>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A1673623-1E48-B149-8020-258283DD952B}"/>
              </a:ext>
            </a:extLst>
          </p:cNvPr>
          <p:cNvSpPr/>
          <p:nvPr/>
        </p:nvSpPr>
        <p:spPr>
          <a:xfrm rot="16200000">
            <a:off x="470704" y="5216057"/>
            <a:ext cx="1741751" cy="239576"/>
          </a:xfrm>
          <a:prstGeom prst="rect">
            <a:avLst/>
          </a:prstGeom>
          <a:noFill/>
          <a:ln w="9525" cap="flat" cmpd="sng" algn="ctr">
            <a:noFill/>
            <a:prstDash val="solid"/>
          </a:ln>
          <a:effectLst/>
        </p:spPr>
        <p:txBody>
          <a:bodyPr lIns="72000" tIns="72000" rIns="72000" bIns="72000" rtlCol="0" anchor="ct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 Planning</a:t>
            </a:r>
          </a:p>
        </p:txBody>
      </p:sp>
      <p:sp>
        <p:nvSpPr>
          <p:cNvPr id="55" name="Rectangle 54">
            <a:extLst>
              <a:ext uri="{FF2B5EF4-FFF2-40B4-BE49-F238E27FC236}">
                <a16:creationId xmlns:a16="http://schemas.microsoft.com/office/drawing/2014/main" id="{BB91DC7E-C548-4449-A721-6EDB7AEA782E}"/>
              </a:ext>
            </a:extLst>
          </p:cNvPr>
          <p:cNvSpPr/>
          <p:nvPr/>
        </p:nvSpPr>
        <p:spPr>
          <a:xfrm rot="16200000">
            <a:off x="795921" y="3900639"/>
            <a:ext cx="1091317" cy="239576"/>
          </a:xfrm>
          <a:prstGeom prst="rect">
            <a:avLst/>
          </a:prstGeom>
          <a:noFill/>
          <a:ln w="9525" cap="flat" cmpd="sng" algn="ctr">
            <a:noFill/>
            <a:prstDash val="solid"/>
          </a:ln>
          <a:effectLst/>
        </p:spPr>
        <p:txBody>
          <a:bodyPr lIns="72000" tIns="72000" rIns="72000" bIns="72000" rtlCol="0" anchor="ct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646569"/>
                </a:solidFill>
                <a:effectLst/>
                <a:uLnTx/>
                <a:uFillTx/>
              </a:rPr>
              <a:t> Strategy</a:t>
            </a:r>
          </a:p>
        </p:txBody>
      </p:sp>
      <p:sp>
        <p:nvSpPr>
          <p:cNvPr id="56" name="Left Bracket 55">
            <a:extLst>
              <a:ext uri="{FF2B5EF4-FFF2-40B4-BE49-F238E27FC236}">
                <a16:creationId xmlns:a16="http://schemas.microsoft.com/office/drawing/2014/main" id="{E4DF8ED9-2DC9-E04A-8976-A42D0DC5EF26}"/>
              </a:ext>
            </a:extLst>
          </p:cNvPr>
          <p:cNvSpPr/>
          <p:nvPr/>
        </p:nvSpPr>
        <p:spPr>
          <a:xfrm>
            <a:off x="1504650" y="3780032"/>
            <a:ext cx="49191" cy="461183"/>
          </a:xfrm>
          <a:prstGeom prst="leftBracket">
            <a:avLst/>
          </a:prstGeom>
          <a:noFill/>
          <a:ln w="6350" cap="flat" cmpd="sng" algn="ctr">
            <a:solidFill>
              <a:srgbClr val="646569"/>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569"/>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AF180C20-5737-F94C-BD83-003A08126797}"/>
              </a:ext>
            </a:extLst>
          </p:cNvPr>
          <p:cNvSpPr txBox="1"/>
          <p:nvPr/>
        </p:nvSpPr>
        <p:spPr>
          <a:xfrm rot="16200000">
            <a:off x="-1223963" y="3976048"/>
            <a:ext cx="4093350" cy="268984"/>
          </a:xfrm>
          <a:prstGeom prst="rect">
            <a:avLst/>
          </a:prstGeom>
          <a:noFill/>
        </p:spPr>
        <p:txBody>
          <a:bodyPr wrap="square" rtlCol="0">
            <a:spAutoFit/>
          </a:bodyPr>
          <a:lstStyle/>
          <a:p>
            <a:pPr marL="0" marR="0" lvl="0" indent="0" algn="ctr" defTabSz="914400" eaLnBrk="1" fontAlgn="auto" latinLnBrk="0" hangingPunct="1">
              <a:lnSpc>
                <a:spcPct val="80000"/>
              </a:lnSpc>
              <a:spcBef>
                <a:spcPts val="1200"/>
              </a:spcBef>
              <a:spcAft>
                <a:spcPts val="0"/>
              </a:spcAft>
              <a:buClr>
                <a:srgbClr val="FF9E16"/>
              </a:buClr>
              <a:buSzTx/>
              <a:buFontTx/>
              <a:buNone/>
              <a:tabLst/>
              <a:defRPr/>
            </a:pPr>
            <a:r>
              <a:rPr lang="en-US" sz="1400" i="1" kern="0">
                <a:solidFill>
                  <a:schemeClr val="bg1">
                    <a:lumMod val="65000"/>
                  </a:schemeClr>
                </a:solidFill>
              </a:rPr>
              <a:t>Customer Engagement Design</a:t>
            </a:r>
            <a:endParaRPr kumimoji="0" lang="en-US" sz="1400" b="0" i="1" u="none" strike="noStrike" kern="0" cap="none" spc="0" normalizeH="0" baseline="0" noProof="0">
              <a:ln>
                <a:noFill/>
              </a:ln>
              <a:solidFill>
                <a:schemeClr val="bg1">
                  <a:lumMod val="65000"/>
                </a:schemeClr>
              </a:solidFill>
              <a:effectLst/>
              <a:uLnTx/>
              <a:uFillTx/>
            </a:endParaRPr>
          </a:p>
        </p:txBody>
      </p:sp>
      <p:sp>
        <p:nvSpPr>
          <p:cNvPr id="58" name="Rounded Rectangle 57">
            <a:extLst>
              <a:ext uri="{FF2B5EF4-FFF2-40B4-BE49-F238E27FC236}">
                <a16:creationId xmlns:a16="http://schemas.microsoft.com/office/drawing/2014/main" id="{B94106A1-812C-2946-A8C9-CF2688022571}"/>
              </a:ext>
            </a:extLst>
          </p:cNvPr>
          <p:cNvSpPr/>
          <p:nvPr/>
        </p:nvSpPr>
        <p:spPr>
          <a:xfrm>
            <a:off x="8044591" y="3837978"/>
            <a:ext cx="1144067" cy="266959"/>
          </a:xfrm>
          <a:prstGeom prst="roundRect">
            <a:avLst/>
          </a:prstGeom>
          <a:solidFill>
            <a:sysClr val="window" lastClr="FFFFFF"/>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white">
                    <a:lumMod val="50000"/>
                  </a:prstClr>
                </a:solidFill>
                <a:effectLst/>
                <a:uLnTx/>
                <a:uFillTx/>
              </a:rPr>
              <a:t>Brand Plan</a:t>
            </a:r>
          </a:p>
        </p:txBody>
      </p:sp>
      <p:sp>
        <p:nvSpPr>
          <p:cNvPr id="59" name="Oval 58">
            <a:extLst>
              <a:ext uri="{FF2B5EF4-FFF2-40B4-BE49-F238E27FC236}">
                <a16:creationId xmlns:a16="http://schemas.microsoft.com/office/drawing/2014/main" id="{5E4D319E-0073-1C43-BBCA-93DEB09ADEF2}"/>
              </a:ext>
            </a:extLst>
          </p:cNvPr>
          <p:cNvSpPr/>
          <p:nvPr/>
        </p:nvSpPr>
        <p:spPr>
          <a:xfrm>
            <a:off x="3160546" y="5041780"/>
            <a:ext cx="524724" cy="529567"/>
          </a:xfrm>
          <a:prstGeom prst="ellipse">
            <a:avLst/>
          </a:prstGeom>
          <a:solidFill>
            <a:srgbClr val="FFFFFF"/>
          </a:solidFill>
          <a:ln w="9525" cap="flat" cmpd="sng" algn="ctr">
            <a:solidFill>
              <a:srgbClr val="FFFFFF">
                <a:lumMod val="85000"/>
              </a:srgbClr>
            </a:solidFill>
            <a:prstDash val="solid"/>
          </a:ln>
          <a:effectLst/>
        </p:spPr>
        <p:txBody>
          <a:bodyPr lIns="72000" tIns="72000" rIns="72000" bIns="72000" rtlCol="0" anchor="ctr"/>
          <a:lstStyle/>
          <a:p>
            <a:pPr algn="ctr" defTabSz="816152">
              <a:defRPr/>
            </a:pPr>
            <a:endParaRPr lang="en-US" sz="900" b="1" kern="0">
              <a:solidFill>
                <a:srgbClr val="FFFFFF"/>
              </a:solidFill>
              <a:latin typeface="Arial"/>
            </a:endParaRPr>
          </a:p>
        </p:txBody>
      </p:sp>
      <p:sp>
        <p:nvSpPr>
          <p:cNvPr id="60" name="Oval 59">
            <a:extLst>
              <a:ext uri="{FF2B5EF4-FFF2-40B4-BE49-F238E27FC236}">
                <a16:creationId xmlns:a16="http://schemas.microsoft.com/office/drawing/2014/main" id="{BA9992F9-655B-D54E-AF3D-239E9A0C61E4}"/>
              </a:ext>
            </a:extLst>
          </p:cNvPr>
          <p:cNvSpPr/>
          <p:nvPr/>
        </p:nvSpPr>
        <p:spPr>
          <a:xfrm>
            <a:off x="4244382" y="5047154"/>
            <a:ext cx="524724" cy="529567"/>
          </a:xfrm>
          <a:prstGeom prst="ellipse">
            <a:avLst/>
          </a:prstGeom>
          <a:solidFill>
            <a:srgbClr val="FFFFFF"/>
          </a:solidFill>
          <a:ln w="9525" cap="flat" cmpd="sng" algn="ctr">
            <a:solidFill>
              <a:srgbClr val="FFFFFF">
                <a:lumMod val="85000"/>
              </a:srgbClr>
            </a:solidFill>
            <a:prstDash val="solid"/>
          </a:ln>
          <a:effectLst/>
        </p:spPr>
        <p:txBody>
          <a:bodyPr lIns="72000" tIns="72000" rIns="72000" bIns="72000" rtlCol="0" anchor="ctr"/>
          <a:lstStyle/>
          <a:p>
            <a:pPr algn="ctr" defTabSz="816152">
              <a:defRPr/>
            </a:pPr>
            <a:endParaRPr lang="en-US" sz="900" b="1" kern="0">
              <a:solidFill>
                <a:srgbClr val="FFFFFF"/>
              </a:solidFill>
              <a:latin typeface="Arial"/>
            </a:endParaRPr>
          </a:p>
        </p:txBody>
      </p:sp>
      <p:sp>
        <p:nvSpPr>
          <p:cNvPr id="61" name="Oval 60">
            <a:extLst>
              <a:ext uri="{FF2B5EF4-FFF2-40B4-BE49-F238E27FC236}">
                <a16:creationId xmlns:a16="http://schemas.microsoft.com/office/drawing/2014/main" id="{C5528E4B-F5DC-5042-936F-0C5508181570}"/>
              </a:ext>
            </a:extLst>
          </p:cNvPr>
          <p:cNvSpPr/>
          <p:nvPr/>
        </p:nvSpPr>
        <p:spPr>
          <a:xfrm>
            <a:off x="2125140" y="5041758"/>
            <a:ext cx="524724" cy="529567"/>
          </a:xfrm>
          <a:prstGeom prst="ellipse">
            <a:avLst/>
          </a:prstGeom>
          <a:solidFill>
            <a:srgbClr val="FFFFFF"/>
          </a:solidFill>
          <a:ln w="9525" cap="flat" cmpd="sng" algn="ctr">
            <a:solidFill>
              <a:srgbClr val="FFFFFF">
                <a:lumMod val="85000"/>
              </a:srgbClr>
            </a:solidFill>
            <a:prstDash val="solid"/>
          </a:ln>
          <a:effectLst/>
        </p:spPr>
        <p:txBody>
          <a:bodyPr lIns="72000" tIns="72000" rIns="72000" bIns="72000" rtlCol="0" anchor="ctr"/>
          <a:lstStyle/>
          <a:p>
            <a:pPr algn="ctr" defTabSz="816152">
              <a:defRPr/>
            </a:pPr>
            <a:endParaRPr lang="en-US" sz="900" b="1" kern="0">
              <a:solidFill>
                <a:srgbClr val="FFFFFF"/>
              </a:solidFill>
              <a:latin typeface="Arial"/>
            </a:endParaRPr>
          </a:p>
        </p:txBody>
      </p:sp>
      <p:sp>
        <p:nvSpPr>
          <p:cNvPr id="62" name="Oval 61">
            <a:extLst>
              <a:ext uri="{FF2B5EF4-FFF2-40B4-BE49-F238E27FC236}">
                <a16:creationId xmlns:a16="http://schemas.microsoft.com/office/drawing/2014/main" id="{5322C44C-BF9F-7449-9EBF-3AF1CC8292F4}"/>
              </a:ext>
            </a:extLst>
          </p:cNvPr>
          <p:cNvSpPr/>
          <p:nvPr/>
        </p:nvSpPr>
        <p:spPr>
          <a:xfrm>
            <a:off x="7423130" y="5093008"/>
            <a:ext cx="524724" cy="529567"/>
          </a:xfrm>
          <a:prstGeom prst="ellipse">
            <a:avLst/>
          </a:prstGeom>
          <a:solidFill>
            <a:srgbClr val="FFFFFF"/>
          </a:solidFill>
          <a:ln w="9525" cap="flat" cmpd="sng" algn="ctr">
            <a:solidFill>
              <a:srgbClr val="FFFFFF">
                <a:lumMod val="85000"/>
              </a:srgbClr>
            </a:solidFill>
            <a:prstDash val="solid"/>
          </a:ln>
          <a:effectLst/>
        </p:spPr>
        <p:txBody>
          <a:bodyPr lIns="72000" tIns="72000" rIns="72000" bIns="72000" rtlCol="0" anchor="ctr"/>
          <a:lstStyle/>
          <a:p>
            <a:pPr algn="ctr" defTabSz="816152">
              <a:defRPr/>
            </a:pPr>
            <a:endParaRPr lang="en-US" sz="900" b="1" kern="0">
              <a:solidFill>
                <a:srgbClr val="FFFFFF"/>
              </a:solidFill>
              <a:latin typeface="Arial"/>
            </a:endParaRPr>
          </a:p>
        </p:txBody>
      </p:sp>
      <p:sp>
        <p:nvSpPr>
          <p:cNvPr id="63" name="Oval 62">
            <a:extLst>
              <a:ext uri="{FF2B5EF4-FFF2-40B4-BE49-F238E27FC236}">
                <a16:creationId xmlns:a16="http://schemas.microsoft.com/office/drawing/2014/main" id="{9CCECB29-C35B-9043-89FF-E0192285FCA0}"/>
              </a:ext>
            </a:extLst>
          </p:cNvPr>
          <p:cNvSpPr/>
          <p:nvPr/>
        </p:nvSpPr>
        <p:spPr>
          <a:xfrm>
            <a:off x="5338623" y="5050101"/>
            <a:ext cx="524724" cy="529567"/>
          </a:xfrm>
          <a:prstGeom prst="ellipse">
            <a:avLst/>
          </a:prstGeom>
          <a:solidFill>
            <a:srgbClr val="FFFFFF"/>
          </a:solidFill>
          <a:ln w="9525" cap="flat" cmpd="sng" algn="ctr">
            <a:solidFill>
              <a:srgbClr val="FFFFFF">
                <a:lumMod val="85000"/>
              </a:srgbClr>
            </a:solidFill>
            <a:prstDash val="solid"/>
          </a:ln>
          <a:effectLst/>
        </p:spPr>
        <p:txBody>
          <a:bodyPr lIns="72000" tIns="72000" rIns="72000" bIns="72000" rtlCol="0" anchor="ctr"/>
          <a:lstStyle/>
          <a:p>
            <a:pPr algn="ctr" defTabSz="816152">
              <a:defRPr/>
            </a:pPr>
            <a:endParaRPr lang="en-US" sz="900" b="1" kern="0">
              <a:solidFill>
                <a:srgbClr val="FFFFFF"/>
              </a:solidFill>
              <a:latin typeface="Arial"/>
            </a:endParaRPr>
          </a:p>
        </p:txBody>
      </p:sp>
      <p:sp>
        <p:nvSpPr>
          <p:cNvPr id="64" name="Oval 63">
            <a:extLst>
              <a:ext uri="{FF2B5EF4-FFF2-40B4-BE49-F238E27FC236}">
                <a16:creationId xmlns:a16="http://schemas.microsoft.com/office/drawing/2014/main" id="{FBB426E6-B737-2C47-A065-B9FE54056BBE}"/>
              </a:ext>
            </a:extLst>
          </p:cNvPr>
          <p:cNvSpPr/>
          <p:nvPr/>
        </p:nvSpPr>
        <p:spPr>
          <a:xfrm>
            <a:off x="6421844" y="5049510"/>
            <a:ext cx="524724" cy="529567"/>
          </a:xfrm>
          <a:prstGeom prst="ellipse">
            <a:avLst/>
          </a:prstGeom>
          <a:solidFill>
            <a:srgbClr val="FFFFFF"/>
          </a:solidFill>
          <a:ln w="9525" cap="flat" cmpd="sng" algn="ctr">
            <a:solidFill>
              <a:srgbClr val="FFFFFF">
                <a:lumMod val="85000"/>
              </a:srgbClr>
            </a:solidFill>
            <a:prstDash val="solid"/>
          </a:ln>
          <a:effectLst/>
        </p:spPr>
        <p:txBody>
          <a:bodyPr lIns="72000" tIns="72000" rIns="72000" bIns="72000" rtlCol="0" anchor="ctr"/>
          <a:lstStyle/>
          <a:p>
            <a:pPr algn="ctr" defTabSz="816152">
              <a:defRPr/>
            </a:pPr>
            <a:endParaRPr lang="en-US" sz="900" b="1" kern="0">
              <a:solidFill>
                <a:srgbClr val="FFFFFF"/>
              </a:solidFill>
              <a:latin typeface="Arial"/>
            </a:endParaRPr>
          </a:p>
        </p:txBody>
      </p:sp>
      <p:sp>
        <p:nvSpPr>
          <p:cNvPr id="65" name="Oval 64">
            <a:extLst>
              <a:ext uri="{FF2B5EF4-FFF2-40B4-BE49-F238E27FC236}">
                <a16:creationId xmlns:a16="http://schemas.microsoft.com/office/drawing/2014/main" id="{0CA7BA1A-4819-B342-97F6-4C2B9DD030DF}"/>
              </a:ext>
            </a:extLst>
          </p:cNvPr>
          <p:cNvSpPr/>
          <p:nvPr/>
        </p:nvSpPr>
        <p:spPr>
          <a:xfrm>
            <a:off x="9963734" y="5088473"/>
            <a:ext cx="524724" cy="529567"/>
          </a:xfrm>
          <a:prstGeom prst="ellipse">
            <a:avLst/>
          </a:prstGeom>
          <a:solidFill>
            <a:srgbClr val="FFFFFF"/>
          </a:solidFill>
          <a:ln w="9525" cap="flat" cmpd="sng" algn="ctr">
            <a:solidFill>
              <a:srgbClr val="FFFFFF">
                <a:lumMod val="85000"/>
              </a:srgbClr>
            </a:solidFill>
            <a:prstDash val="solid"/>
          </a:ln>
          <a:effectLst/>
        </p:spPr>
        <p:txBody>
          <a:bodyPr lIns="72000" tIns="72000" rIns="72000" bIns="72000" rtlCol="0" anchor="ctr"/>
          <a:lstStyle/>
          <a:p>
            <a:pPr marL="0" marR="0" lvl="0" indent="0" algn="ctr" defTabSz="816152"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a:endParaRPr>
          </a:p>
        </p:txBody>
      </p:sp>
      <p:sp>
        <p:nvSpPr>
          <p:cNvPr id="66" name="Oval 65">
            <a:extLst>
              <a:ext uri="{FF2B5EF4-FFF2-40B4-BE49-F238E27FC236}">
                <a16:creationId xmlns:a16="http://schemas.microsoft.com/office/drawing/2014/main" id="{7F612B90-3B12-E44A-8BCD-ADE643543961}"/>
              </a:ext>
            </a:extLst>
          </p:cNvPr>
          <p:cNvSpPr/>
          <p:nvPr/>
        </p:nvSpPr>
        <p:spPr>
          <a:xfrm>
            <a:off x="8689811" y="5080309"/>
            <a:ext cx="524724" cy="529567"/>
          </a:xfrm>
          <a:prstGeom prst="ellipse">
            <a:avLst/>
          </a:prstGeom>
          <a:solidFill>
            <a:srgbClr val="FFFFFF"/>
          </a:solidFill>
          <a:ln w="9525" cap="flat" cmpd="sng" algn="ctr">
            <a:solidFill>
              <a:srgbClr val="FFFFFF">
                <a:lumMod val="85000"/>
              </a:srgbClr>
            </a:solidFill>
            <a:prstDash val="solid"/>
          </a:ln>
          <a:effectLst/>
        </p:spPr>
        <p:txBody>
          <a:bodyPr lIns="72000" tIns="72000" rIns="72000" bIns="72000" rtlCol="0" anchor="ctr"/>
          <a:lstStyle/>
          <a:p>
            <a:pPr marL="0" marR="0" lvl="0" indent="0" algn="ctr" defTabSz="816152"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a:endParaRPr>
          </a:p>
        </p:txBody>
      </p:sp>
      <p:sp>
        <p:nvSpPr>
          <p:cNvPr id="67" name="Rounded Rectangle 66">
            <a:extLst>
              <a:ext uri="{FF2B5EF4-FFF2-40B4-BE49-F238E27FC236}">
                <a16:creationId xmlns:a16="http://schemas.microsoft.com/office/drawing/2014/main" id="{89F5329C-987C-BF47-80E2-42A3E1727AC0}"/>
              </a:ext>
            </a:extLst>
          </p:cNvPr>
          <p:cNvSpPr/>
          <p:nvPr/>
        </p:nvSpPr>
        <p:spPr>
          <a:xfrm>
            <a:off x="9312648" y="3837978"/>
            <a:ext cx="1144067" cy="266959"/>
          </a:xfrm>
          <a:prstGeom prst="roundRect">
            <a:avLst/>
          </a:prstGeom>
          <a:solidFill>
            <a:sysClr val="window" lastClr="FFFFFF"/>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white">
                    <a:lumMod val="50000"/>
                  </a:prstClr>
                </a:solidFill>
                <a:effectLst/>
                <a:uLnTx/>
                <a:uFillTx/>
              </a:rPr>
              <a:t>Medical Plan</a:t>
            </a:r>
          </a:p>
        </p:txBody>
      </p:sp>
      <p:pic>
        <p:nvPicPr>
          <p:cNvPr id="68" name="Graphic 67" descr="Open book outline">
            <a:extLst>
              <a:ext uri="{FF2B5EF4-FFF2-40B4-BE49-F238E27FC236}">
                <a16:creationId xmlns:a16="http://schemas.microsoft.com/office/drawing/2014/main" id="{9A5CCCEB-4AA7-584C-A049-5CFF367519B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1316" y="5090991"/>
            <a:ext cx="467118" cy="467118"/>
          </a:xfrm>
          <a:prstGeom prst="rect">
            <a:avLst/>
          </a:prstGeom>
        </p:spPr>
      </p:pic>
      <p:pic>
        <p:nvPicPr>
          <p:cNvPr id="69" name="Graphic 68" descr="Route (Two Pins With A Path) outline">
            <a:extLst>
              <a:ext uri="{FF2B5EF4-FFF2-40B4-BE49-F238E27FC236}">
                <a16:creationId xmlns:a16="http://schemas.microsoft.com/office/drawing/2014/main" id="{7A7C636F-8789-9440-8BD7-8479FD9D2D6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431479" y="5123387"/>
            <a:ext cx="467118" cy="467118"/>
          </a:xfrm>
          <a:prstGeom prst="rect">
            <a:avLst/>
          </a:prstGeom>
        </p:spPr>
      </p:pic>
      <p:pic>
        <p:nvPicPr>
          <p:cNvPr id="70" name="Graphic 69" descr="User network outline">
            <a:extLst>
              <a:ext uri="{FF2B5EF4-FFF2-40B4-BE49-F238E27FC236}">
                <a16:creationId xmlns:a16="http://schemas.microsoft.com/office/drawing/2014/main" id="{0A7D73DD-F850-A845-A5E3-B16EEB47D6F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46138" y="5071289"/>
            <a:ext cx="467118" cy="467118"/>
          </a:xfrm>
          <a:prstGeom prst="rect">
            <a:avLst/>
          </a:prstGeom>
        </p:spPr>
      </p:pic>
      <p:pic>
        <p:nvPicPr>
          <p:cNvPr id="71" name="Graphic 70" descr="Sound Medium outline">
            <a:extLst>
              <a:ext uri="{FF2B5EF4-FFF2-40B4-BE49-F238E27FC236}">
                <a16:creationId xmlns:a16="http://schemas.microsoft.com/office/drawing/2014/main" id="{35AD6BF7-E897-0640-ADA0-4E6A417C4A7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94683" y="5073380"/>
            <a:ext cx="467118" cy="467118"/>
          </a:xfrm>
          <a:prstGeom prst="rect">
            <a:avLst/>
          </a:prstGeom>
        </p:spPr>
      </p:pic>
      <p:pic>
        <p:nvPicPr>
          <p:cNvPr id="72" name="Graphic 71" descr="Chemicals outline">
            <a:extLst>
              <a:ext uri="{FF2B5EF4-FFF2-40B4-BE49-F238E27FC236}">
                <a16:creationId xmlns:a16="http://schemas.microsoft.com/office/drawing/2014/main" id="{DB235869-B5D0-054F-A7C1-39E636C37B83}"/>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976599" y="5119697"/>
            <a:ext cx="467118" cy="467118"/>
          </a:xfrm>
          <a:prstGeom prst="rect">
            <a:avLst/>
          </a:prstGeom>
        </p:spPr>
      </p:pic>
      <p:pic>
        <p:nvPicPr>
          <p:cNvPr id="73" name="Graphic 72" descr="Circles with arrows outline">
            <a:extLst>
              <a:ext uri="{FF2B5EF4-FFF2-40B4-BE49-F238E27FC236}">
                <a16:creationId xmlns:a16="http://schemas.microsoft.com/office/drawing/2014/main" id="{AEFEAF3D-BF67-5D42-861A-085561D82921}"/>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200953" y="5071289"/>
            <a:ext cx="467118" cy="467118"/>
          </a:xfrm>
          <a:prstGeom prst="rect">
            <a:avLst/>
          </a:prstGeom>
        </p:spPr>
      </p:pic>
      <p:pic>
        <p:nvPicPr>
          <p:cNvPr id="74" name="Graphic 73" descr="Clock outline">
            <a:extLst>
              <a:ext uri="{FF2B5EF4-FFF2-40B4-BE49-F238E27FC236}">
                <a16:creationId xmlns:a16="http://schemas.microsoft.com/office/drawing/2014/main" id="{C1761560-7761-D043-B920-EDDBC3BBE485}"/>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271430" y="5078947"/>
            <a:ext cx="467118" cy="467118"/>
          </a:xfrm>
          <a:prstGeom prst="rect">
            <a:avLst/>
          </a:prstGeom>
        </p:spPr>
      </p:pic>
      <p:pic>
        <p:nvPicPr>
          <p:cNvPr id="75" name="Graphic 74" descr="Comment Like outline">
            <a:extLst>
              <a:ext uri="{FF2B5EF4-FFF2-40B4-BE49-F238E27FC236}">
                <a16:creationId xmlns:a16="http://schemas.microsoft.com/office/drawing/2014/main" id="{15DAA288-448A-4E4A-98FA-88EEF1779169}"/>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718614" y="5131848"/>
            <a:ext cx="467118" cy="467118"/>
          </a:xfrm>
          <a:prstGeom prst="rect">
            <a:avLst/>
          </a:prstGeom>
        </p:spPr>
      </p:pic>
      <p:sp>
        <p:nvSpPr>
          <p:cNvPr id="76" name="Rectangle 75">
            <a:extLst>
              <a:ext uri="{FF2B5EF4-FFF2-40B4-BE49-F238E27FC236}">
                <a16:creationId xmlns:a16="http://schemas.microsoft.com/office/drawing/2014/main" id="{F35C28F2-82DD-E04D-9341-236F6DD13C7C}"/>
              </a:ext>
            </a:extLst>
          </p:cNvPr>
          <p:cNvSpPr/>
          <p:nvPr/>
        </p:nvSpPr>
        <p:spPr>
          <a:xfrm>
            <a:off x="3128928" y="1434286"/>
            <a:ext cx="1741751" cy="239576"/>
          </a:xfrm>
          <a:prstGeom prst="rect">
            <a:avLst/>
          </a:prstGeom>
          <a:noFill/>
          <a:ln w="9525" cap="flat" cmpd="sng" algn="ctr">
            <a:noFill/>
            <a:prstDash val="solid"/>
          </a:ln>
          <a:effectLst/>
        </p:spPr>
        <p:txBody>
          <a:bodyPr lIns="72000" tIns="72000" rIns="72000" bIns="72000" rtlCol="0" anchor="ctr"/>
          <a:lstStyle/>
          <a:p>
            <a:pPr marL="0" marR="0" lvl="0" indent="0" algn="ctr" defTabSz="816152"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a:ln>
                  <a:noFill/>
                </a:ln>
                <a:solidFill>
                  <a:schemeClr val="bg1">
                    <a:lumMod val="65000"/>
                  </a:schemeClr>
                </a:solidFill>
                <a:effectLst/>
                <a:uLnTx/>
                <a:uFillTx/>
              </a:rPr>
              <a:t>Customer Needs</a:t>
            </a:r>
          </a:p>
        </p:txBody>
      </p:sp>
      <p:sp>
        <p:nvSpPr>
          <p:cNvPr id="77" name="Rectangle 76">
            <a:extLst>
              <a:ext uri="{FF2B5EF4-FFF2-40B4-BE49-F238E27FC236}">
                <a16:creationId xmlns:a16="http://schemas.microsoft.com/office/drawing/2014/main" id="{02E95D7C-0138-044E-AC75-2A1E64008A0B}"/>
              </a:ext>
            </a:extLst>
          </p:cNvPr>
          <p:cNvSpPr/>
          <p:nvPr/>
        </p:nvSpPr>
        <p:spPr>
          <a:xfrm>
            <a:off x="7754818" y="1447810"/>
            <a:ext cx="1741751" cy="239576"/>
          </a:xfrm>
          <a:prstGeom prst="rect">
            <a:avLst/>
          </a:prstGeom>
          <a:noFill/>
          <a:ln w="9525" cap="flat" cmpd="sng" algn="ctr">
            <a:noFill/>
            <a:prstDash val="solid"/>
          </a:ln>
          <a:effectLst/>
        </p:spPr>
        <p:txBody>
          <a:bodyPr lIns="72000" tIns="72000" rIns="72000" bIns="72000" rtlCol="0" anchor="ctr"/>
          <a:lstStyle/>
          <a:p>
            <a:pPr marL="0" marR="0" lvl="0" indent="0" algn="ctr" defTabSz="816152" eaLnBrk="1" fontAlgn="auto" latinLnBrk="0" hangingPunct="1">
              <a:lnSpc>
                <a:spcPct val="100000"/>
              </a:lnSpc>
              <a:spcBef>
                <a:spcPts val="0"/>
              </a:spcBef>
              <a:spcAft>
                <a:spcPts val="0"/>
              </a:spcAft>
              <a:buClrTx/>
              <a:buSzTx/>
              <a:buFontTx/>
              <a:buNone/>
              <a:tabLst/>
              <a:defRPr/>
            </a:pPr>
            <a:r>
              <a:rPr lang="en-US" sz="1600" i="1" kern="0">
                <a:solidFill>
                  <a:schemeClr val="bg1">
                    <a:lumMod val="65000"/>
                  </a:schemeClr>
                </a:solidFill>
              </a:rPr>
              <a:t>Galapagos Needs</a:t>
            </a:r>
            <a:endParaRPr kumimoji="0" lang="en-US" sz="1600" b="0" i="1" u="none" strike="noStrike" kern="0" cap="none" spc="0" normalizeH="0" baseline="0" noProof="0">
              <a:ln>
                <a:noFill/>
              </a:ln>
              <a:solidFill>
                <a:schemeClr val="bg1">
                  <a:lumMod val="65000"/>
                </a:schemeClr>
              </a:solidFill>
              <a:effectLst/>
              <a:uLnTx/>
              <a:uFillTx/>
            </a:endParaRPr>
          </a:p>
        </p:txBody>
      </p:sp>
      <p:sp>
        <p:nvSpPr>
          <p:cNvPr id="81" name="Google Shape;7814;p149">
            <a:extLst>
              <a:ext uri="{FF2B5EF4-FFF2-40B4-BE49-F238E27FC236}">
                <a16:creationId xmlns:a16="http://schemas.microsoft.com/office/drawing/2014/main" id="{12800E52-9DF5-4041-8E82-F600EFAF1167}"/>
              </a:ext>
            </a:extLst>
          </p:cNvPr>
          <p:cNvSpPr txBox="1">
            <a:spLocks noChangeArrowheads="1"/>
          </p:cNvSpPr>
          <p:nvPr/>
        </p:nvSpPr>
        <p:spPr bwMode="auto">
          <a:xfrm>
            <a:off x="9139652" y="41823"/>
            <a:ext cx="3052348" cy="1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Clr>
                <a:srgbClr val="FFFFFF"/>
              </a:buClr>
              <a:buSzPts val="1600"/>
              <a:buNone/>
            </a:pPr>
            <a:r>
              <a:rPr lang="en-US" altLang="en-US" sz="1200">
                <a:cs typeface="Calibri" panose="020F0502020204030204" pitchFamily="34" charset="0"/>
                <a:sym typeface="Open Sans" panose="020B0606030504020204" pitchFamily="34" charset="0"/>
              </a:rPr>
              <a:t>Implications for customer engagement design</a:t>
            </a:r>
            <a:endParaRPr lang="en-US" altLang="en-US" sz="1600">
              <a:cs typeface="Calibri" panose="020F0502020204030204" pitchFamily="34" charset="0"/>
              <a:sym typeface="Arial" panose="020B0604020202020204" pitchFamily="34" charset="0"/>
            </a:endParaRPr>
          </a:p>
        </p:txBody>
      </p:sp>
      <p:pic>
        <p:nvPicPr>
          <p:cNvPr id="82" name="Graphic 81" descr="Ui Ux outline">
            <a:extLst>
              <a:ext uri="{FF2B5EF4-FFF2-40B4-BE49-F238E27FC236}">
                <a16:creationId xmlns:a16="http://schemas.microsoft.com/office/drawing/2014/main" id="{53002F1C-2385-BA49-956F-3AB11EC777C8}"/>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783267" y="30587"/>
            <a:ext cx="356385" cy="356385"/>
          </a:xfrm>
          <a:prstGeom prst="rect">
            <a:avLst/>
          </a:prstGeom>
        </p:spPr>
      </p:pic>
    </p:spTree>
    <p:extLst>
      <p:ext uri="{BB962C8B-B14F-4D97-AF65-F5344CB8AC3E}">
        <p14:creationId xmlns:p14="http://schemas.microsoft.com/office/powerpoint/2010/main" val="185055310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ED053-61C4-B240-B1D5-E719D8FC8F43}"/>
              </a:ext>
            </a:extLst>
          </p:cNvPr>
          <p:cNvSpPr>
            <a:spLocks noGrp="1"/>
          </p:cNvSpPr>
          <p:nvPr>
            <p:ph type="title"/>
          </p:nvPr>
        </p:nvSpPr>
        <p:spPr>
          <a:xfrm>
            <a:off x="276303" y="505429"/>
            <a:ext cx="8155520" cy="742448"/>
          </a:xfrm>
        </p:spPr>
        <p:txBody>
          <a:bodyPr vert="horz" lIns="91440" tIns="45720" rIns="91440" bIns="45720" rtlCol="0" anchor="ctr" anchorCtr="0">
            <a:noAutofit/>
          </a:bodyPr>
          <a:lstStyle/>
          <a:p>
            <a:pPr>
              <a:lnSpc>
                <a:spcPts val="3620"/>
              </a:lnSpc>
            </a:pPr>
            <a:r>
              <a:rPr lang="en-GB"/>
              <a:t>The output of this is a specific customer engagement plan for to drive rep activity</a:t>
            </a:r>
          </a:p>
        </p:txBody>
      </p:sp>
      <p:sp>
        <p:nvSpPr>
          <p:cNvPr id="6" name="Rectangle 5">
            <a:extLst>
              <a:ext uri="{FF2B5EF4-FFF2-40B4-BE49-F238E27FC236}">
                <a16:creationId xmlns:a16="http://schemas.microsoft.com/office/drawing/2014/main" id="{A3BA7BDC-93F8-804B-898A-77A76E24C500}"/>
              </a:ext>
            </a:extLst>
          </p:cNvPr>
          <p:cNvSpPr/>
          <p:nvPr/>
        </p:nvSpPr>
        <p:spPr>
          <a:xfrm>
            <a:off x="3175366" y="3736558"/>
            <a:ext cx="1198626" cy="208183"/>
          </a:xfrm>
          <a:prstGeom prst="rect">
            <a:avLst/>
          </a:prstGeom>
          <a:solidFill>
            <a:srgbClr val="FFFFFF"/>
          </a:solidFill>
          <a:ln w="9525" cap="flat" cmpd="sng" algn="ctr">
            <a:noFill/>
            <a:prstDash val="solid"/>
          </a:ln>
          <a:effectLst/>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a:ln>
                  <a:noFill/>
                </a:ln>
                <a:solidFill>
                  <a:srgbClr val="FF9E16"/>
                </a:solidFill>
                <a:effectLst/>
                <a:uLnTx/>
                <a:uFillTx/>
                <a:latin typeface="Calibri"/>
                <a:ea typeface="+mn-ea"/>
                <a:cs typeface="+mn-cs"/>
              </a:rPr>
              <a:t>Moment of truth 1</a:t>
            </a:r>
          </a:p>
        </p:txBody>
      </p:sp>
      <p:sp>
        <p:nvSpPr>
          <p:cNvPr id="4" name="Freeform 3">
            <a:extLst>
              <a:ext uri="{FF2B5EF4-FFF2-40B4-BE49-F238E27FC236}">
                <a16:creationId xmlns:a16="http://schemas.microsoft.com/office/drawing/2014/main" id="{52679223-34DB-5F42-8D05-C735ED6279AE}"/>
              </a:ext>
            </a:extLst>
          </p:cNvPr>
          <p:cNvSpPr/>
          <p:nvPr/>
        </p:nvSpPr>
        <p:spPr bwMode="auto">
          <a:xfrm>
            <a:off x="1601853" y="3599143"/>
            <a:ext cx="6240015" cy="462586"/>
          </a:xfrm>
          <a:custGeom>
            <a:avLst/>
            <a:gdLst>
              <a:gd name="connsiteX0" fmla="*/ 0 w 8589818"/>
              <a:gd name="connsiteY0" fmla="*/ 202536 h 636781"/>
              <a:gd name="connsiteX1" fmla="*/ 581891 w 8589818"/>
              <a:gd name="connsiteY1" fmla="*/ 230246 h 636781"/>
              <a:gd name="connsiteX2" fmla="*/ 1191491 w 8589818"/>
              <a:gd name="connsiteY2" fmla="*/ 45518 h 636781"/>
              <a:gd name="connsiteX3" fmla="*/ 1921163 w 8589818"/>
              <a:gd name="connsiteY3" fmla="*/ 470391 h 636781"/>
              <a:gd name="connsiteX4" fmla="*/ 2632363 w 8589818"/>
              <a:gd name="connsiteY4" fmla="*/ 636646 h 636781"/>
              <a:gd name="connsiteX5" fmla="*/ 3823854 w 8589818"/>
              <a:gd name="connsiteY5" fmla="*/ 488864 h 636781"/>
              <a:gd name="connsiteX6" fmla="*/ 4719781 w 8589818"/>
              <a:gd name="connsiteY6" fmla="*/ 27046 h 636781"/>
              <a:gd name="connsiteX7" fmla="*/ 5523345 w 8589818"/>
              <a:gd name="connsiteY7" fmla="*/ 110173 h 636781"/>
              <a:gd name="connsiteX8" fmla="*/ 6354618 w 8589818"/>
              <a:gd name="connsiteY8" fmla="*/ 571991 h 636781"/>
              <a:gd name="connsiteX9" fmla="*/ 7305963 w 8589818"/>
              <a:gd name="connsiteY9" fmla="*/ 553518 h 636781"/>
              <a:gd name="connsiteX10" fmla="*/ 8589818 w 8589818"/>
              <a:gd name="connsiteY10" fmla="*/ 82464 h 63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89818" h="636781">
                <a:moveTo>
                  <a:pt x="0" y="202536"/>
                </a:moveTo>
                <a:cubicBezTo>
                  <a:pt x="191654" y="229476"/>
                  <a:pt x="383309" y="256416"/>
                  <a:pt x="581891" y="230246"/>
                </a:cubicBezTo>
                <a:cubicBezTo>
                  <a:pt x="780473" y="204076"/>
                  <a:pt x="968279" y="5494"/>
                  <a:pt x="1191491" y="45518"/>
                </a:cubicBezTo>
                <a:cubicBezTo>
                  <a:pt x="1414703" y="85542"/>
                  <a:pt x="1681018" y="371870"/>
                  <a:pt x="1921163" y="470391"/>
                </a:cubicBezTo>
                <a:cubicBezTo>
                  <a:pt x="2161308" y="568912"/>
                  <a:pt x="2315248" y="633567"/>
                  <a:pt x="2632363" y="636646"/>
                </a:cubicBezTo>
                <a:cubicBezTo>
                  <a:pt x="2949478" y="639725"/>
                  <a:pt x="3475951" y="590464"/>
                  <a:pt x="3823854" y="488864"/>
                </a:cubicBezTo>
                <a:cubicBezTo>
                  <a:pt x="4171757" y="387264"/>
                  <a:pt x="4436533" y="90161"/>
                  <a:pt x="4719781" y="27046"/>
                </a:cubicBezTo>
                <a:cubicBezTo>
                  <a:pt x="5003029" y="-36069"/>
                  <a:pt x="5250872" y="19349"/>
                  <a:pt x="5523345" y="110173"/>
                </a:cubicBezTo>
                <a:cubicBezTo>
                  <a:pt x="5795818" y="200997"/>
                  <a:pt x="6057515" y="498100"/>
                  <a:pt x="6354618" y="571991"/>
                </a:cubicBezTo>
                <a:cubicBezTo>
                  <a:pt x="6651721" y="645882"/>
                  <a:pt x="6933430" y="635106"/>
                  <a:pt x="7305963" y="553518"/>
                </a:cubicBezTo>
                <a:cubicBezTo>
                  <a:pt x="7678496" y="471930"/>
                  <a:pt x="8134157" y="277197"/>
                  <a:pt x="8589818" y="82464"/>
                </a:cubicBezTo>
              </a:path>
            </a:pathLst>
          </a:custGeom>
          <a:noFill/>
          <a:ln w="38100" cap="flat" cmpd="sng" algn="ctr">
            <a:solidFill>
              <a:schemeClr val="accent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8" name="Oval 7">
            <a:extLst>
              <a:ext uri="{FF2B5EF4-FFF2-40B4-BE49-F238E27FC236}">
                <a16:creationId xmlns:a16="http://schemas.microsoft.com/office/drawing/2014/main" id="{F0F1F845-8F87-5A46-ADEB-E27647C437F0}"/>
              </a:ext>
            </a:extLst>
          </p:cNvPr>
          <p:cNvSpPr/>
          <p:nvPr/>
        </p:nvSpPr>
        <p:spPr>
          <a:xfrm>
            <a:off x="1499648" y="3577989"/>
            <a:ext cx="358645" cy="354459"/>
          </a:xfrm>
          <a:prstGeom prst="ellipse">
            <a:avLst/>
          </a:prstGeom>
          <a:solidFill>
            <a:schemeClr val="bg1">
              <a:lumMod val="95000"/>
            </a:schemeClr>
          </a:solidFill>
          <a:ln w="12700" cap="flat" cmpd="sng" algn="ctr">
            <a:solidFill>
              <a:schemeClr val="tx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nvGrpSpPr>
          <p:cNvPr id="73" name="Group 12">
            <a:extLst>
              <a:ext uri="{FF2B5EF4-FFF2-40B4-BE49-F238E27FC236}">
                <a16:creationId xmlns:a16="http://schemas.microsoft.com/office/drawing/2014/main" id="{191159B9-4226-1D49-8A21-0327036836D2}"/>
              </a:ext>
            </a:extLst>
          </p:cNvPr>
          <p:cNvGrpSpPr>
            <a:grpSpLocks/>
          </p:cNvGrpSpPr>
          <p:nvPr/>
        </p:nvGrpSpPr>
        <p:grpSpPr bwMode="auto">
          <a:xfrm>
            <a:off x="373439" y="3114592"/>
            <a:ext cx="844388" cy="842442"/>
            <a:chOff x="5915754" y="1720454"/>
            <a:chExt cx="688315" cy="687586"/>
          </a:xfrm>
        </p:grpSpPr>
        <p:sp>
          <p:nvSpPr>
            <p:cNvPr id="74" name="Freeform 1188">
              <a:extLst>
                <a:ext uri="{FF2B5EF4-FFF2-40B4-BE49-F238E27FC236}">
                  <a16:creationId xmlns:a16="http://schemas.microsoft.com/office/drawing/2014/main" id="{5ACC69AC-1EC5-354B-AAA8-E22F247B2839}"/>
                </a:ext>
              </a:extLst>
            </p:cNvPr>
            <p:cNvSpPr>
              <a:spLocks noChangeArrowheads="1"/>
            </p:cNvSpPr>
            <p:nvPr/>
          </p:nvSpPr>
          <p:spPr bwMode="auto">
            <a:xfrm>
              <a:off x="5915754" y="1720454"/>
              <a:ext cx="688315" cy="686991"/>
            </a:xfrm>
            <a:custGeom>
              <a:avLst/>
              <a:gdLst>
                <a:gd name="T0" fmla="*/ 344158 w 5096"/>
                <a:gd name="T1" fmla="*/ 686856 h 5090"/>
                <a:gd name="T2" fmla="*/ 344158 w 5096"/>
                <a:gd name="T3" fmla="*/ 686856 h 5090"/>
                <a:gd name="T4" fmla="*/ 0 w 5096"/>
                <a:gd name="T5" fmla="*/ 343765 h 5090"/>
                <a:gd name="T6" fmla="*/ 344158 w 5096"/>
                <a:gd name="T7" fmla="*/ 0 h 5090"/>
                <a:gd name="T8" fmla="*/ 688180 w 5096"/>
                <a:gd name="T9" fmla="*/ 343765 h 5090"/>
                <a:gd name="T10" fmla="*/ 344158 w 5096"/>
                <a:gd name="T11" fmla="*/ 686856 h 509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96" h="5090">
                  <a:moveTo>
                    <a:pt x="2548" y="5089"/>
                  </a:moveTo>
                  <a:lnTo>
                    <a:pt x="2548" y="5089"/>
                  </a:lnTo>
                  <a:cubicBezTo>
                    <a:pt x="1139" y="5089"/>
                    <a:pt x="0" y="3950"/>
                    <a:pt x="0" y="2547"/>
                  </a:cubicBezTo>
                  <a:cubicBezTo>
                    <a:pt x="0" y="1139"/>
                    <a:pt x="1139" y="0"/>
                    <a:pt x="2548" y="0"/>
                  </a:cubicBezTo>
                  <a:cubicBezTo>
                    <a:pt x="3956" y="0"/>
                    <a:pt x="5095" y="1139"/>
                    <a:pt x="5095" y="2547"/>
                  </a:cubicBezTo>
                  <a:cubicBezTo>
                    <a:pt x="5095" y="3950"/>
                    <a:pt x="3956" y="5089"/>
                    <a:pt x="2548" y="5089"/>
                  </a:cubicBezTo>
                </a:path>
              </a:pathLst>
            </a:custGeom>
            <a:solidFill>
              <a:schemeClr val="tx2"/>
            </a:solid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75" name="Freeform 1189">
              <a:extLst>
                <a:ext uri="{FF2B5EF4-FFF2-40B4-BE49-F238E27FC236}">
                  <a16:creationId xmlns:a16="http://schemas.microsoft.com/office/drawing/2014/main" id="{B29BA4F4-0252-DA4B-B21C-896272D0D31D}"/>
                </a:ext>
              </a:extLst>
            </p:cNvPr>
            <p:cNvSpPr>
              <a:spLocks noChangeArrowheads="1"/>
            </p:cNvSpPr>
            <p:nvPr/>
          </p:nvSpPr>
          <p:spPr bwMode="auto">
            <a:xfrm>
              <a:off x="6062825" y="2174677"/>
              <a:ext cx="392983" cy="232767"/>
            </a:xfrm>
            <a:custGeom>
              <a:avLst/>
              <a:gdLst>
                <a:gd name="T0" fmla="*/ 67611 w 2912"/>
                <a:gd name="T1" fmla="*/ 46257 h 1726"/>
                <a:gd name="T2" fmla="*/ 67611 w 2912"/>
                <a:gd name="T3" fmla="*/ 46257 h 1726"/>
                <a:gd name="T4" fmla="*/ 0 w 2912"/>
                <a:gd name="T5" fmla="*/ 171406 h 1726"/>
                <a:gd name="T6" fmla="*/ 196492 w 2912"/>
                <a:gd name="T7" fmla="*/ 232632 h 1726"/>
                <a:gd name="T8" fmla="*/ 392848 w 2912"/>
                <a:gd name="T9" fmla="*/ 171406 h 1726"/>
                <a:gd name="T10" fmla="*/ 324562 w 2912"/>
                <a:gd name="T11" fmla="*/ 46257 h 1726"/>
                <a:gd name="T12" fmla="*/ 196492 w 2912"/>
                <a:gd name="T13" fmla="*/ 0 h 1726"/>
                <a:gd name="T14" fmla="*/ 67611 w 2912"/>
                <a:gd name="T15" fmla="*/ 46257 h 172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912" h="1726">
                  <a:moveTo>
                    <a:pt x="501" y="343"/>
                  </a:moveTo>
                  <a:lnTo>
                    <a:pt x="501" y="343"/>
                  </a:lnTo>
                  <a:cubicBezTo>
                    <a:pt x="253" y="507"/>
                    <a:pt x="148" y="855"/>
                    <a:pt x="0" y="1271"/>
                  </a:cubicBezTo>
                  <a:cubicBezTo>
                    <a:pt x="416" y="1556"/>
                    <a:pt x="918" y="1725"/>
                    <a:pt x="1456" y="1725"/>
                  </a:cubicBezTo>
                  <a:cubicBezTo>
                    <a:pt x="1999" y="1725"/>
                    <a:pt x="2495" y="1556"/>
                    <a:pt x="2911" y="1271"/>
                  </a:cubicBezTo>
                  <a:cubicBezTo>
                    <a:pt x="2763" y="855"/>
                    <a:pt x="2659" y="502"/>
                    <a:pt x="2405" y="343"/>
                  </a:cubicBezTo>
                  <a:cubicBezTo>
                    <a:pt x="1972" y="69"/>
                    <a:pt x="1708" y="6"/>
                    <a:pt x="1456" y="0"/>
                  </a:cubicBezTo>
                  <a:cubicBezTo>
                    <a:pt x="1192" y="0"/>
                    <a:pt x="933" y="64"/>
                    <a:pt x="501" y="343"/>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76" name="Freeform 1190">
              <a:extLst>
                <a:ext uri="{FF2B5EF4-FFF2-40B4-BE49-F238E27FC236}">
                  <a16:creationId xmlns:a16="http://schemas.microsoft.com/office/drawing/2014/main" id="{0E4B481F-4F64-C94F-AC6F-904E2F64839C}"/>
                </a:ext>
              </a:extLst>
            </p:cNvPr>
            <p:cNvSpPr>
              <a:spLocks noChangeArrowheads="1"/>
            </p:cNvSpPr>
            <p:nvPr/>
          </p:nvSpPr>
          <p:spPr bwMode="auto">
            <a:xfrm>
              <a:off x="6062825" y="2174677"/>
              <a:ext cx="196492" cy="232767"/>
            </a:xfrm>
            <a:custGeom>
              <a:avLst/>
              <a:gdLst>
                <a:gd name="T0" fmla="*/ 67565 w 1457"/>
                <a:gd name="T1" fmla="*/ 46257 h 1726"/>
                <a:gd name="T2" fmla="*/ 67565 w 1457"/>
                <a:gd name="T3" fmla="*/ 46257 h 1726"/>
                <a:gd name="T4" fmla="*/ 0 w 1457"/>
                <a:gd name="T5" fmla="*/ 171406 h 1726"/>
                <a:gd name="T6" fmla="*/ 196357 w 1457"/>
                <a:gd name="T7" fmla="*/ 232632 h 1726"/>
                <a:gd name="T8" fmla="*/ 196357 w 1457"/>
                <a:gd name="T9" fmla="*/ 232632 h 1726"/>
                <a:gd name="T10" fmla="*/ 196357 w 1457"/>
                <a:gd name="T11" fmla="*/ 0 h 1726"/>
                <a:gd name="T12" fmla="*/ 196357 w 1457"/>
                <a:gd name="T13" fmla="*/ 0 h 1726"/>
                <a:gd name="T14" fmla="*/ 67565 w 1457"/>
                <a:gd name="T15" fmla="*/ 46257 h 172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57" h="1726">
                  <a:moveTo>
                    <a:pt x="501" y="343"/>
                  </a:moveTo>
                  <a:lnTo>
                    <a:pt x="501" y="343"/>
                  </a:lnTo>
                  <a:cubicBezTo>
                    <a:pt x="253" y="507"/>
                    <a:pt x="148" y="855"/>
                    <a:pt x="0" y="1271"/>
                  </a:cubicBezTo>
                  <a:cubicBezTo>
                    <a:pt x="416" y="1556"/>
                    <a:pt x="918" y="1725"/>
                    <a:pt x="1456" y="1725"/>
                  </a:cubicBezTo>
                  <a:cubicBezTo>
                    <a:pt x="1456" y="0"/>
                    <a:pt x="1456" y="0"/>
                    <a:pt x="1456" y="0"/>
                  </a:cubicBezTo>
                  <a:cubicBezTo>
                    <a:pt x="1192" y="0"/>
                    <a:pt x="933" y="64"/>
                    <a:pt x="501" y="343"/>
                  </a:cubicBezTo>
                </a:path>
              </a:pathLst>
            </a:custGeom>
            <a:solidFill>
              <a:srgbClr val="E1E6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77" name="Freeform 1191">
              <a:extLst>
                <a:ext uri="{FF2B5EF4-FFF2-40B4-BE49-F238E27FC236}">
                  <a16:creationId xmlns:a16="http://schemas.microsoft.com/office/drawing/2014/main" id="{9B4C9D9D-95C1-9D41-A1EC-EF91D5E014FD}"/>
                </a:ext>
              </a:extLst>
            </p:cNvPr>
            <p:cNvSpPr>
              <a:spLocks noChangeArrowheads="1"/>
            </p:cNvSpPr>
            <p:nvPr/>
          </p:nvSpPr>
          <p:spPr bwMode="auto">
            <a:xfrm>
              <a:off x="6195605" y="2178249"/>
              <a:ext cx="138735" cy="154186"/>
            </a:xfrm>
            <a:custGeom>
              <a:avLst/>
              <a:gdLst>
                <a:gd name="T0" fmla="*/ 0 w 1029"/>
                <a:gd name="T1" fmla="*/ 154051 h 1140"/>
                <a:gd name="T2" fmla="*/ 138600 w 1029"/>
                <a:gd name="T3" fmla="*/ 154051 h 1140"/>
                <a:gd name="T4" fmla="*/ 138600 w 1029"/>
                <a:gd name="T5" fmla="*/ 0 h 1140"/>
                <a:gd name="T6" fmla="*/ 0 w 1029"/>
                <a:gd name="T7" fmla="*/ 0 h 1140"/>
                <a:gd name="T8" fmla="*/ 0 w 1029"/>
                <a:gd name="T9" fmla="*/ 154051 h 1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9" h="1140">
                  <a:moveTo>
                    <a:pt x="0" y="1139"/>
                  </a:moveTo>
                  <a:lnTo>
                    <a:pt x="1028" y="1139"/>
                  </a:lnTo>
                  <a:lnTo>
                    <a:pt x="1028" y="0"/>
                  </a:lnTo>
                  <a:lnTo>
                    <a:pt x="0" y="0"/>
                  </a:lnTo>
                  <a:lnTo>
                    <a:pt x="0" y="1139"/>
                  </a:lnTo>
                </a:path>
              </a:pathLst>
            </a:custGeom>
            <a:solidFill>
              <a:srgbClr val="F1595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78" name="Freeform 1192">
              <a:extLst>
                <a:ext uri="{FF2B5EF4-FFF2-40B4-BE49-F238E27FC236}">
                  <a16:creationId xmlns:a16="http://schemas.microsoft.com/office/drawing/2014/main" id="{6195B5EC-D592-7F40-B14C-F89D9CE139CF}"/>
                </a:ext>
              </a:extLst>
            </p:cNvPr>
            <p:cNvSpPr>
              <a:spLocks noChangeArrowheads="1"/>
            </p:cNvSpPr>
            <p:nvPr/>
          </p:nvSpPr>
          <p:spPr bwMode="auto">
            <a:xfrm>
              <a:off x="6211086" y="2034184"/>
              <a:ext cx="97055" cy="193476"/>
            </a:xfrm>
            <a:custGeom>
              <a:avLst/>
              <a:gdLst>
                <a:gd name="T0" fmla="*/ 0 w 718"/>
                <a:gd name="T1" fmla="*/ 0 h 1431"/>
                <a:gd name="T2" fmla="*/ 0 w 718"/>
                <a:gd name="T3" fmla="*/ 0 h 1431"/>
                <a:gd name="T4" fmla="*/ 96920 w 718"/>
                <a:gd name="T5" fmla="*/ 0 h 1431"/>
                <a:gd name="T6" fmla="*/ 96920 w 718"/>
                <a:gd name="T7" fmla="*/ 140476 h 1431"/>
                <a:gd name="T8" fmla="*/ 0 w 718"/>
                <a:gd name="T9" fmla="*/ 140476 h 1431"/>
                <a:gd name="T10" fmla="*/ 0 w 718"/>
                <a:gd name="T11" fmla="*/ 0 h 14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8" h="1431">
                  <a:moveTo>
                    <a:pt x="0" y="0"/>
                  </a:moveTo>
                  <a:lnTo>
                    <a:pt x="0" y="0"/>
                  </a:lnTo>
                  <a:cubicBezTo>
                    <a:pt x="717" y="0"/>
                    <a:pt x="717" y="0"/>
                    <a:pt x="717" y="0"/>
                  </a:cubicBezTo>
                  <a:cubicBezTo>
                    <a:pt x="717" y="1039"/>
                    <a:pt x="717" y="1039"/>
                    <a:pt x="717" y="1039"/>
                  </a:cubicBezTo>
                  <a:cubicBezTo>
                    <a:pt x="717" y="1392"/>
                    <a:pt x="0" y="1430"/>
                    <a:pt x="0" y="1039"/>
                  </a:cubicBezTo>
                  <a:lnTo>
                    <a:pt x="0" y="0"/>
                  </a:lnTo>
                </a:path>
              </a:pathLst>
            </a:custGeom>
            <a:solidFill>
              <a:srgbClr val="FFDDB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79" name="Freeform 1193">
              <a:extLst>
                <a:ext uri="{FF2B5EF4-FFF2-40B4-BE49-F238E27FC236}">
                  <a16:creationId xmlns:a16="http://schemas.microsoft.com/office/drawing/2014/main" id="{A1429641-A241-7944-8985-0768CF65A7F5}"/>
                </a:ext>
              </a:extLst>
            </p:cNvPr>
            <p:cNvSpPr>
              <a:spLocks noChangeArrowheads="1"/>
            </p:cNvSpPr>
            <p:nvPr/>
          </p:nvSpPr>
          <p:spPr bwMode="auto">
            <a:xfrm>
              <a:off x="6211086" y="2116336"/>
              <a:ext cx="97055" cy="66080"/>
            </a:xfrm>
            <a:custGeom>
              <a:avLst/>
              <a:gdLst>
                <a:gd name="T0" fmla="*/ 96920 w 718"/>
                <a:gd name="T1" fmla="*/ 17765 h 491"/>
                <a:gd name="T2" fmla="*/ 96920 w 718"/>
                <a:gd name="T3" fmla="*/ 0 h 491"/>
                <a:gd name="T4" fmla="*/ 0 w 718"/>
                <a:gd name="T5" fmla="*/ 0 h 491"/>
                <a:gd name="T6" fmla="*/ 0 w 718"/>
                <a:gd name="T7" fmla="*/ 65945 h 491"/>
                <a:gd name="T8" fmla="*/ 96920 w 718"/>
                <a:gd name="T9" fmla="*/ 17765 h 4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8" h="491">
                  <a:moveTo>
                    <a:pt x="717" y="132"/>
                  </a:moveTo>
                  <a:lnTo>
                    <a:pt x="717" y="0"/>
                  </a:lnTo>
                  <a:lnTo>
                    <a:pt x="0" y="0"/>
                  </a:lnTo>
                  <a:lnTo>
                    <a:pt x="0" y="490"/>
                  </a:lnTo>
                  <a:lnTo>
                    <a:pt x="717" y="132"/>
                  </a:lnTo>
                </a:path>
              </a:pathLst>
            </a:custGeom>
            <a:solidFill>
              <a:srgbClr val="E7C5A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0" name="Freeform 1194">
              <a:extLst>
                <a:ext uri="{FF2B5EF4-FFF2-40B4-BE49-F238E27FC236}">
                  <a16:creationId xmlns:a16="http://schemas.microsoft.com/office/drawing/2014/main" id="{C81DAD33-B299-EF41-A2A4-1540225F472B}"/>
                </a:ext>
              </a:extLst>
            </p:cNvPr>
            <p:cNvSpPr>
              <a:spLocks noChangeArrowheads="1"/>
            </p:cNvSpPr>
            <p:nvPr/>
          </p:nvSpPr>
          <p:spPr bwMode="auto">
            <a:xfrm>
              <a:off x="6053893" y="1866900"/>
              <a:ext cx="411442" cy="272058"/>
            </a:xfrm>
            <a:custGeom>
              <a:avLst/>
              <a:gdLst>
                <a:gd name="T0" fmla="*/ 205721 w 3048"/>
                <a:gd name="T1" fmla="*/ 0 h 2015"/>
                <a:gd name="T2" fmla="*/ 205721 w 3048"/>
                <a:gd name="T3" fmla="*/ 0 h 2015"/>
                <a:gd name="T4" fmla="*/ 205721 w 3048"/>
                <a:gd name="T5" fmla="*/ 271923 h 2015"/>
                <a:gd name="T6" fmla="*/ 205721 w 3048"/>
                <a:gd name="T7" fmla="*/ 0 h 201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48" h="2015">
                  <a:moveTo>
                    <a:pt x="1524" y="0"/>
                  </a:moveTo>
                  <a:lnTo>
                    <a:pt x="1524" y="0"/>
                  </a:lnTo>
                  <a:cubicBezTo>
                    <a:pt x="3047" y="0"/>
                    <a:pt x="2430" y="2014"/>
                    <a:pt x="1524" y="2014"/>
                  </a:cubicBezTo>
                  <a:cubicBezTo>
                    <a:pt x="617" y="2014"/>
                    <a:pt x="0" y="0"/>
                    <a:pt x="1524" y="0"/>
                  </a:cubicBezTo>
                </a:path>
              </a:pathLst>
            </a:custGeom>
            <a:solidFill>
              <a:srgbClr val="F0CE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1" name="Freeform 1195">
              <a:extLst>
                <a:ext uri="{FF2B5EF4-FFF2-40B4-BE49-F238E27FC236}">
                  <a16:creationId xmlns:a16="http://schemas.microsoft.com/office/drawing/2014/main" id="{681605E5-574E-0145-BC90-9473ABBED5F6}"/>
                </a:ext>
              </a:extLst>
            </p:cNvPr>
            <p:cNvSpPr>
              <a:spLocks noChangeArrowheads="1"/>
            </p:cNvSpPr>
            <p:nvPr/>
          </p:nvSpPr>
          <p:spPr bwMode="auto">
            <a:xfrm>
              <a:off x="6259912" y="1866900"/>
              <a:ext cx="206018" cy="272058"/>
            </a:xfrm>
            <a:custGeom>
              <a:avLst/>
              <a:gdLst>
                <a:gd name="T0" fmla="*/ 0 w 1524"/>
                <a:gd name="T1" fmla="*/ 0 h 2015"/>
                <a:gd name="T2" fmla="*/ 0 w 1524"/>
                <a:gd name="T3" fmla="*/ 0 h 2015"/>
                <a:gd name="T4" fmla="*/ 0 w 1524"/>
                <a:gd name="T5" fmla="*/ 271923 h 2015"/>
                <a:gd name="T6" fmla="*/ 0 w 1524"/>
                <a:gd name="T7" fmla="*/ 0 h 201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4" h="2015">
                  <a:moveTo>
                    <a:pt x="0" y="0"/>
                  </a:moveTo>
                  <a:lnTo>
                    <a:pt x="0" y="0"/>
                  </a:lnTo>
                  <a:cubicBezTo>
                    <a:pt x="1523" y="0"/>
                    <a:pt x="906" y="2014"/>
                    <a:pt x="0" y="2014"/>
                  </a:cubicBezTo>
                  <a:lnTo>
                    <a:pt x="0" y="0"/>
                  </a:lnTo>
                </a:path>
              </a:pathLst>
            </a:custGeom>
            <a:solidFill>
              <a:srgbClr val="FFDDB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2" name="Freeform 1196">
              <a:extLst>
                <a:ext uri="{FF2B5EF4-FFF2-40B4-BE49-F238E27FC236}">
                  <a16:creationId xmlns:a16="http://schemas.microsoft.com/office/drawing/2014/main" id="{ACDEB8DB-7660-E049-93D6-491418D28EF3}"/>
                </a:ext>
              </a:extLst>
            </p:cNvPr>
            <p:cNvSpPr>
              <a:spLocks noChangeArrowheads="1"/>
            </p:cNvSpPr>
            <p:nvPr/>
          </p:nvSpPr>
          <p:spPr bwMode="auto">
            <a:xfrm>
              <a:off x="6112841" y="1816894"/>
              <a:ext cx="293546" cy="221456"/>
            </a:xfrm>
            <a:custGeom>
              <a:avLst/>
              <a:gdLst>
                <a:gd name="T0" fmla="*/ 204335 w 2175"/>
                <a:gd name="T1" fmla="*/ 77550 h 1642"/>
                <a:gd name="T2" fmla="*/ 204335 w 2175"/>
                <a:gd name="T3" fmla="*/ 77550 h 1642"/>
                <a:gd name="T4" fmla="*/ 258320 w 2175"/>
                <a:gd name="T5" fmla="*/ 163057 h 1642"/>
                <a:gd name="T6" fmla="*/ 278295 w 2175"/>
                <a:gd name="T7" fmla="*/ 169396 h 1642"/>
                <a:gd name="T8" fmla="*/ 150215 w 2175"/>
                <a:gd name="T9" fmla="*/ 0 h 1642"/>
                <a:gd name="T10" fmla="*/ 14306 w 2175"/>
                <a:gd name="T11" fmla="*/ 163867 h 1642"/>
                <a:gd name="T12" fmla="*/ 39139 w 2175"/>
                <a:gd name="T13" fmla="*/ 163867 h 1642"/>
                <a:gd name="T14" fmla="*/ 204335 w 2175"/>
                <a:gd name="T15" fmla="*/ 77550 h 16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75" h="1642">
                  <a:moveTo>
                    <a:pt x="1514" y="575"/>
                  </a:moveTo>
                  <a:lnTo>
                    <a:pt x="1514" y="575"/>
                  </a:lnTo>
                  <a:cubicBezTo>
                    <a:pt x="1756" y="676"/>
                    <a:pt x="1856" y="993"/>
                    <a:pt x="1914" y="1209"/>
                  </a:cubicBezTo>
                  <a:cubicBezTo>
                    <a:pt x="1999" y="1514"/>
                    <a:pt x="1952" y="1489"/>
                    <a:pt x="2062" y="1256"/>
                  </a:cubicBezTo>
                  <a:cubicBezTo>
                    <a:pt x="2174" y="1019"/>
                    <a:pt x="1904" y="0"/>
                    <a:pt x="1113" y="0"/>
                  </a:cubicBezTo>
                  <a:cubicBezTo>
                    <a:pt x="322" y="0"/>
                    <a:pt x="0" y="781"/>
                    <a:pt x="106" y="1215"/>
                  </a:cubicBezTo>
                  <a:cubicBezTo>
                    <a:pt x="217" y="1641"/>
                    <a:pt x="217" y="1535"/>
                    <a:pt x="290" y="1215"/>
                  </a:cubicBezTo>
                  <a:cubicBezTo>
                    <a:pt x="464" y="380"/>
                    <a:pt x="1092" y="745"/>
                    <a:pt x="1514" y="575"/>
                  </a:cubicBezTo>
                </a:path>
              </a:pathLst>
            </a:custGeom>
            <a:solidFill>
              <a:srgbClr val="7E605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3" name="Freeform 1197">
              <a:extLst>
                <a:ext uri="{FF2B5EF4-FFF2-40B4-BE49-F238E27FC236}">
                  <a16:creationId xmlns:a16="http://schemas.microsoft.com/office/drawing/2014/main" id="{14F60A0E-5A32-A44A-BAAE-06A42333AE8F}"/>
                </a:ext>
              </a:extLst>
            </p:cNvPr>
            <p:cNvSpPr>
              <a:spLocks noChangeArrowheads="1"/>
            </p:cNvSpPr>
            <p:nvPr/>
          </p:nvSpPr>
          <p:spPr bwMode="auto">
            <a:xfrm>
              <a:off x="6367089" y="1959173"/>
              <a:ext cx="35131" cy="66080"/>
            </a:xfrm>
            <a:custGeom>
              <a:avLst/>
              <a:gdLst>
                <a:gd name="T0" fmla="*/ 25094 w 259"/>
                <a:gd name="T1" fmla="*/ 2019 h 491"/>
                <a:gd name="T2" fmla="*/ 25094 w 259"/>
                <a:gd name="T3" fmla="*/ 2019 h 491"/>
                <a:gd name="T4" fmla="*/ 31469 w 259"/>
                <a:gd name="T5" fmla="*/ 36068 h 491"/>
                <a:gd name="T6" fmla="*/ 10716 w 259"/>
                <a:gd name="T7" fmla="*/ 64600 h 491"/>
                <a:gd name="T8" fmla="*/ 4205 w 259"/>
                <a:gd name="T9" fmla="*/ 29743 h 491"/>
                <a:gd name="T10" fmla="*/ 25094 w 259"/>
                <a:gd name="T11" fmla="*/ 2019 h 49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9" h="491">
                  <a:moveTo>
                    <a:pt x="185" y="15"/>
                  </a:moveTo>
                  <a:lnTo>
                    <a:pt x="185" y="15"/>
                  </a:lnTo>
                  <a:cubicBezTo>
                    <a:pt x="237" y="26"/>
                    <a:pt x="258" y="137"/>
                    <a:pt x="232" y="268"/>
                  </a:cubicBezTo>
                  <a:cubicBezTo>
                    <a:pt x="201" y="395"/>
                    <a:pt x="132" y="490"/>
                    <a:pt x="79" y="480"/>
                  </a:cubicBezTo>
                  <a:cubicBezTo>
                    <a:pt x="21" y="463"/>
                    <a:pt x="0" y="353"/>
                    <a:pt x="31" y="221"/>
                  </a:cubicBezTo>
                  <a:cubicBezTo>
                    <a:pt x="58" y="95"/>
                    <a:pt x="127" y="0"/>
                    <a:pt x="185" y="15"/>
                  </a:cubicBezTo>
                </a:path>
              </a:pathLst>
            </a:custGeom>
            <a:solidFill>
              <a:srgbClr val="FFDDB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4" name="Freeform 1198">
              <a:extLst>
                <a:ext uri="{FF2B5EF4-FFF2-40B4-BE49-F238E27FC236}">
                  <a16:creationId xmlns:a16="http://schemas.microsoft.com/office/drawing/2014/main" id="{3F97F681-6BC0-1544-848F-8F01A27612E2}"/>
                </a:ext>
              </a:extLst>
            </p:cNvPr>
            <p:cNvSpPr>
              <a:spLocks noChangeArrowheads="1"/>
            </p:cNvSpPr>
            <p:nvPr/>
          </p:nvSpPr>
          <p:spPr bwMode="auto">
            <a:xfrm>
              <a:off x="6117009" y="1959173"/>
              <a:ext cx="35131" cy="66080"/>
            </a:xfrm>
            <a:custGeom>
              <a:avLst/>
              <a:gdLst>
                <a:gd name="T0" fmla="*/ 10037 w 259"/>
                <a:gd name="T1" fmla="*/ 2019 h 491"/>
                <a:gd name="T2" fmla="*/ 10037 w 259"/>
                <a:gd name="T3" fmla="*/ 2019 h 491"/>
                <a:gd name="T4" fmla="*/ 3527 w 259"/>
                <a:gd name="T5" fmla="*/ 36068 h 491"/>
                <a:gd name="T6" fmla="*/ 24280 w 259"/>
                <a:gd name="T7" fmla="*/ 64600 h 491"/>
                <a:gd name="T8" fmla="*/ 30790 w 259"/>
                <a:gd name="T9" fmla="*/ 29743 h 491"/>
                <a:gd name="T10" fmla="*/ 10037 w 259"/>
                <a:gd name="T11" fmla="*/ 2019 h 49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9" h="491">
                  <a:moveTo>
                    <a:pt x="74" y="15"/>
                  </a:moveTo>
                  <a:lnTo>
                    <a:pt x="74" y="15"/>
                  </a:lnTo>
                  <a:cubicBezTo>
                    <a:pt x="21" y="26"/>
                    <a:pt x="0" y="137"/>
                    <a:pt x="26" y="268"/>
                  </a:cubicBezTo>
                  <a:cubicBezTo>
                    <a:pt x="58" y="395"/>
                    <a:pt x="121" y="490"/>
                    <a:pt x="179" y="480"/>
                  </a:cubicBezTo>
                  <a:cubicBezTo>
                    <a:pt x="237" y="463"/>
                    <a:pt x="258" y="353"/>
                    <a:pt x="227" y="221"/>
                  </a:cubicBezTo>
                  <a:cubicBezTo>
                    <a:pt x="200" y="95"/>
                    <a:pt x="131" y="0"/>
                    <a:pt x="74" y="15"/>
                  </a:cubicBezTo>
                </a:path>
              </a:pathLst>
            </a:custGeom>
            <a:solidFill>
              <a:srgbClr val="F6D6B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5" name="Freeform 1199">
              <a:extLst>
                <a:ext uri="{FF2B5EF4-FFF2-40B4-BE49-F238E27FC236}">
                  <a16:creationId xmlns:a16="http://schemas.microsoft.com/office/drawing/2014/main" id="{6C37D4BD-9CC8-2A46-99D9-B7B8809C2CD5}"/>
                </a:ext>
              </a:extLst>
            </p:cNvPr>
            <p:cNvSpPr>
              <a:spLocks noChangeArrowheads="1"/>
            </p:cNvSpPr>
            <p:nvPr/>
          </p:nvSpPr>
          <p:spPr bwMode="auto">
            <a:xfrm>
              <a:off x="6214659" y="2177654"/>
              <a:ext cx="89910" cy="230386"/>
            </a:xfrm>
            <a:custGeom>
              <a:avLst/>
              <a:gdLst>
                <a:gd name="T0" fmla="*/ 34071 w 665"/>
                <a:gd name="T1" fmla="*/ 82696 h 1705"/>
                <a:gd name="T2" fmla="*/ 34071 w 665"/>
                <a:gd name="T3" fmla="*/ 82696 h 1705"/>
                <a:gd name="T4" fmla="*/ 23390 w 665"/>
                <a:gd name="T5" fmla="*/ 229575 h 1705"/>
                <a:gd name="T6" fmla="*/ 44887 w 665"/>
                <a:gd name="T7" fmla="*/ 230251 h 1705"/>
                <a:gd name="T8" fmla="*/ 65438 w 665"/>
                <a:gd name="T9" fmla="*/ 229575 h 1705"/>
                <a:gd name="T10" fmla="*/ 55568 w 665"/>
                <a:gd name="T11" fmla="*/ 82696 h 1705"/>
                <a:gd name="T12" fmla="*/ 89775 w 665"/>
                <a:gd name="T13" fmla="*/ 811 h 1705"/>
                <a:gd name="T14" fmla="*/ 0 w 665"/>
                <a:gd name="T15" fmla="*/ 811 h 1705"/>
                <a:gd name="T16" fmla="*/ 34071 w 665"/>
                <a:gd name="T17" fmla="*/ 82696 h 17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5" h="1705">
                  <a:moveTo>
                    <a:pt x="252" y="612"/>
                  </a:moveTo>
                  <a:lnTo>
                    <a:pt x="252" y="612"/>
                  </a:lnTo>
                  <a:cubicBezTo>
                    <a:pt x="173" y="1699"/>
                    <a:pt x="173" y="1699"/>
                    <a:pt x="173" y="1699"/>
                  </a:cubicBezTo>
                  <a:cubicBezTo>
                    <a:pt x="226" y="1704"/>
                    <a:pt x="279" y="1704"/>
                    <a:pt x="332" y="1704"/>
                  </a:cubicBezTo>
                  <a:cubicBezTo>
                    <a:pt x="385" y="1704"/>
                    <a:pt x="437" y="1704"/>
                    <a:pt x="484" y="1699"/>
                  </a:cubicBezTo>
                  <a:cubicBezTo>
                    <a:pt x="411" y="612"/>
                    <a:pt x="411" y="612"/>
                    <a:pt x="411" y="612"/>
                  </a:cubicBezTo>
                  <a:cubicBezTo>
                    <a:pt x="664" y="6"/>
                    <a:pt x="664" y="6"/>
                    <a:pt x="664" y="6"/>
                  </a:cubicBezTo>
                  <a:cubicBezTo>
                    <a:pt x="426" y="0"/>
                    <a:pt x="237" y="0"/>
                    <a:pt x="0" y="6"/>
                  </a:cubicBezTo>
                  <a:lnTo>
                    <a:pt x="252" y="612"/>
                  </a:lnTo>
                </a:path>
              </a:pathLst>
            </a:custGeom>
            <a:solidFill>
              <a:srgbClr val="2245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6" name="Freeform 1200">
              <a:extLst>
                <a:ext uri="{FF2B5EF4-FFF2-40B4-BE49-F238E27FC236}">
                  <a16:creationId xmlns:a16="http://schemas.microsoft.com/office/drawing/2014/main" id="{7D1657CE-1A28-0A40-96B6-EBAB0C21F1BA}"/>
                </a:ext>
              </a:extLst>
            </p:cNvPr>
            <p:cNvSpPr>
              <a:spLocks noChangeArrowheads="1"/>
            </p:cNvSpPr>
            <p:nvPr/>
          </p:nvSpPr>
          <p:spPr bwMode="auto">
            <a:xfrm>
              <a:off x="6119986" y="2170510"/>
              <a:ext cx="136353" cy="236934"/>
            </a:xfrm>
            <a:custGeom>
              <a:avLst/>
              <a:gdLst>
                <a:gd name="T0" fmla="*/ 117009 w 1008"/>
                <a:gd name="T1" fmla="*/ 236125 h 1757"/>
                <a:gd name="T2" fmla="*/ 117009 w 1008"/>
                <a:gd name="T3" fmla="*/ 236125 h 1757"/>
                <a:gd name="T4" fmla="*/ 29219 w 1008"/>
                <a:gd name="T5" fmla="*/ 158585 h 1757"/>
                <a:gd name="T6" fmla="*/ 38552 w 1008"/>
                <a:gd name="T7" fmla="*/ 92373 h 1757"/>
                <a:gd name="T8" fmla="*/ 0 w 1008"/>
                <a:gd name="T9" fmla="*/ 95205 h 1757"/>
                <a:gd name="T10" fmla="*/ 84950 w 1008"/>
                <a:gd name="T11" fmla="*/ 0 h 1757"/>
                <a:gd name="T12" fmla="*/ 103482 w 1008"/>
                <a:gd name="T13" fmla="*/ 96688 h 1757"/>
                <a:gd name="T14" fmla="*/ 136218 w 1008"/>
                <a:gd name="T15" fmla="*/ 236799 h 1757"/>
                <a:gd name="T16" fmla="*/ 117009 w 1008"/>
                <a:gd name="T17" fmla="*/ 236125 h 17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08" h="1757">
                  <a:moveTo>
                    <a:pt x="865" y="1751"/>
                  </a:moveTo>
                  <a:lnTo>
                    <a:pt x="865" y="1751"/>
                  </a:lnTo>
                  <a:cubicBezTo>
                    <a:pt x="707" y="1456"/>
                    <a:pt x="459" y="1144"/>
                    <a:pt x="216" y="1176"/>
                  </a:cubicBezTo>
                  <a:cubicBezTo>
                    <a:pt x="164" y="997"/>
                    <a:pt x="210" y="854"/>
                    <a:pt x="285" y="685"/>
                  </a:cubicBezTo>
                  <a:cubicBezTo>
                    <a:pt x="195" y="670"/>
                    <a:pt x="121" y="644"/>
                    <a:pt x="0" y="706"/>
                  </a:cubicBezTo>
                  <a:cubicBezTo>
                    <a:pt x="164" y="359"/>
                    <a:pt x="337" y="95"/>
                    <a:pt x="628" y="0"/>
                  </a:cubicBezTo>
                  <a:cubicBezTo>
                    <a:pt x="628" y="168"/>
                    <a:pt x="611" y="496"/>
                    <a:pt x="765" y="717"/>
                  </a:cubicBezTo>
                  <a:cubicBezTo>
                    <a:pt x="875" y="870"/>
                    <a:pt x="965" y="1356"/>
                    <a:pt x="1007" y="1756"/>
                  </a:cubicBezTo>
                  <a:cubicBezTo>
                    <a:pt x="960" y="1756"/>
                    <a:pt x="912" y="1756"/>
                    <a:pt x="865" y="1751"/>
                  </a:cubicBezTo>
                </a:path>
              </a:pathLst>
            </a:custGeom>
            <a:solidFill>
              <a:srgbClr val="D1D8E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7" name="Freeform 1201">
              <a:extLst>
                <a:ext uri="{FF2B5EF4-FFF2-40B4-BE49-F238E27FC236}">
                  <a16:creationId xmlns:a16="http://schemas.microsoft.com/office/drawing/2014/main" id="{06FF02E7-DEA3-524E-A9DA-E92209192A6D}"/>
                </a:ext>
              </a:extLst>
            </p:cNvPr>
            <p:cNvSpPr>
              <a:spLocks noChangeArrowheads="1"/>
            </p:cNvSpPr>
            <p:nvPr/>
          </p:nvSpPr>
          <p:spPr bwMode="auto">
            <a:xfrm>
              <a:off x="6118795" y="2170510"/>
              <a:ext cx="138139" cy="236934"/>
            </a:xfrm>
            <a:custGeom>
              <a:avLst/>
              <a:gdLst>
                <a:gd name="T0" fmla="*/ 125986 w 1023"/>
                <a:gd name="T1" fmla="*/ 236799 h 1757"/>
                <a:gd name="T2" fmla="*/ 125986 w 1023"/>
                <a:gd name="T3" fmla="*/ 236799 h 1757"/>
                <a:gd name="T4" fmla="*/ 38349 w 1023"/>
                <a:gd name="T5" fmla="*/ 141459 h 1757"/>
                <a:gd name="T6" fmla="*/ 54688 w 1023"/>
                <a:gd name="T7" fmla="*/ 83203 h 1757"/>
                <a:gd name="T8" fmla="*/ 0 w 1023"/>
                <a:gd name="T9" fmla="*/ 91025 h 1757"/>
                <a:gd name="T10" fmla="*/ 86151 w 1023"/>
                <a:gd name="T11" fmla="*/ 0 h 1757"/>
                <a:gd name="T12" fmla="*/ 104651 w 1023"/>
                <a:gd name="T13" fmla="*/ 96688 h 1757"/>
                <a:gd name="T14" fmla="*/ 138004 w 1023"/>
                <a:gd name="T15" fmla="*/ 236799 h 1757"/>
                <a:gd name="T16" fmla="*/ 125986 w 1023"/>
                <a:gd name="T17" fmla="*/ 236799 h 17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23" h="1757">
                  <a:moveTo>
                    <a:pt x="933" y="1756"/>
                  </a:moveTo>
                  <a:lnTo>
                    <a:pt x="933" y="1756"/>
                  </a:lnTo>
                  <a:cubicBezTo>
                    <a:pt x="780" y="1439"/>
                    <a:pt x="506" y="1049"/>
                    <a:pt x="284" y="1049"/>
                  </a:cubicBezTo>
                  <a:cubicBezTo>
                    <a:pt x="289" y="854"/>
                    <a:pt x="305" y="764"/>
                    <a:pt x="405" y="617"/>
                  </a:cubicBezTo>
                  <a:cubicBezTo>
                    <a:pt x="263" y="596"/>
                    <a:pt x="120" y="617"/>
                    <a:pt x="0" y="675"/>
                  </a:cubicBezTo>
                  <a:cubicBezTo>
                    <a:pt x="94" y="432"/>
                    <a:pt x="411" y="95"/>
                    <a:pt x="638" y="0"/>
                  </a:cubicBezTo>
                  <a:cubicBezTo>
                    <a:pt x="638" y="168"/>
                    <a:pt x="621" y="496"/>
                    <a:pt x="775" y="717"/>
                  </a:cubicBezTo>
                  <a:cubicBezTo>
                    <a:pt x="896" y="881"/>
                    <a:pt x="986" y="1376"/>
                    <a:pt x="1022" y="1756"/>
                  </a:cubicBezTo>
                  <a:cubicBezTo>
                    <a:pt x="997" y="1756"/>
                    <a:pt x="964" y="1756"/>
                    <a:pt x="933" y="1756"/>
                  </a:cubicBezTo>
                </a:path>
              </a:pathLst>
            </a:custGeom>
            <a:solidFill>
              <a:srgbClr val="E1E6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8" name="Freeform 1202">
              <a:extLst>
                <a:ext uri="{FF2B5EF4-FFF2-40B4-BE49-F238E27FC236}">
                  <a16:creationId xmlns:a16="http://schemas.microsoft.com/office/drawing/2014/main" id="{BA244441-2D19-2644-90A0-E32F2816376F}"/>
                </a:ext>
              </a:extLst>
            </p:cNvPr>
            <p:cNvSpPr>
              <a:spLocks noChangeArrowheads="1"/>
            </p:cNvSpPr>
            <p:nvPr/>
          </p:nvSpPr>
          <p:spPr bwMode="auto">
            <a:xfrm>
              <a:off x="6255148" y="2170510"/>
              <a:ext cx="145285" cy="236934"/>
            </a:xfrm>
            <a:custGeom>
              <a:avLst/>
              <a:gdLst>
                <a:gd name="T0" fmla="*/ 26305 w 1077"/>
                <a:gd name="T1" fmla="*/ 236125 h 1757"/>
                <a:gd name="T2" fmla="*/ 26305 w 1077"/>
                <a:gd name="T3" fmla="*/ 236125 h 1757"/>
                <a:gd name="T4" fmla="*/ 114528 w 1077"/>
                <a:gd name="T5" fmla="*/ 158585 h 1757"/>
                <a:gd name="T6" fmla="*/ 105355 w 1077"/>
                <a:gd name="T7" fmla="*/ 92373 h 1757"/>
                <a:gd name="T8" fmla="*/ 145150 w 1077"/>
                <a:gd name="T9" fmla="*/ 96688 h 1757"/>
                <a:gd name="T10" fmla="*/ 59085 w 1077"/>
                <a:gd name="T11" fmla="*/ 0 h 1757"/>
                <a:gd name="T12" fmla="*/ 43437 w 1077"/>
                <a:gd name="T13" fmla="*/ 97363 h 1757"/>
                <a:gd name="T14" fmla="*/ 0 w 1077"/>
                <a:gd name="T15" fmla="*/ 236799 h 1757"/>
                <a:gd name="T16" fmla="*/ 4317 w 1077"/>
                <a:gd name="T17" fmla="*/ 236799 h 1757"/>
                <a:gd name="T18" fmla="*/ 26305 w 1077"/>
                <a:gd name="T19" fmla="*/ 236125 h 17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77" h="1757">
                  <a:moveTo>
                    <a:pt x="195" y="1751"/>
                  </a:moveTo>
                  <a:lnTo>
                    <a:pt x="195" y="1751"/>
                  </a:lnTo>
                  <a:cubicBezTo>
                    <a:pt x="359" y="1456"/>
                    <a:pt x="606" y="1144"/>
                    <a:pt x="849" y="1176"/>
                  </a:cubicBezTo>
                  <a:cubicBezTo>
                    <a:pt x="902" y="997"/>
                    <a:pt x="855" y="854"/>
                    <a:pt x="781" y="685"/>
                  </a:cubicBezTo>
                  <a:cubicBezTo>
                    <a:pt x="870" y="670"/>
                    <a:pt x="960" y="654"/>
                    <a:pt x="1076" y="717"/>
                  </a:cubicBezTo>
                  <a:cubicBezTo>
                    <a:pt x="960" y="506"/>
                    <a:pt x="728" y="95"/>
                    <a:pt x="438" y="0"/>
                  </a:cubicBezTo>
                  <a:cubicBezTo>
                    <a:pt x="438" y="168"/>
                    <a:pt x="575" y="522"/>
                    <a:pt x="322" y="722"/>
                  </a:cubicBezTo>
                  <a:cubicBezTo>
                    <a:pt x="142" y="865"/>
                    <a:pt x="21" y="1350"/>
                    <a:pt x="0" y="1756"/>
                  </a:cubicBezTo>
                  <a:cubicBezTo>
                    <a:pt x="10" y="1756"/>
                    <a:pt x="21" y="1756"/>
                    <a:pt x="32" y="1756"/>
                  </a:cubicBezTo>
                  <a:cubicBezTo>
                    <a:pt x="89" y="1756"/>
                    <a:pt x="142" y="1756"/>
                    <a:pt x="195" y="1751"/>
                  </a:cubicBezTo>
                </a:path>
              </a:pathLst>
            </a:custGeom>
            <a:solidFill>
              <a:srgbClr val="E1E6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89" name="Freeform 1203">
              <a:extLst>
                <a:ext uri="{FF2B5EF4-FFF2-40B4-BE49-F238E27FC236}">
                  <a16:creationId xmlns:a16="http://schemas.microsoft.com/office/drawing/2014/main" id="{03A4B972-767D-9F4D-BB19-FB0FBA2A32B8}"/>
                </a:ext>
              </a:extLst>
            </p:cNvPr>
            <p:cNvSpPr>
              <a:spLocks noChangeArrowheads="1"/>
            </p:cNvSpPr>
            <p:nvPr/>
          </p:nvSpPr>
          <p:spPr bwMode="auto">
            <a:xfrm>
              <a:off x="6261102" y="2170510"/>
              <a:ext cx="140521" cy="236934"/>
            </a:xfrm>
            <a:custGeom>
              <a:avLst/>
              <a:gdLst>
                <a:gd name="T0" fmla="*/ 13389 w 1039"/>
                <a:gd name="T1" fmla="*/ 236799 h 1757"/>
                <a:gd name="T2" fmla="*/ 13389 w 1039"/>
                <a:gd name="T3" fmla="*/ 236799 h 1757"/>
                <a:gd name="T4" fmla="*/ 101164 w 1039"/>
                <a:gd name="T5" fmla="*/ 141459 h 1757"/>
                <a:gd name="T6" fmla="*/ 83988 w 1039"/>
                <a:gd name="T7" fmla="*/ 83203 h 1757"/>
                <a:gd name="T8" fmla="*/ 140386 w 1039"/>
                <a:gd name="T9" fmla="*/ 91834 h 1757"/>
                <a:gd name="T10" fmla="*/ 53422 w 1039"/>
                <a:gd name="T11" fmla="*/ 0 h 1757"/>
                <a:gd name="T12" fmla="*/ 34217 w 1039"/>
                <a:gd name="T13" fmla="*/ 96688 h 1757"/>
                <a:gd name="T14" fmla="*/ 0 w 1039"/>
                <a:gd name="T15" fmla="*/ 236799 h 1757"/>
                <a:gd name="T16" fmla="*/ 13389 w 1039"/>
                <a:gd name="T17" fmla="*/ 236799 h 17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39" h="1757">
                  <a:moveTo>
                    <a:pt x="99" y="1756"/>
                  </a:moveTo>
                  <a:lnTo>
                    <a:pt x="99" y="1756"/>
                  </a:lnTo>
                  <a:cubicBezTo>
                    <a:pt x="253" y="1439"/>
                    <a:pt x="527" y="1049"/>
                    <a:pt x="748" y="1049"/>
                  </a:cubicBezTo>
                  <a:cubicBezTo>
                    <a:pt x="743" y="854"/>
                    <a:pt x="727" y="764"/>
                    <a:pt x="621" y="617"/>
                  </a:cubicBezTo>
                  <a:cubicBezTo>
                    <a:pt x="769" y="596"/>
                    <a:pt x="917" y="623"/>
                    <a:pt x="1038" y="681"/>
                  </a:cubicBezTo>
                  <a:cubicBezTo>
                    <a:pt x="906" y="448"/>
                    <a:pt x="617" y="95"/>
                    <a:pt x="395" y="0"/>
                  </a:cubicBezTo>
                  <a:cubicBezTo>
                    <a:pt x="395" y="168"/>
                    <a:pt x="421" y="517"/>
                    <a:pt x="253" y="717"/>
                  </a:cubicBezTo>
                  <a:cubicBezTo>
                    <a:pt x="126" y="870"/>
                    <a:pt x="31" y="1366"/>
                    <a:pt x="0" y="1756"/>
                  </a:cubicBezTo>
                  <a:cubicBezTo>
                    <a:pt x="31" y="1756"/>
                    <a:pt x="68" y="1756"/>
                    <a:pt x="99" y="1756"/>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0" name="Freeform 1204">
              <a:extLst>
                <a:ext uri="{FF2B5EF4-FFF2-40B4-BE49-F238E27FC236}">
                  <a16:creationId xmlns:a16="http://schemas.microsoft.com/office/drawing/2014/main" id="{610CA9F3-9DA9-D04B-A8C3-0057D628EAAE}"/>
                </a:ext>
              </a:extLst>
            </p:cNvPr>
            <p:cNvSpPr>
              <a:spLocks noChangeArrowheads="1"/>
            </p:cNvSpPr>
            <p:nvPr/>
          </p:nvSpPr>
          <p:spPr bwMode="auto">
            <a:xfrm>
              <a:off x="6174765" y="2149078"/>
              <a:ext cx="83360" cy="91083"/>
            </a:xfrm>
            <a:custGeom>
              <a:avLst/>
              <a:gdLst>
                <a:gd name="T0" fmla="*/ 35475 w 618"/>
                <a:gd name="T1" fmla="*/ 0 h 676"/>
                <a:gd name="T2" fmla="*/ 4991 w 618"/>
                <a:gd name="T3" fmla="*/ 30451 h 676"/>
                <a:gd name="T4" fmla="*/ 0 w 618"/>
                <a:gd name="T5" fmla="*/ 90948 h 676"/>
                <a:gd name="T6" fmla="*/ 83225 w 618"/>
                <a:gd name="T7" fmla="*/ 29103 h 676"/>
                <a:gd name="T8" fmla="*/ 35475 w 618"/>
                <a:gd name="T9" fmla="*/ 0 h 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8" h="676">
                  <a:moveTo>
                    <a:pt x="263" y="0"/>
                  </a:moveTo>
                  <a:lnTo>
                    <a:pt x="37" y="226"/>
                  </a:lnTo>
                  <a:lnTo>
                    <a:pt x="0" y="675"/>
                  </a:lnTo>
                  <a:lnTo>
                    <a:pt x="617" y="216"/>
                  </a:lnTo>
                  <a:lnTo>
                    <a:pt x="263" y="0"/>
                  </a:lnTo>
                </a:path>
              </a:pathLst>
            </a:custGeom>
            <a:solidFill>
              <a:srgbClr val="DB4E4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1" name="Freeform 1205">
              <a:extLst>
                <a:ext uri="{FF2B5EF4-FFF2-40B4-BE49-F238E27FC236}">
                  <a16:creationId xmlns:a16="http://schemas.microsoft.com/office/drawing/2014/main" id="{C93185E4-99D7-2446-8686-83BE26BC2701}"/>
                </a:ext>
              </a:extLst>
            </p:cNvPr>
            <p:cNvSpPr>
              <a:spLocks noChangeArrowheads="1"/>
            </p:cNvSpPr>
            <p:nvPr/>
          </p:nvSpPr>
          <p:spPr bwMode="auto">
            <a:xfrm>
              <a:off x="6260507" y="2149078"/>
              <a:ext cx="84551" cy="91083"/>
            </a:xfrm>
            <a:custGeom>
              <a:avLst/>
              <a:gdLst>
                <a:gd name="T0" fmla="*/ 47831 w 624"/>
                <a:gd name="T1" fmla="*/ 0 h 676"/>
                <a:gd name="T2" fmla="*/ 78589 w 624"/>
                <a:gd name="T3" fmla="*/ 30451 h 676"/>
                <a:gd name="T4" fmla="*/ 84416 w 624"/>
                <a:gd name="T5" fmla="*/ 90948 h 676"/>
                <a:gd name="T6" fmla="*/ 0 w 624"/>
                <a:gd name="T7" fmla="*/ 29103 h 676"/>
                <a:gd name="T8" fmla="*/ 47831 w 624"/>
                <a:gd name="T9" fmla="*/ 0 h 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4" h="676">
                  <a:moveTo>
                    <a:pt x="353" y="0"/>
                  </a:moveTo>
                  <a:lnTo>
                    <a:pt x="580" y="226"/>
                  </a:lnTo>
                  <a:lnTo>
                    <a:pt x="623" y="675"/>
                  </a:lnTo>
                  <a:lnTo>
                    <a:pt x="0" y="216"/>
                  </a:lnTo>
                  <a:lnTo>
                    <a:pt x="353" y="0"/>
                  </a:lnTo>
                </a:path>
              </a:pathLst>
            </a:custGeom>
            <a:solidFill>
              <a:srgbClr val="F1595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2" name="Freeform 1206">
              <a:extLst>
                <a:ext uri="{FF2B5EF4-FFF2-40B4-BE49-F238E27FC236}">
                  <a16:creationId xmlns:a16="http://schemas.microsoft.com/office/drawing/2014/main" id="{BDA71EF0-AA06-0E4B-B3B3-DF688419AC5D}"/>
                </a:ext>
              </a:extLst>
            </p:cNvPr>
            <p:cNvSpPr>
              <a:spLocks noChangeArrowheads="1"/>
            </p:cNvSpPr>
            <p:nvPr/>
          </p:nvSpPr>
          <p:spPr bwMode="auto">
            <a:xfrm>
              <a:off x="6308141" y="2137173"/>
              <a:ext cx="69070" cy="151209"/>
            </a:xfrm>
            <a:custGeom>
              <a:avLst/>
              <a:gdLst>
                <a:gd name="T0" fmla="*/ 53317 w 513"/>
                <a:gd name="T1" fmla="*/ 144047 h 1119"/>
                <a:gd name="T2" fmla="*/ 53317 w 513"/>
                <a:gd name="T3" fmla="*/ 144047 h 1119"/>
                <a:gd name="T4" fmla="*/ 58972 w 513"/>
                <a:gd name="T5" fmla="*/ 151074 h 1119"/>
                <a:gd name="T6" fmla="*/ 65973 w 513"/>
                <a:gd name="T7" fmla="*/ 144588 h 1119"/>
                <a:gd name="T8" fmla="*/ 48336 w 513"/>
                <a:gd name="T9" fmla="*/ 59186 h 1119"/>
                <a:gd name="T10" fmla="*/ 0 w 513"/>
                <a:gd name="T11" fmla="*/ 0 h 1119"/>
                <a:gd name="T12" fmla="*/ 0 w 513"/>
                <a:gd name="T13" fmla="*/ 0 h 1119"/>
                <a:gd name="T14" fmla="*/ 0 w 513"/>
                <a:gd name="T15" fmla="*/ 13513 h 1119"/>
                <a:gd name="T16" fmla="*/ 36353 w 513"/>
                <a:gd name="T17" fmla="*/ 64862 h 1119"/>
                <a:gd name="T18" fmla="*/ 53317 w 513"/>
                <a:gd name="T19" fmla="*/ 144047 h 11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13" h="1119">
                  <a:moveTo>
                    <a:pt x="396" y="1066"/>
                  </a:moveTo>
                  <a:lnTo>
                    <a:pt x="396" y="1066"/>
                  </a:lnTo>
                  <a:cubicBezTo>
                    <a:pt x="391" y="1091"/>
                    <a:pt x="411" y="1113"/>
                    <a:pt x="438" y="1118"/>
                  </a:cubicBezTo>
                  <a:cubicBezTo>
                    <a:pt x="465" y="1118"/>
                    <a:pt x="490" y="1097"/>
                    <a:pt x="490" y="1070"/>
                  </a:cubicBezTo>
                  <a:cubicBezTo>
                    <a:pt x="512" y="886"/>
                    <a:pt x="448" y="644"/>
                    <a:pt x="359" y="438"/>
                  </a:cubicBezTo>
                  <a:cubicBezTo>
                    <a:pt x="259" y="211"/>
                    <a:pt x="116" y="26"/>
                    <a:pt x="0" y="0"/>
                  </a:cubicBezTo>
                  <a:cubicBezTo>
                    <a:pt x="0" y="100"/>
                    <a:pt x="0" y="100"/>
                    <a:pt x="0" y="100"/>
                  </a:cubicBezTo>
                  <a:cubicBezTo>
                    <a:pt x="85" y="142"/>
                    <a:pt x="185" y="295"/>
                    <a:pt x="270" y="480"/>
                  </a:cubicBezTo>
                  <a:cubicBezTo>
                    <a:pt x="353" y="670"/>
                    <a:pt x="411" y="896"/>
                    <a:pt x="396" y="1066"/>
                  </a:cubicBez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3" name="Freeform 1207">
              <a:extLst>
                <a:ext uri="{FF2B5EF4-FFF2-40B4-BE49-F238E27FC236}">
                  <a16:creationId xmlns:a16="http://schemas.microsoft.com/office/drawing/2014/main" id="{66630493-4294-1D44-A30F-C54F88DE4664}"/>
                </a:ext>
              </a:extLst>
            </p:cNvPr>
            <p:cNvSpPr>
              <a:spLocks noChangeArrowheads="1"/>
            </p:cNvSpPr>
            <p:nvPr/>
          </p:nvSpPr>
          <p:spPr bwMode="auto">
            <a:xfrm>
              <a:off x="6155712" y="2137172"/>
              <a:ext cx="55375" cy="78581"/>
            </a:xfrm>
            <a:custGeom>
              <a:avLst/>
              <a:gdLst>
                <a:gd name="T0" fmla="*/ 0 w 412"/>
                <a:gd name="T1" fmla="*/ 78446 h 581"/>
                <a:gd name="T2" fmla="*/ 0 w 412"/>
                <a:gd name="T3" fmla="*/ 78446 h 581"/>
                <a:gd name="T4" fmla="*/ 6989 w 412"/>
                <a:gd name="T5" fmla="*/ 59240 h 581"/>
                <a:gd name="T6" fmla="*/ 55241 w 412"/>
                <a:gd name="T7" fmla="*/ 0 h 581"/>
                <a:gd name="T8" fmla="*/ 55241 w 412"/>
                <a:gd name="T9" fmla="*/ 14201 h 581"/>
                <a:gd name="T10" fmla="*/ 19086 w 412"/>
                <a:gd name="T11" fmla="*/ 64921 h 581"/>
                <a:gd name="T12" fmla="*/ 14247 w 412"/>
                <a:gd name="T13" fmla="*/ 78446 h 581"/>
                <a:gd name="T14" fmla="*/ 0 w 412"/>
                <a:gd name="T15" fmla="*/ 78446 h 58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12" h="581">
                  <a:moveTo>
                    <a:pt x="0" y="580"/>
                  </a:moveTo>
                  <a:lnTo>
                    <a:pt x="0" y="580"/>
                  </a:lnTo>
                  <a:cubicBezTo>
                    <a:pt x="15" y="533"/>
                    <a:pt x="37" y="485"/>
                    <a:pt x="52" y="438"/>
                  </a:cubicBezTo>
                  <a:cubicBezTo>
                    <a:pt x="152" y="216"/>
                    <a:pt x="295" y="26"/>
                    <a:pt x="411" y="0"/>
                  </a:cubicBezTo>
                  <a:cubicBezTo>
                    <a:pt x="411" y="105"/>
                    <a:pt x="411" y="105"/>
                    <a:pt x="411" y="105"/>
                  </a:cubicBezTo>
                  <a:cubicBezTo>
                    <a:pt x="326" y="148"/>
                    <a:pt x="226" y="295"/>
                    <a:pt x="142" y="480"/>
                  </a:cubicBezTo>
                  <a:cubicBezTo>
                    <a:pt x="131" y="512"/>
                    <a:pt x="116" y="549"/>
                    <a:pt x="106" y="580"/>
                  </a:cubicBezTo>
                  <a:lnTo>
                    <a:pt x="0" y="580"/>
                  </a:ln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4" name="Freeform 1208">
              <a:extLst>
                <a:ext uri="{FF2B5EF4-FFF2-40B4-BE49-F238E27FC236}">
                  <a16:creationId xmlns:a16="http://schemas.microsoft.com/office/drawing/2014/main" id="{6B143C74-20CE-AA4A-8824-7E1EBC423E9B}"/>
                </a:ext>
              </a:extLst>
            </p:cNvPr>
            <p:cNvSpPr>
              <a:spLocks noChangeArrowheads="1"/>
            </p:cNvSpPr>
            <p:nvPr/>
          </p:nvSpPr>
          <p:spPr bwMode="auto">
            <a:xfrm>
              <a:off x="6342081" y="2270522"/>
              <a:ext cx="40489" cy="40481"/>
            </a:xfrm>
            <a:custGeom>
              <a:avLst/>
              <a:gdLst>
                <a:gd name="T0" fmla="*/ 19842 w 302"/>
                <a:gd name="T1" fmla="*/ 40347 h 302"/>
                <a:gd name="T2" fmla="*/ 19842 w 302"/>
                <a:gd name="T3" fmla="*/ 40347 h 302"/>
                <a:gd name="T4" fmla="*/ 40355 w 302"/>
                <a:gd name="T5" fmla="*/ 20643 h 302"/>
                <a:gd name="T6" fmla="*/ 19842 w 302"/>
                <a:gd name="T7" fmla="*/ 0 h 302"/>
                <a:gd name="T8" fmla="*/ 0 w 302"/>
                <a:gd name="T9" fmla="*/ 20643 h 302"/>
                <a:gd name="T10" fmla="*/ 19842 w 302"/>
                <a:gd name="T11" fmla="*/ 40347 h 30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2" h="302">
                  <a:moveTo>
                    <a:pt x="148" y="301"/>
                  </a:moveTo>
                  <a:lnTo>
                    <a:pt x="148" y="301"/>
                  </a:lnTo>
                  <a:cubicBezTo>
                    <a:pt x="233" y="301"/>
                    <a:pt x="301" y="233"/>
                    <a:pt x="301" y="154"/>
                  </a:cubicBezTo>
                  <a:cubicBezTo>
                    <a:pt x="301" y="69"/>
                    <a:pt x="233" y="0"/>
                    <a:pt x="148" y="0"/>
                  </a:cubicBezTo>
                  <a:cubicBezTo>
                    <a:pt x="69" y="0"/>
                    <a:pt x="0" y="69"/>
                    <a:pt x="0" y="154"/>
                  </a:cubicBezTo>
                  <a:cubicBezTo>
                    <a:pt x="0" y="233"/>
                    <a:pt x="69" y="301"/>
                    <a:pt x="148" y="301"/>
                  </a:cubicBez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5" name="Freeform 1209">
              <a:extLst>
                <a:ext uri="{FF2B5EF4-FFF2-40B4-BE49-F238E27FC236}">
                  <a16:creationId xmlns:a16="http://schemas.microsoft.com/office/drawing/2014/main" id="{2492E099-99A3-BB4F-8F71-29782A9D6295}"/>
                </a:ext>
              </a:extLst>
            </p:cNvPr>
            <p:cNvSpPr>
              <a:spLocks noChangeArrowheads="1"/>
            </p:cNvSpPr>
            <p:nvPr/>
          </p:nvSpPr>
          <p:spPr bwMode="auto">
            <a:xfrm>
              <a:off x="6349226" y="2278261"/>
              <a:ext cx="26199" cy="26194"/>
            </a:xfrm>
            <a:custGeom>
              <a:avLst/>
              <a:gdLst>
                <a:gd name="T0" fmla="*/ 12698 w 196"/>
                <a:gd name="T1" fmla="*/ 26060 h 195"/>
                <a:gd name="T2" fmla="*/ 12698 w 196"/>
                <a:gd name="T3" fmla="*/ 26060 h 195"/>
                <a:gd name="T4" fmla="*/ 26065 w 196"/>
                <a:gd name="T5" fmla="*/ 13433 h 195"/>
                <a:gd name="T6" fmla="*/ 12698 w 196"/>
                <a:gd name="T7" fmla="*/ 0 h 195"/>
                <a:gd name="T8" fmla="*/ 0 w 196"/>
                <a:gd name="T9" fmla="*/ 13433 h 195"/>
                <a:gd name="T10" fmla="*/ 12698 w 196"/>
                <a:gd name="T11" fmla="*/ 26060 h 1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 h="195">
                  <a:moveTo>
                    <a:pt x="95" y="194"/>
                  </a:moveTo>
                  <a:lnTo>
                    <a:pt x="95" y="194"/>
                  </a:lnTo>
                  <a:cubicBezTo>
                    <a:pt x="148" y="194"/>
                    <a:pt x="195" y="152"/>
                    <a:pt x="195" y="100"/>
                  </a:cubicBezTo>
                  <a:cubicBezTo>
                    <a:pt x="195" y="42"/>
                    <a:pt x="148" y="0"/>
                    <a:pt x="95" y="0"/>
                  </a:cubicBezTo>
                  <a:cubicBezTo>
                    <a:pt x="43" y="0"/>
                    <a:pt x="0" y="42"/>
                    <a:pt x="0" y="100"/>
                  </a:cubicBezTo>
                  <a:cubicBezTo>
                    <a:pt x="0" y="152"/>
                    <a:pt x="43" y="194"/>
                    <a:pt x="95" y="194"/>
                  </a:cubicBezTo>
                </a:path>
              </a:pathLst>
            </a:custGeom>
            <a:solidFill>
              <a:srgbClr val="2245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6" name="Freeform 1210">
              <a:extLst>
                <a:ext uri="{FF2B5EF4-FFF2-40B4-BE49-F238E27FC236}">
                  <a16:creationId xmlns:a16="http://schemas.microsoft.com/office/drawing/2014/main" id="{1E8B79D2-0826-8C46-9886-7F2CED7BB78A}"/>
                </a:ext>
              </a:extLst>
            </p:cNvPr>
            <p:cNvSpPr>
              <a:spLocks noChangeArrowheads="1"/>
            </p:cNvSpPr>
            <p:nvPr/>
          </p:nvSpPr>
          <p:spPr bwMode="auto">
            <a:xfrm>
              <a:off x="6130108" y="2246710"/>
              <a:ext cx="42276" cy="112514"/>
            </a:xfrm>
            <a:custGeom>
              <a:avLst/>
              <a:gdLst>
                <a:gd name="T0" fmla="*/ 9320 w 313"/>
                <a:gd name="T1" fmla="*/ 675 h 834"/>
                <a:gd name="T2" fmla="*/ 9320 w 313"/>
                <a:gd name="T3" fmla="*/ 675 h 834"/>
                <a:gd name="T4" fmla="*/ 8644 w 313"/>
                <a:gd name="T5" fmla="*/ 61923 h 834"/>
                <a:gd name="T6" fmla="*/ 42141 w 313"/>
                <a:gd name="T7" fmla="*/ 107387 h 834"/>
                <a:gd name="T8" fmla="*/ 41466 w 313"/>
                <a:gd name="T9" fmla="*/ 112379 h 834"/>
                <a:gd name="T10" fmla="*/ 3647 w 313"/>
                <a:gd name="T11" fmla="*/ 62598 h 834"/>
                <a:gd name="T12" fmla="*/ 4457 w 313"/>
                <a:gd name="T13" fmla="*/ 0 h 834"/>
                <a:gd name="T14" fmla="*/ 9320 w 313"/>
                <a:gd name="T15" fmla="*/ 675 h 83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3" h="834">
                  <a:moveTo>
                    <a:pt x="69" y="5"/>
                  </a:moveTo>
                  <a:lnTo>
                    <a:pt x="69" y="5"/>
                  </a:lnTo>
                  <a:cubicBezTo>
                    <a:pt x="58" y="95"/>
                    <a:pt x="43" y="285"/>
                    <a:pt x="64" y="459"/>
                  </a:cubicBezTo>
                  <a:cubicBezTo>
                    <a:pt x="91" y="628"/>
                    <a:pt x="154" y="775"/>
                    <a:pt x="312" y="796"/>
                  </a:cubicBezTo>
                  <a:cubicBezTo>
                    <a:pt x="307" y="833"/>
                    <a:pt x="307" y="833"/>
                    <a:pt x="307" y="833"/>
                  </a:cubicBezTo>
                  <a:cubicBezTo>
                    <a:pt x="127" y="812"/>
                    <a:pt x="54" y="649"/>
                    <a:pt x="27" y="464"/>
                  </a:cubicBezTo>
                  <a:cubicBezTo>
                    <a:pt x="0" y="285"/>
                    <a:pt x="22" y="90"/>
                    <a:pt x="33" y="0"/>
                  </a:cubicBezTo>
                  <a:lnTo>
                    <a:pt x="69" y="5"/>
                  </a:ln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7" name="Freeform 1211">
              <a:extLst>
                <a:ext uri="{FF2B5EF4-FFF2-40B4-BE49-F238E27FC236}">
                  <a16:creationId xmlns:a16="http://schemas.microsoft.com/office/drawing/2014/main" id="{3C284656-E628-C543-9F1F-428975C831A5}"/>
                </a:ext>
              </a:extLst>
            </p:cNvPr>
            <p:cNvSpPr>
              <a:spLocks noChangeArrowheads="1"/>
            </p:cNvSpPr>
            <p:nvPr/>
          </p:nvSpPr>
          <p:spPr bwMode="auto">
            <a:xfrm>
              <a:off x="6170597" y="2350889"/>
              <a:ext cx="17863" cy="11906"/>
            </a:xfrm>
            <a:custGeom>
              <a:avLst/>
              <a:gdLst>
                <a:gd name="T0" fmla="*/ 5599 w 134"/>
                <a:gd name="T1" fmla="*/ 0 h 86"/>
                <a:gd name="T2" fmla="*/ 5599 w 134"/>
                <a:gd name="T3" fmla="*/ 0 h 86"/>
                <a:gd name="T4" fmla="*/ 12664 w 134"/>
                <a:gd name="T5" fmla="*/ 831 h 86"/>
                <a:gd name="T6" fmla="*/ 17730 w 134"/>
                <a:gd name="T7" fmla="*/ 6645 h 86"/>
                <a:gd name="T8" fmla="*/ 17730 w 134"/>
                <a:gd name="T9" fmla="*/ 6645 h 86"/>
                <a:gd name="T10" fmla="*/ 11998 w 134"/>
                <a:gd name="T11" fmla="*/ 11768 h 86"/>
                <a:gd name="T12" fmla="*/ 4266 w 134"/>
                <a:gd name="T13" fmla="*/ 10383 h 86"/>
                <a:gd name="T14" fmla="*/ 0 w 134"/>
                <a:gd name="T15" fmla="*/ 4430 h 86"/>
                <a:gd name="T16" fmla="*/ 0 w 134"/>
                <a:gd name="T17" fmla="*/ 4430 h 86"/>
                <a:gd name="T18" fmla="*/ 5599 w 134"/>
                <a:gd name="T19" fmla="*/ 0 h 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4" h="86">
                  <a:moveTo>
                    <a:pt x="42" y="0"/>
                  </a:moveTo>
                  <a:lnTo>
                    <a:pt x="42" y="0"/>
                  </a:lnTo>
                  <a:cubicBezTo>
                    <a:pt x="95" y="6"/>
                    <a:pt x="95" y="6"/>
                    <a:pt x="95" y="6"/>
                  </a:cubicBezTo>
                  <a:cubicBezTo>
                    <a:pt x="116" y="11"/>
                    <a:pt x="133" y="27"/>
                    <a:pt x="133" y="48"/>
                  </a:cubicBezTo>
                  <a:cubicBezTo>
                    <a:pt x="127" y="69"/>
                    <a:pt x="111" y="85"/>
                    <a:pt x="90" y="85"/>
                  </a:cubicBezTo>
                  <a:cubicBezTo>
                    <a:pt x="32" y="75"/>
                    <a:pt x="32" y="75"/>
                    <a:pt x="32" y="75"/>
                  </a:cubicBezTo>
                  <a:cubicBezTo>
                    <a:pt x="11" y="75"/>
                    <a:pt x="0" y="53"/>
                    <a:pt x="0" y="32"/>
                  </a:cubicBezTo>
                  <a:cubicBezTo>
                    <a:pt x="0" y="17"/>
                    <a:pt x="21" y="0"/>
                    <a:pt x="42" y="0"/>
                  </a:cubicBezTo>
                </a:path>
              </a:pathLst>
            </a:custGeom>
            <a:solidFill>
              <a:srgbClr val="2245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8" name="Freeform 1212">
              <a:extLst>
                <a:ext uri="{FF2B5EF4-FFF2-40B4-BE49-F238E27FC236}">
                  <a16:creationId xmlns:a16="http://schemas.microsoft.com/office/drawing/2014/main" id="{6B80FD5D-DDEC-8046-82E6-55F936BA7391}"/>
                </a:ext>
              </a:extLst>
            </p:cNvPr>
            <p:cNvSpPr>
              <a:spLocks noChangeArrowheads="1"/>
            </p:cNvSpPr>
            <p:nvPr/>
          </p:nvSpPr>
          <p:spPr bwMode="auto">
            <a:xfrm>
              <a:off x="6119390" y="2251472"/>
              <a:ext cx="61925" cy="104775"/>
            </a:xfrm>
            <a:custGeom>
              <a:avLst/>
              <a:gdLst>
                <a:gd name="T0" fmla="*/ 56809 w 460"/>
                <a:gd name="T1" fmla="*/ 0 h 775"/>
                <a:gd name="T2" fmla="*/ 56809 w 460"/>
                <a:gd name="T3" fmla="*/ 0 h 775"/>
                <a:gd name="T4" fmla="*/ 43348 w 460"/>
                <a:gd name="T5" fmla="*/ 59756 h 775"/>
                <a:gd name="T6" fmla="*/ 808 w 460"/>
                <a:gd name="T7" fmla="*/ 96123 h 775"/>
                <a:gd name="T8" fmla="*/ 0 w 460"/>
                <a:gd name="T9" fmla="*/ 101936 h 775"/>
                <a:gd name="T10" fmla="*/ 48328 w 460"/>
                <a:gd name="T11" fmla="*/ 61243 h 775"/>
                <a:gd name="T12" fmla="*/ 61790 w 460"/>
                <a:gd name="T13" fmla="*/ 541 h 775"/>
                <a:gd name="T14" fmla="*/ 56809 w 460"/>
                <a:gd name="T15" fmla="*/ 0 h 77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0" h="775">
                  <a:moveTo>
                    <a:pt x="422" y="0"/>
                  </a:moveTo>
                  <a:lnTo>
                    <a:pt x="422" y="0"/>
                  </a:lnTo>
                  <a:cubicBezTo>
                    <a:pt x="412" y="83"/>
                    <a:pt x="386" y="279"/>
                    <a:pt x="322" y="442"/>
                  </a:cubicBezTo>
                  <a:cubicBezTo>
                    <a:pt x="259" y="600"/>
                    <a:pt x="164" y="733"/>
                    <a:pt x="6" y="711"/>
                  </a:cubicBezTo>
                  <a:cubicBezTo>
                    <a:pt x="0" y="754"/>
                    <a:pt x="0" y="754"/>
                    <a:pt x="0" y="754"/>
                  </a:cubicBezTo>
                  <a:cubicBezTo>
                    <a:pt x="180" y="774"/>
                    <a:pt x="291" y="627"/>
                    <a:pt x="359" y="453"/>
                  </a:cubicBezTo>
                  <a:cubicBezTo>
                    <a:pt x="422" y="289"/>
                    <a:pt x="449" y="94"/>
                    <a:pt x="459" y="4"/>
                  </a:cubicBezTo>
                  <a:lnTo>
                    <a:pt x="422" y="0"/>
                  </a:ln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99" name="Freeform 1213">
              <a:extLst>
                <a:ext uri="{FF2B5EF4-FFF2-40B4-BE49-F238E27FC236}">
                  <a16:creationId xmlns:a16="http://schemas.microsoft.com/office/drawing/2014/main" id="{BDC0FD85-B4F2-7F4A-B78B-81735C2ABA77}"/>
                </a:ext>
              </a:extLst>
            </p:cNvPr>
            <p:cNvSpPr>
              <a:spLocks noChangeArrowheads="1"/>
            </p:cNvSpPr>
            <p:nvPr/>
          </p:nvSpPr>
          <p:spPr bwMode="auto">
            <a:xfrm>
              <a:off x="6103314" y="2344341"/>
              <a:ext cx="17863" cy="11311"/>
            </a:xfrm>
            <a:custGeom>
              <a:avLst/>
              <a:gdLst>
                <a:gd name="T0" fmla="*/ 13464 w 134"/>
                <a:gd name="T1" fmla="*/ 665 h 85"/>
                <a:gd name="T2" fmla="*/ 13464 w 134"/>
                <a:gd name="T3" fmla="*/ 665 h 85"/>
                <a:gd name="T4" fmla="*/ 5732 w 134"/>
                <a:gd name="T5" fmla="*/ 0 h 85"/>
                <a:gd name="T6" fmla="*/ 0 w 134"/>
                <a:gd name="T7" fmla="*/ 4258 h 85"/>
                <a:gd name="T8" fmla="*/ 0 w 134"/>
                <a:gd name="T9" fmla="*/ 4258 h 85"/>
                <a:gd name="T10" fmla="*/ 4932 w 134"/>
                <a:gd name="T11" fmla="*/ 9714 h 85"/>
                <a:gd name="T12" fmla="*/ 12131 w 134"/>
                <a:gd name="T13" fmla="*/ 10513 h 85"/>
                <a:gd name="T14" fmla="*/ 17730 w 134"/>
                <a:gd name="T15" fmla="*/ 6387 h 85"/>
                <a:gd name="T16" fmla="*/ 17730 w 134"/>
                <a:gd name="T17" fmla="*/ 6387 h 85"/>
                <a:gd name="T18" fmla="*/ 13464 w 134"/>
                <a:gd name="T19" fmla="*/ 665 h 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4" h="85">
                  <a:moveTo>
                    <a:pt x="101" y="5"/>
                  </a:moveTo>
                  <a:lnTo>
                    <a:pt x="101" y="5"/>
                  </a:lnTo>
                  <a:cubicBezTo>
                    <a:pt x="43" y="0"/>
                    <a:pt x="43" y="0"/>
                    <a:pt x="43" y="0"/>
                  </a:cubicBezTo>
                  <a:cubicBezTo>
                    <a:pt x="22" y="0"/>
                    <a:pt x="6" y="11"/>
                    <a:pt x="0" y="32"/>
                  </a:cubicBezTo>
                  <a:cubicBezTo>
                    <a:pt x="0" y="52"/>
                    <a:pt x="16" y="73"/>
                    <a:pt x="37" y="73"/>
                  </a:cubicBezTo>
                  <a:cubicBezTo>
                    <a:pt x="91" y="79"/>
                    <a:pt x="91" y="79"/>
                    <a:pt x="91" y="79"/>
                  </a:cubicBezTo>
                  <a:cubicBezTo>
                    <a:pt x="112" y="84"/>
                    <a:pt x="127" y="69"/>
                    <a:pt x="133" y="48"/>
                  </a:cubicBezTo>
                  <a:cubicBezTo>
                    <a:pt x="133" y="26"/>
                    <a:pt x="116" y="11"/>
                    <a:pt x="101" y="5"/>
                  </a:cubicBezTo>
                </a:path>
              </a:pathLst>
            </a:custGeom>
            <a:solidFill>
              <a:srgbClr val="2245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sp>
          <p:nvSpPr>
            <p:cNvPr id="100" name="Freeform 1214">
              <a:extLst>
                <a:ext uri="{FF2B5EF4-FFF2-40B4-BE49-F238E27FC236}">
                  <a16:creationId xmlns:a16="http://schemas.microsoft.com/office/drawing/2014/main" id="{871334AD-B42F-E848-AC16-2EF3B8F6FD37}"/>
                </a:ext>
              </a:extLst>
            </p:cNvPr>
            <p:cNvSpPr>
              <a:spLocks noChangeArrowheads="1"/>
            </p:cNvSpPr>
            <p:nvPr/>
          </p:nvSpPr>
          <p:spPr bwMode="auto">
            <a:xfrm>
              <a:off x="6127131" y="2201466"/>
              <a:ext cx="60734" cy="85725"/>
            </a:xfrm>
            <a:custGeom>
              <a:avLst/>
              <a:gdLst>
                <a:gd name="T0" fmla="*/ 12850 w 449"/>
                <a:gd name="T1" fmla="*/ 74773 h 634"/>
                <a:gd name="T2" fmla="*/ 12850 w 449"/>
                <a:gd name="T3" fmla="*/ 74773 h 634"/>
                <a:gd name="T4" fmla="*/ 5681 w 449"/>
                <a:gd name="T5" fmla="*/ 79776 h 634"/>
                <a:gd name="T6" fmla="*/ 0 w 449"/>
                <a:gd name="T7" fmla="*/ 73421 h 634"/>
                <a:gd name="T8" fmla="*/ 5681 w 449"/>
                <a:gd name="T9" fmla="*/ 25014 h 634"/>
                <a:gd name="T10" fmla="*/ 15691 w 449"/>
                <a:gd name="T11" fmla="*/ 6490 h 634"/>
                <a:gd name="T12" fmla="*/ 35575 w 449"/>
                <a:gd name="T13" fmla="*/ 676 h 634"/>
                <a:gd name="T14" fmla="*/ 54106 w 449"/>
                <a:gd name="T15" fmla="*/ 10682 h 634"/>
                <a:gd name="T16" fmla="*/ 59922 w 449"/>
                <a:gd name="T17" fmla="*/ 31369 h 634"/>
                <a:gd name="T18" fmla="*/ 54106 w 449"/>
                <a:gd name="T19" fmla="*/ 79235 h 634"/>
                <a:gd name="T20" fmla="*/ 47749 w 449"/>
                <a:gd name="T21" fmla="*/ 84914 h 634"/>
                <a:gd name="T22" fmla="*/ 42067 w 449"/>
                <a:gd name="T23" fmla="*/ 77747 h 634"/>
                <a:gd name="T24" fmla="*/ 47749 w 449"/>
                <a:gd name="T25" fmla="*/ 29882 h 634"/>
                <a:gd name="T26" fmla="*/ 44232 w 449"/>
                <a:gd name="T27" fmla="*/ 18524 h 634"/>
                <a:gd name="T28" fmla="*/ 34222 w 449"/>
                <a:gd name="T29" fmla="*/ 12845 h 634"/>
                <a:gd name="T30" fmla="*/ 23536 w 449"/>
                <a:gd name="T31" fmla="*/ 16361 h 634"/>
                <a:gd name="T32" fmla="*/ 17855 w 449"/>
                <a:gd name="T33" fmla="*/ 26367 h 634"/>
                <a:gd name="T34" fmla="*/ 12850 w 449"/>
                <a:gd name="T35" fmla="*/ 74773 h 6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49" h="634">
                  <a:moveTo>
                    <a:pt x="95" y="553"/>
                  </a:moveTo>
                  <a:lnTo>
                    <a:pt x="95" y="553"/>
                  </a:lnTo>
                  <a:cubicBezTo>
                    <a:pt x="89" y="575"/>
                    <a:pt x="68" y="596"/>
                    <a:pt x="42" y="590"/>
                  </a:cubicBezTo>
                  <a:cubicBezTo>
                    <a:pt x="16" y="590"/>
                    <a:pt x="0" y="565"/>
                    <a:pt x="0" y="543"/>
                  </a:cubicBezTo>
                  <a:cubicBezTo>
                    <a:pt x="42" y="185"/>
                    <a:pt x="42" y="185"/>
                    <a:pt x="42" y="185"/>
                  </a:cubicBezTo>
                  <a:cubicBezTo>
                    <a:pt x="47" y="127"/>
                    <a:pt x="78" y="79"/>
                    <a:pt x="116" y="48"/>
                  </a:cubicBezTo>
                  <a:cubicBezTo>
                    <a:pt x="157" y="15"/>
                    <a:pt x="211" y="0"/>
                    <a:pt x="263" y="5"/>
                  </a:cubicBezTo>
                  <a:cubicBezTo>
                    <a:pt x="321" y="11"/>
                    <a:pt x="369" y="42"/>
                    <a:pt x="400" y="79"/>
                  </a:cubicBezTo>
                  <a:cubicBezTo>
                    <a:pt x="432" y="121"/>
                    <a:pt x="448" y="174"/>
                    <a:pt x="443" y="232"/>
                  </a:cubicBezTo>
                  <a:cubicBezTo>
                    <a:pt x="400" y="586"/>
                    <a:pt x="400" y="586"/>
                    <a:pt x="400" y="586"/>
                  </a:cubicBezTo>
                  <a:cubicBezTo>
                    <a:pt x="400" y="611"/>
                    <a:pt x="374" y="633"/>
                    <a:pt x="353" y="628"/>
                  </a:cubicBezTo>
                  <a:cubicBezTo>
                    <a:pt x="327" y="622"/>
                    <a:pt x="305" y="601"/>
                    <a:pt x="311" y="575"/>
                  </a:cubicBezTo>
                  <a:cubicBezTo>
                    <a:pt x="353" y="221"/>
                    <a:pt x="353" y="221"/>
                    <a:pt x="353" y="221"/>
                  </a:cubicBezTo>
                  <a:cubicBezTo>
                    <a:pt x="353" y="190"/>
                    <a:pt x="348" y="158"/>
                    <a:pt x="327" y="137"/>
                  </a:cubicBezTo>
                  <a:cubicBezTo>
                    <a:pt x="311" y="116"/>
                    <a:pt x="284" y="100"/>
                    <a:pt x="253" y="95"/>
                  </a:cubicBezTo>
                  <a:cubicBezTo>
                    <a:pt x="226" y="95"/>
                    <a:pt x="195" y="106"/>
                    <a:pt x="174" y="121"/>
                  </a:cubicBezTo>
                  <a:cubicBezTo>
                    <a:pt x="153" y="137"/>
                    <a:pt x="137" y="164"/>
                    <a:pt x="132" y="195"/>
                  </a:cubicBezTo>
                  <a:lnTo>
                    <a:pt x="95" y="553"/>
                  </a:lnTo>
                </a:path>
              </a:pathLst>
            </a:custGeom>
            <a:solidFill>
              <a:srgbClr val="2F5B7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46569"/>
                </a:solidFill>
                <a:effectLst/>
                <a:uLnTx/>
                <a:uFillTx/>
                <a:latin typeface="Calibri"/>
                <a:ea typeface="+mn-ea"/>
                <a:cs typeface="+mn-cs"/>
              </a:endParaRPr>
            </a:p>
          </p:txBody>
        </p:sp>
      </p:grpSp>
      <p:sp>
        <p:nvSpPr>
          <p:cNvPr id="19" name="Rectangle 18">
            <a:extLst>
              <a:ext uri="{FF2B5EF4-FFF2-40B4-BE49-F238E27FC236}">
                <a16:creationId xmlns:a16="http://schemas.microsoft.com/office/drawing/2014/main" id="{0F87475D-4C53-4C48-B318-F98FBBDA9F90}"/>
              </a:ext>
            </a:extLst>
          </p:cNvPr>
          <p:cNvSpPr/>
          <p:nvPr/>
        </p:nvSpPr>
        <p:spPr>
          <a:xfrm>
            <a:off x="22569" y="3949764"/>
            <a:ext cx="1497172" cy="646331"/>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646569"/>
                </a:solidFill>
                <a:effectLst/>
                <a:uLnTx/>
                <a:uFillTx/>
                <a:latin typeface="Calibri"/>
                <a:ea typeface="+mn-ea"/>
                <a:cs typeface="+mn-cs"/>
              </a:rPr>
              <a:t>Outcomes Orchestrator</a:t>
            </a:r>
          </a:p>
        </p:txBody>
      </p:sp>
      <p:sp>
        <p:nvSpPr>
          <p:cNvPr id="101" name="7-Point Star 161">
            <a:extLst>
              <a:ext uri="{FF2B5EF4-FFF2-40B4-BE49-F238E27FC236}">
                <a16:creationId xmlns:a16="http://schemas.microsoft.com/office/drawing/2014/main" id="{468DED5B-F5DD-2F41-8239-F64DAD783486}"/>
              </a:ext>
            </a:extLst>
          </p:cNvPr>
          <p:cNvSpPr/>
          <p:nvPr/>
        </p:nvSpPr>
        <p:spPr>
          <a:xfrm>
            <a:off x="7152408" y="3862279"/>
            <a:ext cx="106739" cy="106733"/>
          </a:xfrm>
          <a:prstGeom prst="star7">
            <a:avLst/>
          </a:prstGeom>
          <a:solidFill>
            <a:srgbClr val="7030A0"/>
          </a:solidFill>
          <a:ln w="12700" cap="flat" cmpd="sng" algn="ctr">
            <a:solidFill>
              <a:sysClr val="window" lastClr="FFFFFF">
                <a:lumMod val="95000"/>
              </a:sysClr>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pic>
        <p:nvPicPr>
          <p:cNvPr id="102" name="Graphic 101" descr="Diamond outline">
            <a:extLst>
              <a:ext uri="{FF2B5EF4-FFF2-40B4-BE49-F238E27FC236}">
                <a16:creationId xmlns:a16="http://schemas.microsoft.com/office/drawing/2014/main" id="{87E0DC03-FED6-EF45-82FA-5D0E457BEBC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6501" y="4567627"/>
            <a:ext cx="426575" cy="426575"/>
          </a:xfrm>
          <a:prstGeom prst="rect">
            <a:avLst/>
          </a:prstGeom>
        </p:spPr>
      </p:pic>
      <p:sp>
        <p:nvSpPr>
          <p:cNvPr id="103" name="Rectangle 102">
            <a:extLst>
              <a:ext uri="{FF2B5EF4-FFF2-40B4-BE49-F238E27FC236}">
                <a16:creationId xmlns:a16="http://schemas.microsoft.com/office/drawing/2014/main" id="{7845E7B4-F49C-2843-9DC3-AC0553A12943}"/>
              </a:ext>
            </a:extLst>
          </p:cNvPr>
          <p:cNvSpPr/>
          <p:nvPr/>
        </p:nvSpPr>
        <p:spPr>
          <a:xfrm>
            <a:off x="6974267" y="4094579"/>
            <a:ext cx="1198626" cy="208183"/>
          </a:xfrm>
          <a:prstGeom prst="rect">
            <a:avLst/>
          </a:prstGeom>
          <a:solidFill>
            <a:srgbClr val="FFFFFF"/>
          </a:solidFill>
          <a:ln w="9525" cap="flat" cmpd="sng" algn="ctr">
            <a:noFill/>
            <a:prstDash val="solid"/>
          </a:ln>
          <a:effectLst/>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a:ln>
                  <a:noFill/>
                </a:ln>
                <a:solidFill>
                  <a:srgbClr val="FF9E16"/>
                </a:solidFill>
                <a:effectLst/>
                <a:uLnTx/>
                <a:uFillTx/>
                <a:latin typeface="Calibri"/>
                <a:ea typeface="+mn-ea"/>
                <a:cs typeface="+mn-cs"/>
              </a:rPr>
              <a:t>Moment of truth 2</a:t>
            </a:r>
          </a:p>
        </p:txBody>
      </p:sp>
      <p:cxnSp>
        <p:nvCxnSpPr>
          <p:cNvPr id="21" name="Straight Connector 20">
            <a:extLst>
              <a:ext uri="{FF2B5EF4-FFF2-40B4-BE49-F238E27FC236}">
                <a16:creationId xmlns:a16="http://schemas.microsoft.com/office/drawing/2014/main" id="{0DDFF798-4107-1A4E-AD62-78087374B268}"/>
              </a:ext>
            </a:extLst>
          </p:cNvPr>
          <p:cNvCxnSpPr/>
          <p:nvPr/>
        </p:nvCxnSpPr>
        <p:spPr>
          <a:xfrm flipV="1">
            <a:off x="1685532" y="2613124"/>
            <a:ext cx="0" cy="93953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CABBD88B-C9B9-5744-80C5-66C1C018105E}"/>
              </a:ext>
            </a:extLst>
          </p:cNvPr>
          <p:cNvCxnSpPr>
            <a:cxnSpLocks/>
          </p:cNvCxnSpPr>
          <p:nvPr/>
        </p:nvCxnSpPr>
        <p:spPr>
          <a:xfrm flipV="1">
            <a:off x="2105806" y="2202563"/>
            <a:ext cx="0" cy="134485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0C8E5DF-044A-E246-AAFA-B0B6DB1477DB}"/>
              </a:ext>
            </a:extLst>
          </p:cNvPr>
          <p:cNvCxnSpPr>
            <a:cxnSpLocks/>
          </p:cNvCxnSpPr>
          <p:nvPr/>
        </p:nvCxnSpPr>
        <p:spPr>
          <a:xfrm flipV="1">
            <a:off x="2436528" y="3718928"/>
            <a:ext cx="0" cy="134485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601143D-B59F-4C4D-8984-4E950115496A}"/>
              </a:ext>
            </a:extLst>
          </p:cNvPr>
          <p:cNvCxnSpPr>
            <a:cxnSpLocks/>
          </p:cNvCxnSpPr>
          <p:nvPr/>
        </p:nvCxnSpPr>
        <p:spPr>
          <a:xfrm flipV="1">
            <a:off x="2978756" y="4206800"/>
            <a:ext cx="0" cy="134485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AAC58768-D638-6843-AA5D-DB3676BBF3D0}"/>
              </a:ext>
            </a:extLst>
          </p:cNvPr>
          <p:cNvCxnSpPr>
            <a:cxnSpLocks/>
          </p:cNvCxnSpPr>
          <p:nvPr/>
        </p:nvCxnSpPr>
        <p:spPr>
          <a:xfrm flipV="1">
            <a:off x="3551065" y="3060894"/>
            <a:ext cx="0" cy="69235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37B88A1-F42E-774E-9243-328662BC4166}"/>
              </a:ext>
            </a:extLst>
          </p:cNvPr>
          <p:cNvCxnSpPr>
            <a:cxnSpLocks/>
          </p:cNvCxnSpPr>
          <p:nvPr/>
        </p:nvCxnSpPr>
        <p:spPr>
          <a:xfrm flipH="1" flipV="1">
            <a:off x="4430105" y="4128959"/>
            <a:ext cx="14300" cy="109459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8BA4122-F5DE-8F4E-9118-597060FA86D8}"/>
              </a:ext>
            </a:extLst>
          </p:cNvPr>
          <p:cNvCxnSpPr>
            <a:cxnSpLocks/>
          </p:cNvCxnSpPr>
          <p:nvPr/>
        </p:nvCxnSpPr>
        <p:spPr>
          <a:xfrm flipH="1" flipV="1">
            <a:off x="5568265" y="2346836"/>
            <a:ext cx="14300" cy="109459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40C1D22-359F-F94E-B90D-3E61F604C1EF}"/>
              </a:ext>
            </a:extLst>
          </p:cNvPr>
          <p:cNvCxnSpPr>
            <a:cxnSpLocks/>
          </p:cNvCxnSpPr>
          <p:nvPr/>
        </p:nvCxnSpPr>
        <p:spPr>
          <a:xfrm flipH="1" flipV="1">
            <a:off x="6149725" y="4184728"/>
            <a:ext cx="0" cy="109459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43A882A-C034-5B4A-BE52-F3CD555594D7}"/>
              </a:ext>
            </a:extLst>
          </p:cNvPr>
          <p:cNvCxnSpPr>
            <a:cxnSpLocks/>
          </p:cNvCxnSpPr>
          <p:nvPr/>
        </p:nvCxnSpPr>
        <p:spPr>
          <a:xfrm flipH="1" flipV="1">
            <a:off x="6792990" y="2658650"/>
            <a:ext cx="14300" cy="109459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B051C44-3A1E-A24A-AE6F-37C238CBAD16}"/>
              </a:ext>
            </a:extLst>
          </p:cNvPr>
          <p:cNvCxnSpPr>
            <a:cxnSpLocks/>
          </p:cNvCxnSpPr>
          <p:nvPr/>
        </p:nvCxnSpPr>
        <p:spPr>
          <a:xfrm>
            <a:off x="7248536" y="4346743"/>
            <a:ext cx="0" cy="283122"/>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09E1DE31-7430-8D4D-A7E8-D616699BC328}"/>
              </a:ext>
            </a:extLst>
          </p:cNvPr>
          <p:cNvSpPr/>
          <p:nvPr/>
        </p:nvSpPr>
        <p:spPr>
          <a:xfrm>
            <a:off x="1372620" y="5037999"/>
            <a:ext cx="1326826" cy="6245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Rep shares materials discussed via 1:1 Email </a:t>
            </a:r>
          </a:p>
        </p:txBody>
      </p:sp>
      <p:sp>
        <p:nvSpPr>
          <p:cNvPr id="123" name="Rectangle 122">
            <a:extLst>
              <a:ext uri="{FF2B5EF4-FFF2-40B4-BE49-F238E27FC236}">
                <a16:creationId xmlns:a16="http://schemas.microsoft.com/office/drawing/2014/main" id="{62E31C8B-BD85-D248-9890-73E6D24A6BAA}"/>
              </a:ext>
            </a:extLst>
          </p:cNvPr>
          <p:cNvSpPr/>
          <p:nvPr/>
        </p:nvSpPr>
        <p:spPr>
          <a:xfrm>
            <a:off x="2804662" y="5219020"/>
            <a:ext cx="1326826" cy="7125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Rep IM’s HCP to inform of new patient service available</a:t>
            </a:r>
          </a:p>
        </p:txBody>
      </p:sp>
      <p:sp>
        <p:nvSpPr>
          <p:cNvPr id="124" name="Rectangle 123">
            <a:extLst>
              <a:ext uri="{FF2B5EF4-FFF2-40B4-BE49-F238E27FC236}">
                <a16:creationId xmlns:a16="http://schemas.microsoft.com/office/drawing/2014/main" id="{C72B9D5B-C5C2-F943-8FC7-A20A32C69AF9}"/>
              </a:ext>
            </a:extLst>
          </p:cNvPr>
          <p:cNvSpPr/>
          <p:nvPr/>
        </p:nvSpPr>
        <p:spPr>
          <a:xfrm>
            <a:off x="4252721" y="4647760"/>
            <a:ext cx="1326826" cy="9045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Rep seeks further testimonials from patient service via digital 3rd party digital articles</a:t>
            </a:r>
          </a:p>
        </p:txBody>
      </p:sp>
      <p:sp>
        <p:nvSpPr>
          <p:cNvPr id="125" name="Rectangle 124">
            <a:extLst>
              <a:ext uri="{FF2B5EF4-FFF2-40B4-BE49-F238E27FC236}">
                <a16:creationId xmlns:a16="http://schemas.microsoft.com/office/drawing/2014/main" id="{E0DD6EE2-3277-0D42-8B76-6ACAB2342845}"/>
              </a:ext>
            </a:extLst>
          </p:cNvPr>
          <p:cNvSpPr/>
          <p:nvPr/>
        </p:nvSpPr>
        <p:spPr>
          <a:xfrm>
            <a:off x="5781671" y="5286471"/>
            <a:ext cx="1725191" cy="10467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Rep holds F2F Meeting with HCP, bringing in cross-functional stakeholders to discuss implementation</a:t>
            </a:r>
          </a:p>
        </p:txBody>
      </p:sp>
      <p:sp>
        <p:nvSpPr>
          <p:cNvPr id="126" name="Rectangle 125">
            <a:extLst>
              <a:ext uri="{FF2B5EF4-FFF2-40B4-BE49-F238E27FC236}">
                <a16:creationId xmlns:a16="http://schemas.microsoft.com/office/drawing/2014/main" id="{FBC03E8F-2E81-A340-AADC-DD4A296FB2EE}"/>
              </a:ext>
            </a:extLst>
          </p:cNvPr>
          <p:cNvSpPr/>
          <p:nvPr/>
        </p:nvSpPr>
        <p:spPr>
          <a:xfrm>
            <a:off x="6641084" y="4462165"/>
            <a:ext cx="1725191" cy="6245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Rep Calls HCP to confirm deployment of patient service programme</a:t>
            </a:r>
          </a:p>
        </p:txBody>
      </p:sp>
      <p:sp>
        <p:nvSpPr>
          <p:cNvPr id="127" name="Rectangle 126">
            <a:extLst>
              <a:ext uri="{FF2B5EF4-FFF2-40B4-BE49-F238E27FC236}">
                <a16:creationId xmlns:a16="http://schemas.microsoft.com/office/drawing/2014/main" id="{18416DD0-EDF1-D342-AFF8-C5A2E8B1CB84}"/>
              </a:ext>
            </a:extLst>
          </p:cNvPr>
          <p:cNvSpPr/>
          <p:nvPr/>
        </p:nvSpPr>
        <p:spPr>
          <a:xfrm>
            <a:off x="6034674" y="2388565"/>
            <a:ext cx="1516631" cy="6245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HCP engages with discussion on product on social media</a:t>
            </a:r>
          </a:p>
        </p:txBody>
      </p:sp>
      <p:sp>
        <p:nvSpPr>
          <p:cNvPr id="128" name="TextBox 127">
            <a:extLst>
              <a:ext uri="{FF2B5EF4-FFF2-40B4-BE49-F238E27FC236}">
                <a16:creationId xmlns:a16="http://schemas.microsoft.com/office/drawing/2014/main" id="{DAC49B02-987D-C64E-8407-B679A4BBC24E}"/>
              </a:ext>
            </a:extLst>
          </p:cNvPr>
          <p:cNvSpPr txBox="1"/>
          <p:nvPr/>
        </p:nvSpPr>
        <p:spPr>
          <a:xfrm>
            <a:off x="8741840" y="643779"/>
            <a:ext cx="3280842" cy="1135054"/>
          </a:xfrm>
          <a:prstGeom prst="rect">
            <a:avLst/>
          </a:prstGeom>
          <a:noFill/>
        </p:spPr>
        <p:txBody>
          <a:bodyPr wrap="squar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GB" sz="2800" b="0" i="0" u="none" strike="noStrike" kern="1200" cap="none" spc="0" normalizeH="0" baseline="0" noProof="0">
                <a:ln>
                  <a:noFill/>
                </a:ln>
                <a:solidFill>
                  <a:srgbClr val="FFFFFF"/>
                </a:solidFill>
                <a:effectLst/>
                <a:uLnTx/>
                <a:uFillTx/>
                <a:latin typeface="Calibri"/>
                <a:ea typeface="+mn-ea"/>
                <a:cs typeface="+mn-cs"/>
              </a:rPr>
              <a:t>The customer engagement model is executed through…</a:t>
            </a:r>
          </a:p>
        </p:txBody>
      </p:sp>
      <p:sp>
        <p:nvSpPr>
          <p:cNvPr id="134" name="Rectangle 133">
            <a:extLst>
              <a:ext uri="{FF2B5EF4-FFF2-40B4-BE49-F238E27FC236}">
                <a16:creationId xmlns:a16="http://schemas.microsoft.com/office/drawing/2014/main" id="{74A455AC-8C2C-4140-A30F-F67191359792}"/>
              </a:ext>
            </a:extLst>
          </p:cNvPr>
          <p:cNvSpPr/>
          <p:nvPr/>
        </p:nvSpPr>
        <p:spPr>
          <a:xfrm>
            <a:off x="591465" y="2407949"/>
            <a:ext cx="1205360" cy="4465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Watches video on portal</a:t>
            </a:r>
          </a:p>
        </p:txBody>
      </p:sp>
      <p:sp>
        <p:nvSpPr>
          <p:cNvPr id="135" name="Rectangle 134">
            <a:extLst>
              <a:ext uri="{FF2B5EF4-FFF2-40B4-BE49-F238E27FC236}">
                <a16:creationId xmlns:a16="http://schemas.microsoft.com/office/drawing/2014/main" id="{84328898-C6DA-A54E-9FB0-265A5EBEB1CB}"/>
              </a:ext>
            </a:extLst>
          </p:cNvPr>
          <p:cNvSpPr/>
          <p:nvPr/>
        </p:nvSpPr>
        <p:spPr>
          <a:xfrm>
            <a:off x="1935770" y="2114091"/>
            <a:ext cx="1243688" cy="8503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Rep follows up with in-person visit to discuss portal content</a:t>
            </a:r>
          </a:p>
        </p:txBody>
      </p:sp>
      <p:sp>
        <p:nvSpPr>
          <p:cNvPr id="136" name="Rectangle 135">
            <a:extLst>
              <a:ext uri="{FF2B5EF4-FFF2-40B4-BE49-F238E27FC236}">
                <a16:creationId xmlns:a16="http://schemas.microsoft.com/office/drawing/2014/main" id="{2A67DBDD-3D7F-1B41-BF27-D237E944641A}"/>
              </a:ext>
            </a:extLst>
          </p:cNvPr>
          <p:cNvSpPr/>
          <p:nvPr/>
        </p:nvSpPr>
        <p:spPr>
          <a:xfrm>
            <a:off x="3360535" y="2232584"/>
            <a:ext cx="1044399" cy="8283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Rep Delivers in-depth presentation via Remote TC</a:t>
            </a:r>
          </a:p>
        </p:txBody>
      </p:sp>
      <p:sp>
        <p:nvSpPr>
          <p:cNvPr id="137" name="Rectangle 136">
            <a:extLst>
              <a:ext uri="{FF2B5EF4-FFF2-40B4-BE49-F238E27FC236}">
                <a16:creationId xmlns:a16="http://schemas.microsoft.com/office/drawing/2014/main" id="{A1F97021-11D3-5E44-A26F-AD5502665ED4}"/>
              </a:ext>
            </a:extLst>
          </p:cNvPr>
          <p:cNvSpPr/>
          <p:nvPr/>
        </p:nvSpPr>
        <p:spPr>
          <a:xfrm>
            <a:off x="4558767" y="2114091"/>
            <a:ext cx="1276306" cy="8283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569"/>
                </a:solidFill>
                <a:effectLst/>
                <a:uLnTx/>
                <a:uFillTx/>
                <a:latin typeface="Calibri"/>
                <a:ea typeface="+mn-ea"/>
                <a:cs typeface="+mn-cs"/>
              </a:rPr>
              <a:t>HCP reaches out to virtual AI assistant with questions on programme</a:t>
            </a:r>
          </a:p>
        </p:txBody>
      </p:sp>
      <p:pic>
        <p:nvPicPr>
          <p:cNvPr id="139" name="Graphic 138" descr="Remote learning science outline">
            <a:extLst>
              <a:ext uri="{FF2B5EF4-FFF2-40B4-BE49-F238E27FC236}">
                <a16:creationId xmlns:a16="http://schemas.microsoft.com/office/drawing/2014/main" id="{33C19987-16BA-C54A-B124-41BB7C36460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546536" y="3620915"/>
            <a:ext cx="264869" cy="264869"/>
          </a:xfrm>
          <a:prstGeom prst="rect">
            <a:avLst/>
          </a:prstGeom>
        </p:spPr>
      </p:pic>
      <p:sp>
        <p:nvSpPr>
          <p:cNvPr id="141" name="Oval 140">
            <a:extLst>
              <a:ext uri="{FF2B5EF4-FFF2-40B4-BE49-F238E27FC236}">
                <a16:creationId xmlns:a16="http://schemas.microsoft.com/office/drawing/2014/main" id="{CD890E52-8770-124F-AD2C-A36B8E448615}"/>
              </a:ext>
            </a:extLst>
          </p:cNvPr>
          <p:cNvSpPr/>
          <p:nvPr/>
        </p:nvSpPr>
        <p:spPr>
          <a:xfrm>
            <a:off x="1971010" y="3472270"/>
            <a:ext cx="358645" cy="354459"/>
          </a:xfrm>
          <a:prstGeom prst="ellipse">
            <a:avLst/>
          </a:prstGeom>
          <a:solidFill>
            <a:schemeClr val="bg1">
              <a:lumMod val="95000"/>
            </a:schemeClr>
          </a:solidFill>
          <a:ln w="12700" cap="flat" cmpd="sng" algn="ctr">
            <a:solidFill>
              <a:schemeClr val="tx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42" name="Oval 141">
            <a:extLst>
              <a:ext uri="{FF2B5EF4-FFF2-40B4-BE49-F238E27FC236}">
                <a16:creationId xmlns:a16="http://schemas.microsoft.com/office/drawing/2014/main" id="{4CC06A4D-5AF0-9D48-BF55-F54B882CA886}"/>
              </a:ext>
            </a:extLst>
          </p:cNvPr>
          <p:cNvSpPr/>
          <p:nvPr/>
        </p:nvSpPr>
        <p:spPr>
          <a:xfrm>
            <a:off x="2374525" y="3471139"/>
            <a:ext cx="358645" cy="354459"/>
          </a:xfrm>
          <a:prstGeom prst="ellipse">
            <a:avLst/>
          </a:prstGeom>
          <a:solidFill>
            <a:schemeClr val="bg1">
              <a:lumMod val="95000"/>
            </a:schemeClr>
          </a:solidFill>
          <a:ln w="12700" cap="flat" cmpd="sng" algn="ctr">
            <a:solidFill>
              <a:schemeClr val="tx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43" name="Oval 142">
            <a:extLst>
              <a:ext uri="{FF2B5EF4-FFF2-40B4-BE49-F238E27FC236}">
                <a16:creationId xmlns:a16="http://schemas.microsoft.com/office/drawing/2014/main" id="{A38FED05-FD20-3649-9DF3-9E13AFB10B5B}"/>
              </a:ext>
            </a:extLst>
          </p:cNvPr>
          <p:cNvSpPr/>
          <p:nvPr/>
        </p:nvSpPr>
        <p:spPr>
          <a:xfrm>
            <a:off x="2848996" y="3779805"/>
            <a:ext cx="358645" cy="354459"/>
          </a:xfrm>
          <a:prstGeom prst="ellipse">
            <a:avLst/>
          </a:prstGeom>
          <a:solidFill>
            <a:schemeClr val="bg1">
              <a:lumMod val="95000"/>
            </a:schemeClr>
          </a:solidFill>
          <a:ln w="12700" cap="flat" cmpd="sng" algn="ctr">
            <a:solidFill>
              <a:schemeClr val="tx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44" name="Oval 143">
            <a:extLst>
              <a:ext uri="{FF2B5EF4-FFF2-40B4-BE49-F238E27FC236}">
                <a16:creationId xmlns:a16="http://schemas.microsoft.com/office/drawing/2014/main" id="{983A77D4-69E4-274F-90A8-444FA5C1CA26}"/>
              </a:ext>
            </a:extLst>
          </p:cNvPr>
          <p:cNvSpPr/>
          <p:nvPr/>
        </p:nvSpPr>
        <p:spPr>
          <a:xfrm>
            <a:off x="4308207" y="3728424"/>
            <a:ext cx="358645" cy="354459"/>
          </a:xfrm>
          <a:prstGeom prst="ellipse">
            <a:avLst/>
          </a:prstGeom>
          <a:solidFill>
            <a:schemeClr val="bg1">
              <a:lumMod val="95000"/>
            </a:schemeClr>
          </a:solidFill>
          <a:ln w="12700" cap="flat" cmpd="sng" algn="ctr">
            <a:solidFill>
              <a:schemeClr val="tx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45" name="Oval 144">
            <a:extLst>
              <a:ext uri="{FF2B5EF4-FFF2-40B4-BE49-F238E27FC236}">
                <a16:creationId xmlns:a16="http://schemas.microsoft.com/office/drawing/2014/main" id="{A6DEDB60-A9FD-1347-B36D-4372F35714B7}"/>
              </a:ext>
            </a:extLst>
          </p:cNvPr>
          <p:cNvSpPr/>
          <p:nvPr/>
        </p:nvSpPr>
        <p:spPr>
          <a:xfrm>
            <a:off x="5385739" y="3501486"/>
            <a:ext cx="358645" cy="354459"/>
          </a:xfrm>
          <a:prstGeom prst="ellipse">
            <a:avLst/>
          </a:prstGeom>
          <a:solidFill>
            <a:schemeClr val="bg1">
              <a:lumMod val="95000"/>
            </a:schemeClr>
          </a:solidFill>
          <a:ln w="12700" cap="flat" cmpd="sng" algn="ctr">
            <a:solidFill>
              <a:schemeClr val="tx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46" name="Oval 145">
            <a:extLst>
              <a:ext uri="{FF2B5EF4-FFF2-40B4-BE49-F238E27FC236}">
                <a16:creationId xmlns:a16="http://schemas.microsoft.com/office/drawing/2014/main" id="{081A5F87-C449-504F-AA9E-18D901123626}"/>
              </a:ext>
            </a:extLst>
          </p:cNvPr>
          <p:cNvSpPr/>
          <p:nvPr/>
        </p:nvSpPr>
        <p:spPr>
          <a:xfrm>
            <a:off x="5964335" y="3840650"/>
            <a:ext cx="358645" cy="354459"/>
          </a:xfrm>
          <a:prstGeom prst="ellipse">
            <a:avLst/>
          </a:prstGeom>
          <a:solidFill>
            <a:schemeClr val="bg1">
              <a:lumMod val="95000"/>
            </a:schemeClr>
          </a:solidFill>
          <a:ln w="12700" cap="flat" cmpd="sng" algn="ctr">
            <a:solidFill>
              <a:schemeClr val="tx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47" name="Oval 146">
            <a:extLst>
              <a:ext uri="{FF2B5EF4-FFF2-40B4-BE49-F238E27FC236}">
                <a16:creationId xmlns:a16="http://schemas.microsoft.com/office/drawing/2014/main" id="{810B3689-E573-AB49-9F62-930488F89160}"/>
              </a:ext>
            </a:extLst>
          </p:cNvPr>
          <p:cNvSpPr/>
          <p:nvPr/>
        </p:nvSpPr>
        <p:spPr>
          <a:xfrm>
            <a:off x="6604513" y="3825598"/>
            <a:ext cx="358645" cy="354459"/>
          </a:xfrm>
          <a:prstGeom prst="ellipse">
            <a:avLst/>
          </a:prstGeom>
          <a:solidFill>
            <a:schemeClr val="bg1">
              <a:lumMod val="95000"/>
            </a:schemeClr>
          </a:solidFill>
          <a:ln w="12700" cap="flat" cmpd="sng" algn="ctr">
            <a:solidFill>
              <a:schemeClr val="tx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48" name="Oval 147">
            <a:extLst>
              <a:ext uri="{FF2B5EF4-FFF2-40B4-BE49-F238E27FC236}">
                <a16:creationId xmlns:a16="http://schemas.microsoft.com/office/drawing/2014/main" id="{E83516F3-963E-824B-A31C-5F39EB58607B}"/>
              </a:ext>
            </a:extLst>
          </p:cNvPr>
          <p:cNvSpPr/>
          <p:nvPr/>
        </p:nvSpPr>
        <p:spPr>
          <a:xfrm>
            <a:off x="7075176" y="3704266"/>
            <a:ext cx="358645" cy="354459"/>
          </a:xfrm>
          <a:prstGeom prst="ellipse">
            <a:avLst/>
          </a:prstGeom>
          <a:solidFill>
            <a:schemeClr val="tx2"/>
          </a:solidFill>
          <a:ln w="12700" cap="flat" cmpd="sng" algn="ctr">
            <a:solidFill>
              <a:schemeClr val="bg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53" name="Oval 152">
            <a:extLst>
              <a:ext uri="{FF2B5EF4-FFF2-40B4-BE49-F238E27FC236}">
                <a16:creationId xmlns:a16="http://schemas.microsoft.com/office/drawing/2014/main" id="{DEA4BC48-0F50-A845-B97B-E4F91FC1F681}"/>
              </a:ext>
            </a:extLst>
          </p:cNvPr>
          <p:cNvSpPr/>
          <p:nvPr/>
        </p:nvSpPr>
        <p:spPr>
          <a:xfrm>
            <a:off x="3362143" y="3934006"/>
            <a:ext cx="394510" cy="389905"/>
          </a:xfrm>
          <a:prstGeom prst="ellipse">
            <a:avLst/>
          </a:prstGeom>
          <a:solidFill>
            <a:schemeClr val="tx2"/>
          </a:solidFill>
          <a:ln w="12700" cap="flat" cmpd="sng" algn="ctr">
            <a:solidFill>
              <a:schemeClr val="bg1"/>
            </a:solidFill>
            <a:prstDash val="solid"/>
          </a:ln>
          <a:effectLst/>
        </p:spPr>
        <p:txBody>
          <a:bodyPr lIns="93256" tIns="46628" rIns="93256" bIns="46628" rtlCol="0" anchor="ctr"/>
          <a:lstStyle/>
          <a:p>
            <a:pPr marL="0" marR="0" lvl="0" indent="0" algn="l" defTabSz="93256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pic>
        <p:nvPicPr>
          <p:cNvPr id="155" name="Graphic 154" descr="Email outline">
            <a:extLst>
              <a:ext uri="{FF2B5EF4-FFF2-40B4-BE49-F238E27FC236}">
                <a16:creationId xmlns:a16="http://schemas.microsoft.com/office/drawing/2014/main" id="{C935C257-794C-1944-94B4-81468372E62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435476" y="3521087"/>
            <a:ext cx="240790" cy="240790"/>
          </a:xfrm>
          <a:prstGeom prst="rect">
            <a:avLst/>
          </a:prstGeom>
        </p:spPr>
      </p:pic>
      <p:pic>
        <p:nvPicPr>
          <p:cNvPr id="157" name="Graphic 156" descr="Chat bubble outline">
            <a:extLst>
              <a:ext uri="{FF2B5EF4-FFF2-40B4-BE49-F238E27FC236}">
                <a16:creationId xmlns:a16="http://schemas.microsoft.com/office/drawing/2014/main" id="{E3C54F05-FAAD-BE4C-AF82-CDAFE2995A8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855357" y="3800236"/>
            <a:ext cx="352541" cy="352541"/>
          </a:xfrm>
          <a:prstGeom prst="rect">
            <a:avLst/>
          </a:prstGeom>
        </p:spPr>
      </p:pic>
      <p:pic>
        <p:nvPicPr>
          <p:cNvPr id="160" name="Graphic 159" descr="Handshake outline">
            <a:extLst>
              <a:ext uri="{FF2B5EF4-FFF2-40B4-BE49-F238E27FC236}">
                <a16:creationId xmlns:a16="http://schemas.microsoft.com/office/drawing/2014/main" id="{28BEAF17-87DD-E54A-AA71-58A9ACCD714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07357" y="3529744"/>
            <a:ext cx="291356" cy="291356"/>
          </a:xfrm>
          <a:prstGeom prst="rect">
            <a:avLst/>
          </a:prstGeom>
        </p:spPr>
      </p:pic>
      <p:pic>
        <p:nvPicPr>
          <p:cNvPr id="161" name="Graphic 160" descr="Remote learning science outline">
            <a:extLst>
              <a:ext uri="{FF2B5EF4-FFF2-40B4-BE49-F238E27FC236}">
                <a16:creationId xmlns:a16="http://schemas.microsoft.com/office/drawing/2014/main" id="{BAAAA79E-8B31-094F-9944-74274E77F6F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360680" y="3772773"/>
            <a:ext cx="264869" cy="264869"/>
          </a:xfrm>
          <a:prstGeom prst="rect">
            <a:avLst/>
          </a:prstGeom>
        </p:spPr>
      </p:pic>
      <p:pic>
        <p:nvPicPr>
          <p:cNvPr id="163" name="Graphic 162" descr="Vlog outline">
            <a:extLst>
              <a:ext uri="{FF2B5EF4-FFF2-40B4-BE49-F238E27FC236}">
                <a16:creationId xmlns:a16="http://schemas.microsoft.com/office/drawing/2014/main" id="{19AD448B-AF7C-8A4E-9DA6-2B2B4F9F3BB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409958" y="3967776"/>
            <a:ext cx="291356" cy="291356"/>
          </a:xfrm>
          <a:prstGeom prst="rect">
            <a:avLst/>
          </a:prstGeom>
        </p:spPr>
      </p:pic>
      <p:pic>
        <p:nvPicPr>
          <p:cNvPr id="165" name="Graphic 164" descr="Robot outline">
            <a:extLst>
              <a:ext uri="{FF2B5EF4-FFF2-40B4-BE49-F238E27FC236}">
                <a16:creationId xmlns:a16="http://schemas.microsoft.com/office/drawing/2014/main" id="{47804B40-AC69-D847-9D45-98AA56AECC4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428005" y="3529743"/>
            <a:ext cx="291356" cy="291356"/>
          </a:xfrm>
          <a:prstGeom prst="rect">
            <a:avLst/>
          </a:prstGeom>
        </p:spPr>
      </p:pic>
      <p:pic>
        <p:nvPicPr>
          <p:cNvPr id="166" name="Graphic 165" descr="Handshake outline">
            <a:extLst>
              <a:ext uri="{FF2B5EF4-FFF2-40B4-BE49-F238E27FC236}">
                <a16:creationId xmlns:a16="http://schemas.microsoft.com/office/drawing/2014/main" id="{D667293A-BFD9-DA45-A272-72CDBFE186B6}"/>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006277" y="3909488"/>
            <a:ext cx="291356" cy="291356"/>
          </a:xfrm>
          <a:prstGeom prst="rect">
            <a:avLst/>
          </a:prstGeom>
        </p:spPr>
      </p:pic>
      <p:pic>
        <p:nvPicPr>
          <p:cNvPr id="168" name="Graphic 167" descr="Speaker phone outline">
            <a:extLst>
              <a:ext uri="{FF2B5EF4-FFF2-40B4-BE49-F238E27FC236}">
                <a16:creationId xmlns:a16="http://schemas.microsoft.com/office/drawing/2014/main" id="{6B4161F2-CF71-3A46-B651-1188ADEF7851}"/>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100340" y="3731977"/>
            <a:ext cx="320492" cy="320492"/>
          </a:xfrm>
          <a:prstGeom prst="rect">
            <a:avLst/>
          </a:prstGeom>
        </p:spPr>
      </p:pic>
      <p:pic>
        <p:nvPicPr>
          <p:cNvPr id="1026" name="Picture 2" descr="Free Icon | Twitter logo">
            <a:extLst>
              <a:ext uri="{FF2B5EF4-FFF2-40B4-BE49-F238E27FC236}">
                <a16:creationId xmlns:a16="http://schemas.microsoft.com/office/drawing/2014/main" id="{6F218940-C2B0-6B4C-9272-F4D4F9F65584}"/>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6676358" y="3904106"/>
            <a:ext cx="211769" cy="211769"/>
          </a:xfrm>
          <a:prstGeom prst="rect">
            <a:avLst/>
          </a:prstGeom>
          <a:noFill/>
          <a:extLst>
            <a:ext uri="{909E8E84-426E-40DD-AFC4-6F175D3DCCD1}">
              <a14:hiddenFill xmlns:a14="http://schemas.microsoft.com/office/drawing/2010/main">
                <a:solidFill>
                  <a:srgbClr val="FFFFFF"/>
                </a:solidFill>
              </a14:hiddenFill>
            </a:ext>
          </a:extLst>
        </p:spPr>
      </p:pic>
      <p:sp>
        <p:nvSpPr>
          <p:cNvPr id="169" name="TextBox 168">
            <a:extLst>
              <a:ext uri="{FF2B5EF4-FFF2-40B4-BE49-F238E27FC236}">
                <a16:creationId xmlns:a16="http://schemas.microsoft.com/office/drawing/2014/main" id="{D38C7253-AF05-3744-8529-E897D4696C0E}"/>
              </a:ext>
            </a:extLst>
          </p:cNvPr>
          <p:cNvSpPr txBox="1"/>
          <p:nvPr/>
        </p:nvSpPr>
        <p:spPr>
          <a:xfrm>
            <a:off x="8802230" y="1972137"/>
            <a:ext cx="3069589" cy="4480586"/>
          </a:xfrm>
          <a:prstGeom prst="rect">
            <a:avLst/>
          </a:prstGeom>
          <a:noFill/>
        </p:spPr>
        <p:txBody>
          <a:bodyPr wrap="square" rtlCol="0">
            <a:spAutoFit/>
          </a:bodyPr>
          <a:lstStyle/>
          <a:p>
            <a:pPr marL="177800" marR="0" lvl="0" indent="-177800" algn="l" defTabSz="914400" rtl="0" eaLnBrk="1" fontAlgn="auto" latinLnBrk="0" hangingPunct="1">
              <a:lnSpc>
                <a:spcPct val="80000"/>
              </a:lnSpc>
              <a:spcBef>
                <a:spcPts val="1200"/>
              </a:spcBef>
              <a:spcAft>
                <a:spcPts val="0"/>
              </a:spcAft>
              <a:buClr>
                <a:srgbClr val="FFFFFF"/>
              </a:buClr>
              <a:buSzTx/>
              <a:buFont typeface="Arial" panose="020B0604020202020204" pitchFamily="34" charset="0"/>
              <a:buChar char="•"/>
              <a:defRPr/>
            </a:pPr>
            <a:r>
              <a:rPr kumimoji="0" lang="en-GB" b="1" i="0" u="none" strike="noStrike" kern="1200" cap="none" spc="0" normalizeH="0" baseline="0" noProof="0">
                <a:ln>
                  <a:noFill/>
                </a:ln>
                <a:solidFill>
                  <a:srgbClr val="FFFFFF"/>
                </a:solidFill>
                <a:effectLst/>
                <a:uLnTx/>
                <a:uFillTx/>
                <a:latin typeface="Calibri"/>
                <a:ea typeface="+mn-ea"/>
                <a:cs typeface="+mn-cs"/>
              </a:rPr>
              <a:t>Rep activity plan </a:t>
            </a:r>
            <a:r>
              <a:rPr kumimoji="0" lang="en-GB" b="0" i="0" u="none" strike="noStrike" kern="1200" cap="none" spc="0" normalizeH="0" baseline="0" noProof="0">
                <a:ln>
                  <a:noFill/>
                </a:ln>
                <a:solidFill>
                  <a:srgbClr val="FFFFFF"/>
                </a:solidFill>
                <a:effectLst/>
                <a:uLnTx/>
                <a:uFillTx/>
                <a:latin typeface="Calibri"/>
                <a:ea typeface="+mn-ea"/>
                <a:cs typeface="+mn-cs"/>
              </a:rPr>
              <a:t>– the plan for how we will proactively drive HCP adoption</a:t>
            </a:r>
          </a:p>
          <a:p>
            <a:pPr marL="177800" indent="-177800">
              <a:lnSpc>
                <a:spcPct val="80000"/>
              </a:lnSpc>
              <a:spcBef>
                <a:spcPts val="1200"/>
              </a:spcBef>
              <a:buClr>
                <a:srgbClr val="FFFFFF"/>
              </a:buClr>
              <a:buFont typeface="Arial" panose="020B0604020202020204" pitchFamily="34" charset="0"/>
              <a:buChar char="•"/>
              <a:defRPr/>
            </a:pPr>
            <a:r>
              <a:rPr lang="en-GB" b="1">
                <a:solidFill>
                  <a:srgbClr val="FFFFFF"/>
                </a:solidFill>
              </a:rPr>
              <a:t>MCCP</a:t>
            </a:r>
            <a:r>
              <a:rPr lang="en-GB">
                <a:solidFill>
                  <a:srgbClr val="FFFFFF"/>
                </a:solidFill>
              </a:rPr>
              <a:t> – the cycle planning that dictates who does what, via what channel and when</a:t>
            </a:r>
          </a:p>
          <a:p>
            <a:pPr marL="177800" marR="0" lvl="0" indent="-177800" algn="l" defTabSz="914400" rtl="0" eaLnBrk="1" fontAlgn="auto" latinLnBrk="0" hangingPunct="1">
              <a:lnSpc>
                <a:spcPct val="80000"/>
              </a:lnSpc>
              <a:spcBef>
                <a:spcPts val="1200"/>
              </a:spcBef>
              <a:spcAft>
                <a:spcPts val="0"/>
              </a:spcAft>
              <a:buClr>
                <a:srgbClr val="FFFFFF"/>
              </a:buClr>
              <a:buSzTx/>
              <a:buFont typeface="Arial" panose="020B0604020202020204" pitchFamily="34" charset="0"/>
              <a:buChar char="•"/>
              <a:defRPr/>
            </a:pPr>
            <a:r>
              <a:rPr lang="en-GB" b="1">
                <a:solidFill>
                  <a:srgbClr val="FFFFFF"/>
                </a:solidFill>
                <a:latin typeface="Calibri"/>
              </a:rPr>
              <a:t>Marketing automation </a:t>
            </a:r>
            <a:r>
              <a:rPr lang="en-GB">
                <a:solidFill>
                  <a:srgbClr val="FFFFFF"/>
                </a:solidFill>
                <a:latin typeface="Calibri"/>
              </a:rPr>
              <a:t>– the business logic for how we best respond to HCP driven actions</a:t>
            </a:r>
            <a:endParaRPr kumimoji="0" lang="en-GB" b="0" i="0" u="none" strike="noStrike" kern="1200" cap="none" spc="0" normalizeH="0" baseline="0" noProof="0">
              <a:ln>
                <a:noFill/>
              </a:ln>
              <a:solidFill>
                <a:srgbClr val="FFFFFF"/>
              </a:solidFill>
              <a:effectLst/>
              <a:uLnTx/>
              <a:uFillTx/>
              <a:latin typeface="Calibri"/>
              <a:ea typeface="+mn-ea"/>
              <a:cs typeface="+mn-cs"/>
            </a:endParaRPr>
          </a:p>
          <a:p>
            <a:pPr marL="177800" marR="0" lvl="0" indent="-177800" algn="l" defTabSz="914400" rtl="0" eaLnBrk="1" fontAlgn="auto" latinLnBrk="0" hangingPunct="1">
              <a:lnSpc>
                <a:spcPct val="80000"/>
              </a:lnSpc>
              <a:spcBef>
                <a:spcPts val="1200"/>
              </a:spcBef>
              <a:spcAft>
                <a:spcPts val="0"/>
              </a:spcAft>
              <a:buClr>
                <a:srgbClr val="FFFFFF"/>
              </a:buClr>
              <a:buSzTx/>
              <a:buFont typeface="Arial" panose="020B0604020202020204" pitchFamily="34" charset="0"/>
              <a:buChar char="•"/>
              <a:defRPr/>
            </a:pPr>
            <a:r>
              <a:rPr lang="en-GB" b="1">
                <a:solidFill>
                  <a:srgbClr val="FFFFFF"/>
                </a:solidFill>
                <a:latin typeface="Calibri"/>
              </a:rPr>
              <a:t>Next best action </a:t>
            </a:r>
            <a:r>
              <a:rPr lang="en-GB">
                <a:solidFill>
                  <a:srgbClr val="FFFFFF"/>
                </a:solidFill>
                <a:latin typeface="Calibri"/>
              </a:rPr>
              <a:t>– closed loop interaction data to drive a recommended next action</a:t>
            </a:r>
          </a:p>
          <a:p>
            <a:pPr marL="177800" marR="0" lvl="0" indent="-177800" algn="l" defTabSz="914400" rtl="0" eaLnBrk="1" fontAlgn="auto" latinLnBrk="0" hangingPunct="1">
              <a:lnSpc>
                <a:spcPct val="80000"/>
              </a:lnSpc>
              <a:spcBef>
                <a:spcPts val="1200"/>
              </a:spcBef>
              <a:spcAft>
                <a:spcPts val="0"/>
              </a:spcAft>
              <a:buClr>
                <a:srgbClr val="FFFFFF"/>
              </a:buClr>
              <a:buSzTx/>
              <a:buFont typeface="Arial" panose="020B0604020202020204" pitchFamily="34" charset="0"/>
              <a:buChar char="•"/>
              <a:defRPr/>
            </a:pPr>
            <a:r>
              <a:rPr kumimoji="0" lang="en-GB" b="1" i="0" u="none" strike="noStrike" kern="1200" cap="none" spc="0" normalizeH="0" baseline="0" noProof="0">
                <a:ln>
                  <a:noFill/>
                </a:ln>
                <a:solidFill>
                  <a:srgbClr val="FFFFFF"/>
                </a:solidFill>
                <a:effectLst/>
                <a:uLnTx/>
                <a:uFillTx/>
                <a:latin typeface="Calibri"/>
                <a:ea typeface="+mn-ea"/>
                <a:cs typeface="+mn-cs"/>
              </a:rPr>
              <a:t>Measurement framework </a:t>
            </a:r>
            <a:r>
              <a:rPr kumimoji="0" lang="en-GB" b="0" i="0" u="none" strike="noStrike" kern="1200" cap="none" spc="0" normalizeH="0" baseline="0" noProof="0">
                <a:ln>
                  <a:noFill/>
                </a:ln>
                <a:solidFill>
                  <a:srgbClr val="FFFFFF"/>
                </a:solidFill>
                <a:effectLst/>
                <a:uLnTx/>
                <a:uFillTx/>
                <a:latin typeface="Calibri"/>
                <a:ea typeface="+mn-ea"/>
                <a:cs typeface="+mn-cs"/>
              </a:rPr>
              <a:t>– target KPIs and metrics to assess performance and measure progress </a:t>
            </a:r>
          </a:p>
        </p:txBody>
      </p:sp>
      <p:sp>
        <p:nvSpPr>
          <p:cNvPr id="106" name="TextBox 105">
            <a:extLst>
              <a:ext uri="{FF2B5EF4-FFF2-40B4-BE49-F238E27FC236}">
                <a16:creationId xmlns:a16="http://schemas.microsoft.com/office/drawing/2014/main" id="{4A99BDD5-DB6C-784E-989B-CB6D18E5560C}"/>
              </a:ext>
            </a:extLst>
          </p:cNvPr>
          <p:cNvSpPr txBox="1"/>
          <p:nvPr/>
        </p:nvSpPr>
        <p:spPr>
          <a:xfrm rot="20669795">
            <a:off x="223924" y="1648972"/>
            <a:ext cx="1746565" cy="646331"/>
          </a:xfrm>
          <a:prstGeom prst="rect">
            <a:avLst/>
          </a:prstGeom>
          <a:solidFill>
            <a:schemeClr val="bg1"/>
          </a:solid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0000"/>
                </a:solidFill>
                <a:effectLst/>
                <a:uLnTx/>
                <a:uFillTx/>
                <a:latin typeface="Calibri"/>
                <a:ea typeface="+mn-ea"/>
                <a:cs typeface="+mn-cs"/>
              </a:rPr>
              <a:t>Indicative example of ‘Outcomes Orchestrator’ Framework</a:t>
            </a:r>
          </a:p>
        </p:txBody>
      </p:sp>
      <p:sp>
        <p:nvSpPr>
          <p:cNvPr id="105" name="Google Shape;7814;p149">
            <a:extLst>
              <a:ext uri="{FF2B5EF4-FFF2-40B4-BE49-F238E27FC236}">
                <a16:creationId xmlns:a16="http://schemas.microsoft.com/office/drawing/2014/main" id="{2AF82533-9D4D-6243-AF0D-59863C98D623}"/>
              </a:ext>
            </a:extLst>
          </p:cNvPr>
          <p:cNvSpPr txBox="1">
            <a:spLocks noChangeArrowheads="1"/>
          </p:cNvSpPr>
          <p:nvPr/>
        </p:nvSpPr>
        <p:spPr bwMode="auto">
          <a:xfrm>
            <a:off x="9139652" y="41823"/>
            <a:ext cx="3052348" cy="1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Clr>
                <a:srgbClr val="FFFFFF"/>
              </a:buClr>
              <a:buSzPts val="1600"/>
              <a:buNone/>
            </a:pPr>
            <a:r>
              <a:rPr lang="en-US" altLang="en-US" sz="1200">
                <a:cs typeface="Calibri" panose="020F0502020204030204" pitchFamily="34" charset="0"/>
                <a:sym typeface="Open Sans" panose="020B0606030504020204" pitchFamily="34" charset="0"/>
              </a:rPr>
              <a:t>Implications for customer engagement design</a:t>
            </a:r>
            <a:endParaRPr lang="en-US" altLang="en-US" sz="1600">
              <a:cs typeface="Calibri" panose="020F0502020204030204" pitchFamily="34" charset="0"/>
              <a:sym typeface="Arial" panose="020B0604020202020204" pitchFamily="34" charset="0"/>
            </a:endParaRPr>
          </a:p>
        </p:txBody>
      </p:sp>
      <p:pic>
        <p:nvPicPr>
          <p:cNvPr id="109" name="Graphic 108" descr="Ui Ux outline">
            <a:extLst>
              <a:ext uri="{FF2B5EF4-FFF2-40B4-BE49-F238E27FC236}">
                <a16:creationId xmlns:a16="http://schemas.microsoft.com/office/drawing/2014/main" id="{CC218069-FBD5-F346-93C4-FF15F6B4BD1F}"/>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8783267" y="30587"/>
            <a:ext cx="356385" cy="356385"/>
          </a:xfrm>
          <a:prstGeom prst="rect">
            <a:avLst/>
          </a:prstGeom>
        </p:spPr>
      </p:pic>
    </p:spTree>
    <p:extLst>
      <p:ext uri="{BB962C8B-B14F-4D97-AF65-F5344CB8AC3E}">
        <p14:creationId xmlns:p14="http://schemas.microsoft.com/office/powerpoint/2010/main" val="40040241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E42AAB2-7F37-5749-8606-E57D5E9B4F09}"/>
              </a:ext>
            </a:extLst>
          </p:cNvPr>
          <p:cNvSpPr/>
          <p:nvPr/>
        </p:nvSpPr>
        <p:spPr>
          <a:xfrm>
            <a:off x="7484337" y="1550895"/>
            <a:ext cx="4083895" cy="2429434"/>
          </a:xfrm>
          <a:prstGeom prst="rect">
            <a:avLst/>
          </a:prstGeom>
          <a:ln w="38100">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r>
              <a:rPr lang="en-GB" sz="2000"/>
              <a:t>Current best practice is “best of both worlds”</a:t>
            </a:r>
          </a:p>
          <a:p>
            <a:pPr marL="342900" indent="-342900">
              <a:buFont typeface="Arial" panose="020B0604020202020204" pitchFamily="34" charset="0"/>
              <a:buChar char="•"/>
            </a:pPr>
            <a:r>
              <a:rPr lang="en-GB" sz="2000"/>
              <a:t>HQ sets strategically aligned draft</a:t>
            </a:r>
          </a:p>
          <a:p>
            <a:pPr marL="342900" indent="-342900">
              <a:buFont typeface="Arial" panose="020B0604020202020204" pitchFamily="34" charset="0"/>
              <a:buChar char="•"/>
            </a:pPr>
            <a:r>
              <a:rPr lang="en-GB" sz="2000"/>
              <a:t>Field teams can fine-tune to mitigate for potential optimizations</a:t>
            </a:r>
          </a:p>
        </p:txBody>
      </p:sp>
      <p:sp>
        <p:nvSpPr>
          <p:cNvPr id="25" name="Rectangle 24">
            <a:extLst>
              <a:ext uri="{FF2B5EF4-FFF2-40B4-BE49-F238E27FC236}">
                <a16:creationId xmlns:a16="http://schemas.microsoft.com/office/drawing/2014/main" id="{F4E0C8FE-7137-B34F-AF21-7F0D96145464}"/>
              </a:ext>
            </a:extLst>
          </p:cNvPr>
          <p:cNvSpPr/>
          <p:nvPr/>
        </p:nvSpPr>
        <p:spPr>
          <a:xfrm>
            <a:off x="623768" y="1486746"/>
            <a:ext cx="6695630" cy="4763956"/>
          </a:xfrm>
          <a:prstGeom prst="rect">
            <a:avLst/>
          </a:prstGeom>
          <a:ln w="381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2000"/>
          </a:p>
        </p:txBody>
      </p:sp>
      <p:sp>
        <p:nvSpPr>
          <p:cNvPr id="2" name="Title 1">
            <a:extLst>
              <a:ext uri="{FF2B5EF4-FFF2-40B4-BE49-F238E27FC236}">
                <a16:creationId xmlns:a16="http://schemas.microsoft.com/office/drawing/2014/main" id="{27594452-1E59-A04A-97D3-737A955CE477}"/>
              </a:ext>
            </a:extLst>
          </p:cNvPr>
          <p:cNvSpPr>
            <a:spLocks noGrp="1"/>
          </p:cNvSpPr>
          <p:nvPr>
            <p:ph type="title"/>
          </p:nvPr>
        </p:nvSpPr>
        <p:spPr>
          <a:xfrm>
            <a:off x="301444" y="334450"/>
            <a:ext cx="11575038" cy="970524"/>
          </a:xfrm>
        </p:spPr>
        <p:txBody>
          <a:bodyPr/>
          <a:lstStyle/>
          <a:p>
            <a:pPr algn="l"/>
            <a:r>
              <a:rPr lang="en-GB"/>
              <a:t>When setting rep activity plans and MCCP we need to establish the right balance to both direct yet empower reps </a:t>
            </a:r>
          </a:p>
        </p:txBody>
      </p:sp>
      <p:sp>
        <p:nvSpPr>
          <p:cNvPr id="4" name="Google Shape;392;p23">
            <a:extLst>
              <a:ext uri="{FF2B5EF4-FFF2-40B4-BE49-F238E27FC236}">
                <a16:creationId xmlns:a16="http://schemas.microsoft.com/office/drawing/2014/main" id="{4FE1BB05-AD5C-0949-854B-BBD707775275}"/>
              </a:ext>
            </a:extLst>
          </p:cNvPr>
          <p:cNvSpPr/>
          <p:nvPr/>
        </p:nvSpPr>
        <p:spPr>
          <a:xfrm>
            <a:off x="1752899" y="1624178"/>
            <a:ext cx="2197100" cy="2200275"/>
          </a:xfrm>
          <a:custGeom>
            <a:avLst/>
            <a:gdLst/>
            <a:ahLst/>
            <a:cxnLst/>
            <a:rect l="l" t="t" r="r" b="b"/>
            <a:pathLst>
              <a:path w="509" h="509" extrusionOk="0">
                <a:moveTo>
                  <a:pt x="437" y="94"/>
                </a:moveTo>
                <a:cubicBezTo>
                  <a:pt x="342" y="0"/>
                  <a:pt x="189" y="0"/>
                  <a:pt x="95" y="94"/>
                </a:cubicBezTo>
                <a:cubicBezTo>
                  <a:pt x="0" y="188"/>
                  <a:pt x="0" y="342"/>
                  <a:pt x="95" y="436"/>
                </a:cubicBezTo>
                <a:cubicBezTo>
                  <a:pt x="144" y="485"/>
                  <a:pt x="208" y="509"/>
                  <a:pt x="272" y="507"/>
                </a:cubicBezTo>
                <a:cubicBezTo>
                  <a:pt x="387" y="507"/>
                  <a:pt x="387" y="507"/>
                  <a:pt x="387" y="507"/>
                </a:cubicBezTo>
                <a:cubicBezTo>
                  <a:pt x="508" y="507"/>
                  <a:pt x="508" y="507"/>
                  <a:pt x="508" y="507"/>
                </a:cubicBezTo>
                <a:cubicBezTo>
                  <a:pt x="508" y="386"/>
                  <a:pt x="508" y="386"/>
                  <a:pt x="508" y="386"/>
                </a:cubicBezTo>
                <a:cubicBezTo>
                  <a:pt x="508" y="271"/>
                  <a:pt x="508" y="271"/>
                  <a:pt x="508" y="271"/>
                </a:cubicBezTo>
                <a:cubicBezTo>
                  <a:pt x="509" y="207"/>
                  <a:pt x="486" y="143"/>
                  <a:pt x="437" y="94"/>
                </a:cubicBezTo>
                <a:close/>
              </a:path>
            </a:pathLst>
          </a:custGeom>
          <a:ln>
            <a:solidFill>
              <a:schemeClr val="bg1"/>
            </a:solidFill>
          </a:ln>
        </p:spPr>
        <p:style>
          <a:lnRef idx="1">
            <a:schemeClr val="accent6"/>
          </a:lnRef>
          <a:fillRef idx="2">
            <a:schemeClr val="accent6"/>
          </a:fillRef>
          <a:effectRef idx="1">
            <a:schemeClr val="accent6"/>
          </a:effectRef>
          <a:fontRef idx="minor">
            <a:schemeClr val="dk1"/>
          </a:fontRef>
        </p:style>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dk1"/>
              </a:solidFill>
              <a:latin typeface="Calibri"/>
              <a:ea typeface="Calibri"/>
              <a:cs typeface="Calibri"/>
              <a:sym typeface="Calibri"/>
            </a:endParaRPr>
          </a:p>
        </p:txBody>
      </p:sp>
      <p:sp>
        <p:nvSpPr>
          <p:cNvPr id="5" name="Google Shape;393;p23">
            <a:extLst>
              <a:ext uri="{FF2B5EF4-FFF2-40B4-BE49-F238E27FC236}">
                <a16:creationId xmlns:a16="http://schemas.microsoft.com/office/drawing/2014/main" id="{09621AE8-573B-FC4E-9D4E-D9C9A33D7805}"/>
              </a:ext>
            </a:extLst>
          </p:cNvPr>
          <p:cNvSpPr/>
          <p:nvPr/>
        </p:nvSpPr>
        <p:spPr>
          <a:xfrm>
            <a:off x="1752899" y="3897478"/>
            <a:ext cx="2197100" cy="2198687"/>
          </a:xfrm>
          <a:custGeom>
            <a:avLst/>
            <a:gdLst/>
            <a:ahLst/>
            <a:cxnLst/>
            <a:rect l="l" t="t" r="r" b="b"/>
            <a:pathLst>
              <a:path w="509" h="509" extrusionOk="0">
                <a:moveTo>
                  <a:pt x="95" y="73"/>
                </a:moveTo>
                <a:cubicBezTo>
                  <a:pt x="0" y="167"/>
                  <a:pt x="0" y="320"/>
                  <a:pt x="95" y="415"/>
                </a:cubicBezTo>
                <a:cubicBezTo>
                  <a:pt x="189" y="509"/>
                  <a:pt x="342" y="509"/>
                  <a:pt x="437" y="415"/>
                </a:cubicBezTo>
                <a:cubicBezTo>
                  <a:pt x="486" y="366"/>
                  <a:pt x="509" y="301"/>
                  <a:pt x="508" y="237"/>
                </a:cubicBezTo>
                <a:cubicBezTo>
                  <a:pt x="508" y="123"/>
                  <a:pt x="508" y="123"/>
                  <a:pt x="508" y="123"/>
                </a:cubicBezTo>
                <a:cubicBezTo>
                  <a:pt x="508" y="2"/>
                  <a:pt x="508" y="2"/>
                  <a:pt x="508" y="2"/>
                </a:cubicBezTo>
                <a:cubicBezTo>
                  <a:pt x="387" y="2"/>
                  <a:pt x="387" y="2"/>
                  <a:pt x="387" y="2"/>
                </a:cubicBezTo>
                <a:cubicBezTo>
                  <a:pt x="272" y="2"/>
                  <a:pt x="272" y="2"/>
                  <a:pt x="272" y="2"/>
                </a:cubicBezTo>
                <a:cubicBezTo>
                  <a:pt x="208" y="0"/>
                  <a:pt x="144" y="24"/>
                  <a:pt x="95" y="73"/>
                </a:cubicBezTo>
                <a:close/>
              </a:path>
            </a:pathLst>
          </a:custGeom>
          <a:ln>
            <a:solidFill>
              <a:schemeClr val="bg1"/>
            </a:solidFill>
          </a:ln>
        </p:spPr>
        <p:style>
          <a:lnRef idx="1">
            <a:schemeClr val="accent5"/>
          </a:lnRef>
          <a:fillRef idx="2">
            <a:schemeClr val="accent5"/>
          </a:fillRef>
          <a:effectRef idx="1">
            <a:schemeClr val="accent5"/>
          </a:effectRef>
          <a:fontRef idx="minor">
            <a:schemeClr val="dk1"/>
          </a:fontRef>
        </p:style>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dk1"/>
              </a:solidFill>
              <a:latin typeface="Calibri"/>
              <a:ea typeface="Calibri"/>
              <a:cs typeface="Calibri"/>
              <a:sym typeface="Calibri"/>
            </a:endParaRPr>
          </a:p>
        </p:txBody>
      </p:sp>
      <p:sp>
        <p:nvSpPr>
          <p:cNvPr id="6" name="Google Shape;394;p23">
            <a:extLst>
              <a:ext uri="{FF2B5EF4-FFF2-40B4-BE49-F238E27FC236}">
                <a16:creationId xmlns:a16="http://schemas.microsoft.com/office/drawing/2014/main" id="{7D6882C5-D540-7941-B223-CA0450D2F670}"/>
              </a:ext>
            </a:extLst>
          </p:cNvPr>
          <p:cNvSpPr/>
          <p:nvPr/>
        </p:nvSpPr>
        <p:spPr>
          <a:xfrm>
            <a:off x="4027787" y="3897478"/>
            <a:ext cx="2197100" cy="2198687"/>
          </a:xfrm>
          <a:custGeom>
            <a:avLst/>
            <a:gdLst/>
            <a:ahLst/>
            <a:cxnLst/>
            <a:rect l="l" t="t" r="r" b="b"/>
            <a:pathLst>
              <a:path w="509" h="509" extrusionOk="0">
                <a:moveTo>
                  <a:pt x="73" y="415"/>
                </a:moveTo>
                <a:cubicBezTo>
                  <a:pt x="167" y="509"/>
                  <a:pt x="320" y="509"/>
                  <a:pt x="415" y="415"/>
                </a:cubicBezTo>
                <a:cubicBezTo>
                  <a:pt x="509" y="320"/>
                  <a:pt x="509" y="167"/>
                  <a:pt x="415" y="73"/>
                </a:cubicBezTo>
                <a:cubicBezTo>
                  <a:pt x="366" y="24"/>
                  <a:pt x="301" y="0"/>
                  <a:pt x="237" y="2"/>
                </a:cubicBezTo>
                <a:cubicBezTo>
                  <a:pt x="122" y="2"/>
                  <a:pt x="122" y="2"/>
                  <a:pt x="122" y="2"/>
                </a:cubicBezTo>
                <a:cubicBezTo>
                  <a:pt x="1" y="2"/>
                  <a:pt x="1" y="2"/>
                  <a:pt x="1" y="2"/>
                </a:cubicBezTo>
                <a:cubicBezTo>
                  <a:pt x="2" y="123"/>
                  <a:pt x="2" y="123"/>
                  <a:pt x="2" y="123"/>
                </a:cubicBezTo>
                <a:cubicBezTo>
                  <a:pt x="2" y="237"/>
                  <a:pt x="2" y="237"/>
                  <a:pt x="2" y="237"/>
                </a:cubicBezTo>
                <a:cubicBezTo>
                  <a:pt x="0" y="301"/>
                  <a:pt x="24" y="366"/>
                  <a:pt x="73" y="415"/>
                </a:cubicBezTo>
                <a:close/>
              </a:path>
            </a:pathLst>
          </a:custGeom>
          <a:ln>
            <a:solidFill>
              <a:schemeClr val="bg1"/>
            </a:solidFill>
          </a:ln>
        </p:spPr>
        <p:style>
          <a:lnRef idx="1">
            <a:schemeClr val="accent4"/>
          </a:lnRef>
          <a:fillRef idx="2">
            <a:schemeClr val="accent4"/>
          </a:fillRef>
          <a:effectRef idx="1">
            <a:schemeClr val="accent4"/>
          </a:effectRef>
          <a:fontRef idx="minor">
            <a:schemeClr val="dk1"/>
          </a:fontRef>
        </p:style>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dk1"/>
              </a:solidFill>
              <a:latin typeface="Calibri"/>
              <a:ea typeface="Calibri"/>
              <a:cs typeface="Calibri"/>
              <a:sym typeface="Calibri"/>
            </a:endParaRPr>
          </a:p>
        </p:txBody>
      </p:sp>
      <p:sp>
        <p:nvSpPr>
          <p:cNvPr id="7" name="Google Shape;395;p23">
            <a:extLst>
              <a:ext uri="{FF2B5EF4-FFF2-40B4-BE49-F238E27FC236}">
                <a16:creationId xmlns:a16="http://schemas.microsoft.com/office/drawing/2014/main" id="{3CEF241B-6D0F-104D-88D8-05164AD26ADF}"/>
              </a:ext>
            </a:extLst>
          </p:cNvPr>
          <p:cNvSpPr/>
          <p:nvPr/>
        </p:nvSpPr>
        <p:spPr>
          <a:xfrm>
            <a:off x="4027787" y="1624178"/>
            <a:ext cx="2197100" cy="2200275"/>
          </a:xfrm>
          <a:custGeom>
            <a:avLst/>
            <a:gdLst/>
            <a:ahLst/>
            <a:cxnLst/>
            <a:rect l="l" t="t" r="r" b="b"/>
            <a:pathLst>
              <a:path w="509" h="509" extrusionOk="0">
                <a:moveTo>
                  <a:pt x="415" y="436"/>
                </a:moveTo>
                <a:cubicBezTo>
                  <a:pt x="509" y="342"/>
                  <a:pt x="509" y="188"/>
                  <a:pt x="415" y="94"/>
                </a:cubicBezTo>
                <a:cubicBezTo>
                  <a:pt x="320" y="0"/>
                  <a:pt x="167" y="0"/>
                  <a:pt x="73" y="94"/>
                </a:cubicBezTo>
                <a:cubicBezTo>
                  <a:pt x="24" y="143"/>
                  <a:pt x="0" y="207"/>
                  <a:pt x="2" y="271"/>
                </a:cubicBezTo>
                <a:cubicBezTo>
                  <a:pt x="2" y="386"/>
                  <a:pt x="2" y="386"/>
                  <a:pt x="2" y="386"/>
                </a:cubicBezTo>
                <a:cubicBezTo>
                  <a:pt x="1" y="507"/>
                  <a:pt x="1" y="507"/>
                  <a:pt x="1" y="507"/>
                </a:cubicBezTo>
                <a:cubicBezTo>
                  <a:pt x="122" y="507"/>
                  <a:pt x="122" y="507"/>
                  <a:pt x="122" y="507"/>
                </a:cubicBezTo>
                <a:cubicBezTo>
                  <a:pt x="237" y="507"/>
                  <a:pt x="237" y="507"/>
                  <a:pt x="237" y="507"/>
                </a:cubicBezTo>
                <a:cubicBezTo>
                  <a:pt x="301" y="509"/>
                  <a:pt x="366" y="485"/>
                  <a:pt x="415" y="436"/>
                </a:cubicBezTo>
                <a:close/>
              </a:path>
            </a:pathLst>
          </a:custGeom>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dk1"/>
              </a:solidFill>
              <a:latin typeface="Calibri"/>
              <a:ea typeface="Calibri"/>
              <a:cs typeface="Calibri"/>
              <a:sym typeface="Calibri"/>
            </a:endParaRPr>
          </a:p>
        </p:txBody>
      </p:sp>
      <p:cxnSp>
        <p:nvCxnSpPr>
          <p:cNvPr id="13" name="Straight Connector 12">
            <a:extLst>
              <a:ext uri="{FF2B5EF4-FFF2-40B4-BE49-F238E27FC236}">
                <a16:creationId xmlns:a16="http://schemas.microsoft.com/office/drawing/2014/main" id="{6ECED54E-6CA0-914A-9ED2-086A7DD25B1A}"/>
              </a:ext>
            </a:extLst>
          </p:cNvPr>
          <p:cNvCxnSpPr/>
          <p:nvPr/>
        </p:nvCxnSpPr>
        <p:spPr>
          <a:xfrm>
            <a:off x="3985168" y="1811746"/>
            <a:ext cx="0" cy="4144719"/>
          </a:xfrm>
          <a:prstGeom prst="line">
            <a:avLst/>
          </a:prstGeom>
          <a:ln w="381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23DF3E2-D563-504B-8DFB-22936AB24A2D}"/>
              </a:ext>
            </a:extLst>
          </p:cNvPr>
          <p:cNvCxnSpPr>
            <a:cxnSpLocks/>
          </p:cNvCxnSpPr>
          <p:nvPr/>
        </p:nvCxnSpPr>
        <p:spPr>
          <a:xfrm rot="5400000">
            <a:off x="3949998" y="1788606"/>
            <a:ext cx="0" cy="4144719"/>
          </a:xfrm>
          <a:prstGeom prst="line">
            <a:avLst/>
          </a:prstGeom>
          <a:ln w="381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EABA9D9-1B3D-3C41-A156-9D4A1B56B70B}"/>
              </a:ext>
            </a:extLst>
          </p:cNvPr>
          <p:cNvSpPr/>
          <p:nvPr/>
        </p:nvSpPr>
        <p:spPr>
          <a:xfrm>
            <a:off x="592323" y="3552877"/>
            <a:ext cx="1422941" cy="579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bg1">
                    <a:lumMod val="75000"/>
                  </a:schemeClr>
                </a:solidFill>
              </a:rPr>
              <a:t>Marketing-driven</a:t>
            </a:r>
          </a:p>
        </p:txBody>
      </p:sp>
      <p:sp>
        <p:nvSpPr>
          <p:cNvPr id="16" name="Rectangle 15">
            <a:extLst>
              <a:ext uri="{FF2B5EF4-FFF2-40B4-BE49-F238E27FC236}">
                <a16:creationId xmlns:a16="http://schemas.microsoft.com/office/drawing/2014/main" id="{7B5DD759-EC4C-944E-A4E2-F4A98B3322BF}"/>
              </a:ext>
            </a:extLst>
          </p:cNvPr>
          <p:cNvSpPr/>
          <p:nvPr/>
        </p:nvSpPr>
        <p:spPr>
          <a:xfrm>
            <a:off x="5919903" y="3571134"/>
            <a:ext cx="1422941" cy="579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bg1">
                    <a:lumMod val="75000"/>
                  </a:schemeClr>
                </a:solidFill>
              </a:rPr>
              <a:t>Rep-orchestrated</a:t>
            </a:r>
          </a:p>
        </p:txBody>
      </p:sp>
      <p:sp>
        <p:nvSpPr>
          <p:cNvPr id="17" name="Rectangle 16">
            <a:extLst>
              <a:ext uri="{FF2B5EF4-FFF2-40B4-BE49-F238E27FC236}">
                <a16:creationId xmlns:a16="http://schemas.microsoft.com/office/drawing/2014/main" id="{D7220731-238D-7F4D-90D7-DB5F7EC4C014}"/>
              </a:ext>
            </a:extLst>
          </p:cNvPr>
          <p:cNvSpPr/>
          <p:nvPr/>
        </p:nvSpPr>
        <p:spPr>
          <a:xfrm>
            <a:off x="3105500" y="1359414"/>
            <a:ext cx="1750529" cy="579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bg1">
                    <a:lumMod val="75000"/>
                  </a:schemeClr>
                </a:solidFill>
              </a:rPr>
              <a:t>Rep -originated</a:t>
            </a:r>
          </a:p>
        </p:txBody>
      </p:sp>
      <p:sp>
        <p:nvSpPr>
          <p:cNvPr id="18" name="Rectangle 17">
            <a:extLst>
              <a:ext uri="{FF2B5EF4-FFF2-40B4-BE49-F238E27FC236}">
                <a16:creationId xmlns:a16="http://schemas.microsoft.com/office/drawing/2014/main" id="{EC7BD8F0-DA46-AD4D-B8AE-27FB099168F7}"/>
              </a:ext>
            </a:extLst>
          </p:cNvPr>
          <p:cNvSpPr/>
          <p:nvPr/>
        </p:nvSpPr>
        <p:spPr>
          <a:xfrm>
            <a:off x="3098179" y="5777377"/>
            <a:ext cx="1750529" cy="579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bg1">
                    <a:lumMod val="75000"/>
                  </a:schemeClr>
                </a:solidFill>
              </a:rPr>
              <a:t>HQ -originated</a:t>
            </a:r>
          </a:p>
        </p:txBody>
      </p:sp>
      <p:sp>
        <p:nvSpPr>
          <p:cNvPr id="19" name="Rectangle 18">
            <a:extLst>
              <a:ext uri="{FF2B5EF4-FFF2-40B4-BE49-F238E27FC236}">
                <a16:creationId xmlns:a16="http://schemas.microsoft.com/office/drawing/2014/main" id="{1C35C040-98E6-5F42-A71E-A5378977F46F}"/>
              </a:ext>
            </a:extLst>
          </p:cNvPr>
          <p:cNvSpPr/>
          <p:nvPr/>
        </p:nvSpPr>
        <p:spPr>
          <a:xfrm>
            <a:off x="4192726" y="2353756"/>
            <a:ext cx="1829631" cy="9554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9700" indent="-139700">
              <a:buFont typeface="Arial" panose="020B0604020202020204" pitchFamily="34" charset="0"/>
              <a:buChar char="•"/>
            </a:pPr>
            <a:r>
              <a:rPr lang="en-GB" sz="1600"/>
              <a:t>Field decides on targets </a:t>
            </a:r>
          </a:p>
          <a:p>
            <a:pPr marL="139700" indent="-139700">
              <a:buFont typeface="Arial" panose="020B0604020202020204" pitchFamily="34" charset="0"/>
              <a:buChar char="•"/>
            </a:pPr>
            <a:r>
              <a:rPr lang="en-GB" sz="1600"/>
              <a:t>Field aligns these against channel goals</a:t>
            </a:r>
          </a:p>
        </p:txBody>
      </p:sp>
      <p:sp>
        <p:nvSpPr>
          <p:cNvPr id="20" name="Rectangle 19">
            <a:extLst>
              <a:ext uri="{FF2B5EF4-FFF2-40B4-BE49-F238E27FC236}">
                <a16:creationId xmlns:a16="http://schemas.microsoft.com/office/drawing/2014/main" id="{CE5A08BD-4E19-4647-B017-1E8CE0A6CCD5}"/>
              </a:ext>
            </a:extLst>
          </p:cNvPr>
          <p:cNvSpPr/>
          <p:nvPr/>
        </p:nvSpPr>
        <p:spPr>
          <a:xfrm>
            <a:off x="4192726" y="4205238"/>
            <a:ext cx="1896237" cy="134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9700" indent="-139700">
              <a:buFont typeface="Arial" panose="020B0604020202020204" pitchFamily="34" charset="0"/>
              <a:buChar char="•"/>
            </a:pPr>
            <a:r>
              <a:rPr lang="en-GB" sz="1600"/>
              <a:t>HQ decides on targets </a:t>
            </a:r>
          </a:p>
          <a:p>
            <a:pPr marL="139700" indent="-139700">
              <a:buFont typeface="Arial" panose="020B0604020202020204" pitchFamily="34" charset="0"/>
              <a:buChar char="•"/>
            </a:pPr>
            <a:r>
              <a:rPr lang="en-GB" sz="1600"/>
              <a:t>Fields aligns these against channel goals</a:t>
            </a:r>
          </a:p>
        </p:txBody>
      </p:sp>
      <p:sp>
        <p:nvSpPr>
          <p:cNvPr id="21" name="Rectangle 20">
            <a:extLst>
              <a:ext uri="{FF2B5EF4-FFF2-40B4-BE49-F238E27FC236}">
                <a16:creationId xmlns:a16="http://schemas.microsoft.com/office/drawing/2014/main" id="{169AB5A8-BE1C-6748-8F43-6B9A49705B54}"/>
              </a:ext>
            </a:extLst>
          </p:cNvPr>
          <p:cNvSpPr/>
          <p:nvPr/>
        </p:nvSpPr>
        <p:spPr>
          <a:xfrm>
            <a:off x="2015264" y="2353756"/>
            <a:ext cx="1829631" cy="9554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9700" indent="-139700">
              <a:buFont typeface="Arial" panose="020B0604020202020204" pitchFamily="34" charset="0"/>
              <a:buChar char="•"/>
            </a:pPr>
            <a:r>
              <a:rPr lang="en-GB" sz="1600"/>
              <a:t>Field decides on targets </a:t>
            </a:r>
          </a:p>
          <a:p>
            <a:pPr marL="139700" indent="-139700">
              <a:buFont typeface="Arial" panose="020B0604020202020204" pitchFamily="34" charset="0"/>
              <a:buChar char="•"/>
            </a:pPr>
            <a:r>
              <a:rPr lang="en-GB" sz="1600"/>
              <a:t>Marketing orchestrates channels</a:t>
            </a:r>
          </a:p>
        </p:txBody>
      </p:sp>
      <p:sp>
        <p:nvSpPr>
          <p:cNvPr id="22" name="Rectangle 21">
            <a:extLst>
              <a:ext uri="{FF2B5EF4-FFF2-40B4-BE49-F238E27FC236}">
                <a16:creationId xmlns:a16="http://schemas.microsoft.com/office/drawing/2014/main" id="{7CF813FD-C2EE-6645-9B44-8F05FCAD9011}"/>
              </a:ext>
            </a:extLst>
          </p:cNvPr>
          <p:cNvSpPr/>
          <p:nvPr/>
        </p:nvSpPr>
        <p:spPr>
          <a:xfrm>
            <a:off x="2015264" y="4205238"/>
            <a:ext cx="1896237" cy="134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9700" indent="-139700">
              <a:buFont typeface="Arial" panose="020B0604020202020204" pitchFamily="34" charset="0"/>
              <a:buChar char="•"/>
            </a:pPr>
            <a:r>
              <a:rPr lang="en-GB" sz="1600"/>
              <a:t>HQ decides on targets </a:t>
            </a:r>
          </a:p>
          <a:p>
            <a:pPr marL="139700" indent="-139700">
              <a:buFont typeface="Arial" panose="020B0604020202020204" pitchFamily="34" charset="0"/>
              <a:buChar char="•"/>
            </a:pPr>
            <a:r>
              <a:rPr lang="en-GB" sz="1600"/>
              <a:t>Marketing orchestrates channels</a:t>
            </a:r>
          </a:p>
        </p:txBody>
      </p:sp>
      <p:sp>
        <p:nvSpPr>
          <p:cNvPr id="8" name="Oval 7">
            <a:extLst>
              <a:ext uri="{FF2B5EF4-FFF2-40B4-BE49-F238E27FC236}">
                <a16:creationId xmlns:a16="http://schemas.microsoft.com/office/drawing/2014/main" id="{8AAEFB16-E2EB-5840-B174-0B00E8A24007}"/>
              </a:ext>
            </a:extLst>
          </p:cNvPr>
          <p:cNvSpPr/>
          <p:nvPr/>
        </p:nvSpPr>
        <p:spPr>
          <a:xfrm>
            <a:off x="3373283" y="3287464"/>
            <a:ext cx="1216321" cy="1142709"/>
          </a:xfrm>
          <a:prstGeom prst="ellipse">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a:t>Best Practice</a:t>
            </a:r>
          </a:p>
        </p:txBody>
      </p:sp>
      <p:sp>
        <p:nvSpPr>
          <p:cNvPr id="23" name="Rectangle 22">
            <a:extLst>
              <a:ext uri="{FF2B5EF4-FFF2-40B4-BE49-F238E27FC236}">
                <a16:creationId xmlns:a16="http://schemas.microsoft.com/office/drawing/2014/main" id="{BD24D819-56F2-2C43-83EA-2415DF0AF5B4}"/>
              </a:ext>
            </a:extLst>
          </p:cNvPr>
          <p:cNvSpPr/>
          <p:nvPr/>
        </p:nvSpPr>
        <p:spPr>
          <a:xfrm>
            <a:off x="7484337" y="4206888"/>
            <a:ext cx="4083895" cy="1934643"/>
          </a:xfrm>
          <a:prstGeom prst="rect">
            <a:avLst/>
          </a:prstGeom>
          <a:ln w="38100">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2000"/>
              <a:t>Also, we see more and more organisations starting to use tools like Veeva Align to reduce the administrative burden of setting up the plan</a:t>
            </a:r>
          </a:p>
        </p:txBody>
      </p:sp>
      <p:sp>
        <p:nvSpPr>
          <p:cNvPr id="3" name="Text Placeholder 2">
            <a:extLst>
              <a:ext uri="{FF2B5EF4-FFF2-40B4-BE49-F238E27FC236}">
                <a16:creationId xmlns:a16="http://schemas.microsoft.com/office/drawing/2014/main" id="{4B6C6EE1-2405-224D-A4B2-D7367A29D4A3}"/>
              </a:ext>
            </a:extLst>
          </p:cNvPr>
          <p:cNvSpPr>
            <a:spLocks noGrp="1"/>
          </p:cNvSpPr>
          <p:nvPr>
            <p:ph type="body" sz="quarter" idx="14"/>
          </p:nvPr>
        </p:nvSpPr>
        <p:spPr>
          <a:xfrm>
            <a:off x="316947" y="1327609"/>
            <a:ext cx="2202503" cy="356771"/>
          </a:xfrm>
        </p:spPr>
        <p:txBody>
          <a:bodyPr/>
          <a:lstStyle/>
          <a:p>
            <a:pPr algn="l"/>
            <a:r>
              <a:rPr lang="en-GB" sz="1800" i="1"/>
              <a:t>Different scenarios for setting the plan</a:t>
            </a:r>
          </a:p>
        </p:txBody>
      </p:sp>
      <p:sp>
        <p:nvSpPr>
          <p:cNvPr id="24" name="Google Shape;7814;p149">
            <a:extLst>
              <a:ext uri="{FF2B5EF4-FFF2-40B4-BE49-F238E27FC236}">
                <a16:creationId xmlns:a16="http://schemas.microsoft.com/office/drawing/2014/main" id="{DFF37373-185F-6B4B-8FCF-61A457C712E5}"/>
              </a:ext>
            </a:extLst>
          </p:cNvPr>
          <p:cNvSpPr txBox="1">
            <a:spLocks noChangeArrowheads="1"/>
          </p:cNvSpPr>
          <p:nvPr/>
        </p:nvSpPr>
        <p:spPr bwMode="auto">
          <a:xfrm>
            <a:off x="9139652" y="41823"/>
            <a:ext cx="3052348" cy="1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Clr>
                <a:srgbClr val="FFFFFF"/>
              </a:buClr>
              <a:buSzPts val="1600"/>
              <a:buNone/>
            </a:pPr>
            <a:r>
              <a:rPr lang="en-US" altLang="en-US" sz="1200">
                <a:cs typeface="Calibri" panose="020F0502020204030204" pitchFamily="34" charset="0"/>
                <a:sym typeface="Open Sans" panose="020B0606030504020204" pitchFamily="34" charset="0"/>
              </a:rPr>
              <a:t>Implications for customer engagement design</a:t>
            </a:r>
            <a:endParaRPr lang="en-US" altLang="en-US" sz="1600">
              <a:cs typeface="Calibri" panose="020F0502020204030204" pitchFamily="34" charset="0"/>
              <a:sym typeface="Arial" panose="020B0604020202020204" pitchFamily="34" charset="0"/>
            </a:endParaRPr>
          </a:p>
        </p:txBody>
      </p:sp>
      <p:pic>
        <p:nvPicPr>
          <p:cNvPr id="26" name="Graphic 25" descr="Ui Ux outline">
            <a:extLst>
              <a:ext uri="{FF2B5EF4-FFF2-40B4-BE49-F238E27FC236}">
                <a16:creationId xmlns:a16="http://schemas.microsoft.com/office/drawing/2014/main" id="{C4CEA7E7-DA02-7949-90B9-76E9FF67A8F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783267" y="30587"/>
            <a:ext cx="356385" cy="356385"/>
          </a:xfrm>
          <a:prstGeom prst="rect">
            <a:avLst/>
          </a:prstGeom>
        </p:spPr>
      </p:pic>
    </p:spTree>
    <p:extLst>
      <p:ext uri="{BB962C8B-B14F-4D97-AF65-F5344CB8AC3E}">
        <p14:creationId xmlns:p14="http://schemas.microsoft.com/office/powerpoint/2010/main" val="205736045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142A7-C5A8-5D4F-94A2-A0E53B82F58F}"/>
              </a:ext>
            </a:extLst>
          </p:cNvPr>
          <p:cNvSpPr>
            <a:spLocks noGrp="1"/>
          </p:cNvSpPr>
          <p:nvPr>
            <p:ph type="title"/>
          </p:nvPr>
        </p:nvSpPr>
        <p:spPr>
          <a:xfrm>
            <a:off x="276303" y="425028"/>
            <a:ext cx="11639394" cy="982881"/>
          </a:xfrm>
        </p:spPr>
        <p:txBody>
          <a:bodyPr/>
          <a:lstStyle/>
          <a:p>
            <a:pPr algn="l"/>
            <a:r>
              <a:rPr lang="en-GB" sz="3600"/>
              <a:t>As we set sales teams up for practical execution of your engagement plans we will put key enablers in place</a:t>
            </a:r>
          </a:p>
        </p:txBody>
      </p:sp>
      <p:sp>
        <p:nvSpPr>
          <p:cNvPr id="14" name="Google Shape;864;p29">
            <a:extLst>
              <a:ext uri="{FF2B5EF4-FFF2-40B4-BE49-F238E27FC236}">
                <a16:creationId xmlns:a16="http://schemas.microsoft.com/office/drawing/2014/main" id="{F0C54AC4-3748-B648-A6AF-4EE373FB988C}"/>
              </a:ext>
            </a:extLst>
          </p:cNvPr>
          <p:cNvSpPr>
            <a:spLocks/>
          </p:cNvSpPr>
          <p:nvPr/>
        </p:nvSpPr>
        <p:spPr bwMode="auto">
          <a:xfrm>
            <a:off x="418449" y="3551037"/>
            <a:ext cx="2151974" cy="466725"/>
          </a:xfrm>
          <a:custGeom>
            <a:avLst/>
            <a:gdLst>
              <a:gd name="T0" fmla="*/ 423 w 430"/>
              <a:gd name="T1" fmla="*/ 38 h 118"/>
              <a:gd name="T2" fmla="*/ 249 w 430"/>
              <a:gd name="T3" fmla="*/ 38 h 118"/>
              <a:gd name="T4" fmla="*/ 232 w 430"/>
              <a:gd name="T5" fmla="*/ 19 h 118"/>
              <a:gd name="T6" fmla="*/ 215 w 430"/>
              <a:gd name="T7" fmla="*/ 0 h 118"/>
              <a:gd name="T8" fmla="*/ 198 w 430"/>
              <a:gd name="T9" fmla="*/ 19 h 118"/>
              <a:gd name="T10" fmla="*/ 180 w 430"/>
              <a:gd name="T11" fmla="*/ 38 h 118"/>
              <a:gd name="T12" fmla="*/ 40 w 430"/>
              <a:gd name="T13" fmla="*/ 38 h 118"/>
              <a:gd name="T14" fmla="*/ 0 w 430"/>
              <a:gd name="T15" fmla="*/ 78 h 118"/>
              <a:gd name="T16" fmla="*/ 40 w 430"/>
              <a:gd name="T17" fmla="*/ 118 h 118"/>
              <a:gd name="T18" fmla="*/ 423 w 430"/>
              <a:gd name="T19" fmla="*/ 118 h 118"/>
              <a:gd name="T20" fmla="*/ 430 w 430"/>
              <a:gd name="T21" fmla="*/ 111 h 118"/>
              <a:gd name="T22" fmla="*/ 430 w 430"/>
              <a:gd name="T23" fmla="*/ 45 h 118"/>
              <a:gd name="T24" fmla="*/ 423 w 430"/>
              <a:gd name="T25" fmla="*/ 3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0" h="118" extrusionOk="0">
                <a:moveTo>
                  <a:pt x="423" y="38"/>
                </a:moveTo>
                <a:cubicBezTo>
                  <a:pt x="249" y="38"/>
                  <a:pt x="249" y="38"/>
                  <a:pt x="249" y="38"/>
                </a:cubicBezTo>
                <a:cubicBezTo>
                  <a:pt x="232" y="19"/>
                  <a:pt x="232" y="19"/>
                  <a:pt x="232" y="19"/>
                </a:cubicBezTo>
                <a:cubicBezTo>
                  <a:pt x="215" y="0"/>
                  <a:pt x="215" y="0"/>
                  <a:pt x="215" y="0"/>
                </a:cubicBezTo>
                <a:cubicBezTo>
                  <a:pt x="198" y="19"/>
                  <a:pt x="198" y="19"/>
                  <a:pt x="198" y="19"/>
                </a:cubicBezTo>
                <a:cubicBezTo>
                  <a:pt x="180" y="38"/>
                  <a:pt x="180" y="38"/>
                  <a:pt x="180" y="38"/>
                </a:cubicBezTo>
                <a:cubicBezTo>
                  <a:pt x="40" y="38"/>
                  <a:pt x="40" y="38"/>
                  <a:pt x="40" y="38"/>
                </a:cubicBezTo>
                <a:cubicBezTo>
                  <a:pt x="18" y="38"/>
                  <a:pt x="0" y="56"/>
                  <a:pt x="0" y="78"/>
                </a:cubicBezTo>
                <a:cubicBezTo>
                  <a:pt x="0" y="100"/>
                  <a:pt x="18" y="118"/>
                  <a:pt x="40" y="118"/>
                </a:cubicBezTo>
                <a:cubicBezTo>
                  <a:pt x="423" y="118"/>
                  <a:pt x="423" y="118"/>
                  <a:pt x="423" y="118"/>
                </a:cubicBezTo>
                <a:cubicBezTo>
                  <a:pt x="427" y="118"/>
                  <a:pt x="430" y="115"/>
                  <a:pt x="430" y="111"/>
                </a:cubicBezTo>
                <a:cubicBezTo>
                  <a:pt x="430" y="45"/>
                  <a:pt x="430" y="45"/>
                  <a:pt x="430" y="45"/>
                </a:cubicBezTo>
                <a:cubicBezTo>
                  <a:pt x="430" y="41"/>
                  <a:pt x="427" y="38"/>
                  <a:pt x="423" y="38"/>
                </a:cubicBezTo>
                <a:close/>
              </a:path>
            </a:pathLst>
          </a:custGeom>
          <a:solidFill>
            <a:schemeClr val="tx2"/>
          </a:solidFill>
          <a:ln>
            <a:noFill/>
          </a:ln>
        </p:spPr>
        <p:txBody>
          <a:bodyPr lIns="91425" tIns="45700" rIns="91425" bIns="45700"/>
          <a:lstStyle/>
          <a:p>
            <a:endParaRPr lang="en-US" sz="1600"/>
          </a:p>
        </p:txBody>
      </p:sp>
      <p:sp>
        <p:nvSpPr>
          <p:cNvPr id="15" name="Google Shape;865;p29">
            <a:extLst>
              <a:ext uri="{FF2B5EF4-FFF2-40B4-BE49-F238E27FC236}">
                <a16:creationId xmlns:a16="http://schemas.microsoft.com/office/drawing/2014/main" id="{B2369860-4ADF-0949-B575-EACF4FDA2799}"/>
              </a:ext>
            </a:extLst>
          </p:cNvPr>
          <p:cNvSpPr>
            <a:spLocks/>
          </p:cNvSpPr>
          <p:nvPr/>
        </p:nvSpPr>
        <p:spPr bwMode="auto">
          <a:xfrm>
            <a:off x="2642480" y="3551037"/>
            <a:ext cx="2151974" cy="466725"/>
          </a:xfrm>
          <a:custGeom>
            <a:avLst/>
            <a:gdLst>
              <a:gd name="T0" fmla="*/ 423 w 430"/>
              <a:gd name="T1" fmla="*/ 38 h 118"/>
              <a:gd name="T2" fmla="*/ 250 w 430"/>
              <a:gd name="T3" fmla="*/ 38 h 118"/>
              <a:gd name="T4" fmla="*/ 233 w 430"/>
              <a:gd name="T5" fmla="*/ 19 h 118"/>
              <a:gd name="T6" fmla="*/ 215 w 430"/>
              <a:gd name="T7" fmla="*/ 0 h 118"/>
              <a:gd name="T8" fmla="*/ 198 w 430"/>
              <a:gd name="T9" fmla="*/ 19 h 118"/>
              <a:gd name="T10" fmla="*/ 181 w 430"/>
              <a:gd name="T11" fmla="*/ 38 h 118"/>
              <a:gd name="T12" fmla="*/ 7 w 430"/>
              <a:gd name="T13" fmla="*/ 38 h 118"/>
              <a:gd name="T14" fmla="*/ 0 w 430"/>
              <a:gd name="T15" fmla="*/ 45 h 118"/>
              <a:gd name="T16" fmla="*/ 0 w 430"/>
              <a:gd name="T17" fmla="*/ 111 h 118"/>
              <a:gd name="T18" fmla="*/ 7 w 430"/>
              <a:gd name="T19" fmla="*/ 118 h 118"/>
              <a:gd name="T20" fmla="*/ 423 w 430"/>
              <a:gd name="T21" fmla="*/ 118 h 118"/>
              <a:gd name="T22" fmla="*/ 430 w 430"/>
              <a:gd name="T23" fmla="*/ 111 h 118"/>
              <a:gd name="T24" fmla="*/ 430 w 430"/>
              <a:gd name="T25" fmla="*/ 45 h 118"/>
              <a:gd name="T26" fmla="*/ 423 w 430"/>
              <a:gd name="T27" fmla="*/ 3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0" h="118" extrusionOk="0">
                <a:moveTo>
                  <a:pt x="423" y="38"/>
                </a:moveTo>
                <a:cubicBezTo>
                  <a:pt x="250" y="38"/>
                  <a:pt x="250" y="38"/>
                  <a:pt x="250" y="38"/>
                </a:cubicBezTo>
                <a:cubicBezTo>
                  <a:pt x="233" y="19"/>
                  <a:pt x="233" y="19"/>
                  <a:pt x="233" y="19"/>
                </a:cubicBezTo>
                <a:cubicBezTo>
                  <a:pt x="215" y="0"/>
                  <a:pt x="215" y="0"/>
                  <a:pt x="215" y="0"/>
                </a:cubicBezTo>
                <a:cubicBezTo>
                  <a:pt x="198" y="19"/>
                  <a:pt x="198" y="19"/>
                  <a:pt x="198" y="19"/>
                </a:cubicBezTo>
                <a:cubicBezTo>
                  <a:pt x="181" y="38"/>
                  <a:pt x="181" y="38"/>
                  <a:pt x="181" y="38"/>
                </a:cubicBezTo>
                <a:cubicBezTo>
                  <a:pt x="7" y="38"/>
                  <a:pt x="7" y="38"/>
                  <a:pt x="7" y="38"/>
                </a:cubicBezTo>
                <a:cubicBezTo>
                  <a:pt x="4" y="38"/>
                  <a:pt x="0" y="41"/>
                  <a:pt x="0" y="45"/>
                </a:cubicBezTo>
                <a:cubicBezTo>
                  <a:pt x="0" y="111"/>
                  <a:pt x="0" y="111"/>
                  <a:pt x="0" y="111"/>
                </a:cubicBezTo>
                <a:cubicBezTo>
                  <a:pt x="0" y="115"/>
                  <a:pt x="4" y="118"/>
                  <a:pt x="7" y="118"/>
                </a:cubicBezTo>
                <a:cubicBezTo>
                  <a:pt x="423" y="118"/>
                  <a:pt x="423" y="118"/>
                  <a:pt x="423" y="118"/>
                </a:cubicBezTo>
                <a:cubicBezTo>
                  <a:pt x="427" y="118"/>
                  <a:pt x="430" y="115"/>
                  <a:pt x="430" y="111"/>
                </a:cubicBezTo>
                <a:cubicBezTo>
                  <a:pt x="430" y="45"/>
                  <a:pt x="430" y="45"/>
                  <a:pt x="430" y="45"/>
                </a:cubicBezTo>
                <a:cubicBezTo>
                  <a:pt x="430" y="41"/>
                  <a:pt x="427" y="38"/>
                  <a:pt x="423" y="38"/>
                </a:cubicBezTo>
                <a:close/>
              </a:path>
            </a:pathLst>
          </a:custGeom>
          <a:solidFill>
            <a:schemeClr val="tx2"/>
          </a:solidFill>
          <a:ln>
            <a:noFill/>
          </a:ln>
        </p:spPr>
        <p:txBody>
          <a:bodyPr lIns="91425" tIns="45700" rIns="91425" bIns="45700"/>
          <a:lstStyle/>
          <a:p>
            <a:endParaRPr lang="en-US" sz="1600"/>
          </a:p>
        </p:txBody>
      </p:sp>
      <p:sp>
        <p:nvSpPr>
          <p:cNvPr id="16" name="Google Shape;867;p29">
            <a:extLst>
              <a:ext uri="{FF2B5EF4-FFF2-40B4-BE49-F238E27FC236}">
                <a16:creationId xmlns:a16="http://schemas.microsoft.com/office/drawing/2014/main" id="{19F425D1-AADE-DA48-AE32-9E603057F3B4}"/>
              </a:ext>
            </a:extLst>
          </p:cNvPr>
          <p:cNvSpPr>
            <a:spLocks/>
          </p:cNvSpPr>
          <p:nvPr/>
        </p:nvSpPr>
        <p:spPr bwMode="auto">
          <a:xfrm>
            <a:off x="9288300" y="3737707"/>
            <a:ext cx="2151974" cy="469900"/>
          </a:xfrm>
          <a:custGeom>
            <a:avLst/>
            <a:gdLst>
              <a:gd name="T0" fmla="*/ 390 w 430"/>
              <a:gd name="T1" fmla="*/ 0 h 119"/>
              <a:gd name="T2" fmla="*/ 7 w 430"/>
              <a:gd name="T3" fmla="*/ 0 h 119"/>
              <a:gd name="T4" fmla="*/ 0 w 430"/>
              <a:gd name="T5" fmla="*/ 7 h 119"/>
              <a:gd name="T6" fmla="*/ 0 w 430"/>
              <a:gd name="T7" fmla="*/ 73 h 119"/>
              <a:gd name="T8" fmla="*/ 7 w 430"/>
              <a:gd name="T9" fmla="*/ 80 h 119"/>
              <a:gd name="T10" fmla="*/ 181 w 430"/>
              <a:gd name="T11" fmla="*/ 80 h 119"/>
              <a:gd name="T12" fmla="*/ 198 w 430"/>
              <a:gd name="T13" fmla="*/ 99 h 119"/>
              <a:gd name="T14" fmla="*/ 215 w 430"/>
              <a:gd name="T15" fmla="*/ 119 h 119"/>
              <a:gd name="T16" fmla="*/ 232 w 430"/>
              <a:gd name="T17" fmla="*/ 99 h 119"/>
              <a:gd name="T18" fmla="*/ 250 w 430"/>
              <a:gd name="T19" fmla="*/ 80 h 119"/>
              <a:gd name="T20" fmla="*/ 390 w 430"/>
              <a:gd name="T21" fmla="*/ 80 h 119"/>
              <a:gd name="T22" fmla="*/ 430 w 430"/>
              <a:gd name="T23" fmla="*/ 40 h 119"/>
              <a:gd name="T24" fmla="*/ 390 w 430"/>
              <a:gd name="T2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0" h="119" extrusionOk="0">
                <a:moveTo>
                  <a:pt x="390" y="0"/>
                </a:moveTo>
                <a:cubicBezTo>
                  <a:pt x="7" y="0"/>
                  <a:pt x="7" y="0"/>
                  <a:pt x="7" y="0"/>
                </a:cubicBezTo>
                <a:cubicBezTo>
                  <a:pt x="3" y="0"/>
                  <a:pt x="0" y="3"/>
                  <a:pt x="0" y="7"/>
                </a:cubicBezTo>
                <a:cubicBezTo>
                  <a:pt x="0" y="73"/>
                  <a:pt x="0" y="73"/>
                  <a:pt x="0" y="73"/>
                </a:cubicBezTo>
                <a:cubicBezTo>
                  <a:pt x="0" y="77"/>
                  <a:pt x="3" y="80"/>
                  <a:pt x="7" y="80"/>
                </a:cubicBezTo>
                <a:cubicBezTo>
                  <a:pt x="181" y="80"/>
                  <a:pt x="181" y="80"/>
                  <a:pt x="181" y="80"/>
                </a:cubicBezTo>
                <a:cubicBezTo>
                  <a:pt x="198" y="99"/>
                  <a:pt x="198" y="99"/>
                  <a:pt x="198" y="99"/>
                </a:cubicBezTo>
                <a:cubicBezTo>
                  <a:pt x="215" y="119"/>
                  <a:pt x="215" y="119"/>
                  <a:pt x="215" y="119"/>
                </a:cubicBezTo>
                <a:cubicBezTo>
                  <a:pt x="232" y="99"/>
                  <a:pt x="232" y="99"/>
                  <a:pt x="232" y="99"/>
                </a:cubicBezTo>
                <a:cubicBezTo>
                  <a:pt x="250" y="80"/>
                  <a:pt x="250" y="80"/>
                  <a:pt x="250" y="80"/>
                </a:cubicBezTo>
                <a:cubicBezTo>
                  <a:pt x="390" y="80"/>
                  <a:pt x="390" y="80"/>
                  <a:pt x="390" y="80"/>
                </a:cubicBezTo>
                <a:cubicBezTo>
                  <a:pt x="412" y="80"/>
                  <a:pt x="430" y="62"/>
                  <a:pt x="430" y="40"/>
                </a:cubicBezTo>
                <a:cubicBezTo>
                  <a:pt x="430" y="18"/>
                  <a:pt x="412" y="0"/>
                  <a:pt x="390" y="0"/>
                </a:cubicBezTo>
                <a:close/>
              </a:path>
            </a:pathLst>
          </a:custGeom>
          <a:solidFill>
            <a:schemeClr val="tx2"/>
          </a:solidFill>
          <a:ln>
            <a:noFill/>
          </a:ln>
        </p:spPr>
        <p:txBody>
          <a:bodyPr lIns="91425" tIns="45700" rIns="91425" bIns="45700"/>
          <a:lstStyle/>
          <a:p>
            <a:endParaRPr lang="en-US" sz="1600"/>
          </a:p>
        </p:txBody>
      </p:sp>
      <p:sp>
        <p:nvSpPr>
          <p:cNvPr id="17" name="Google Shape;868;p29">
            <a:extLst>
              <a:ext uri="{FF2B5EF4-FFF2-40B4-BE49-F238E27FC236}">
                <a16:creationId xmlns:a16="http://schemas.microsoft.com/office/drawing/2014/main" id="{56056955-4F98-864A-A7A1-C6BFF25878D9}"/>
              </a:ext>
            </a:extLst>
          </p:cNvPr>
          <p:cNvSpPr>
            <a:spLocks/>
          </p:cNvSpPr>
          <p:nvPr/>
        </p:nvSpPr>
        <p:spPr bwMode="auto">
          <a:xfrm>
            <a:off x="4857032" y="3737707"/>
            <a:ext cx="2151974" cy="469900"/>
          </a:xfrm>
          <a:custGeom>
            <a:avLst/>
            <a:gdLst>
              <a:gd name="T0" fmla="*/ 423 w 430"/>
              <a:gd name="T1" fmla="*/ 0 h 119"/>
              <a:gd name="T2" fmla="*/ 7 w 430"/>
              <a:gd name="T3" fmla="*/ 0 h 119"/>
              <a:gd name="T4" fmla="*/ 0 w 430"/>
              <a:gd name="T5" fmla="*/ 7 h 119"/>
              <a:gd name="T6" fmla="*/ 0 w 430"/>
              <a:gd name="T7" fmla="*/ 73 h 119"/>
              <a:gd name="T8" fmla="*/ 7 w 430"/>
              <a:gd name="T9" fmla="*/ 80 h 119"/>
              <a:gd name="T10" fmla="*/ 180 w 430"/>
              <a:gd name="T11" fmla="*/ 80 h 119"/>
              <a:gd name="T12" fmla="*/ 197 w 430"/>
              <a:gd name="T13" fmla="*/ 99 h 119"/>
              <a:gd name="T14" fmla="*/ 215 w 430"/>
              <a:gd name="T15" fmla="*/ 119 h 119"/>
              <a:gd name="T16" fmla="*/ 232 w 430"/>
              <a:gd name="T17" fmla="*/ 99 h 119"/>
              <a:gd name="T18" fmla="*/ 249 w 430"/>
              <a:gd name="T19" fmla="*/ 80 h 119"/>
              <a:gd name="T20" fmla="*/ 423 w 430"/>
              <a:gd name="T21" fmla="*/ 80 h 119"/>
              <a:gd name="T22" fmla="*/ 430 w 430"/>
              <a:gd name="T23" fmla="*/ 73 h 119"/>
              <a:gd name="T24" fmla="*/ 430 w 430"/>
              <a:gd name="T25" fmla="*/ 7 h 119"/>
              <a:gd name="T26" fmla="*/ 423 w 430"/>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0" h="119" extrusionOk="0">
                <a:moveTo>
                  <a:pt x="423" y="0"/>
                </a:moveTo>
                <a:cubicBezTo>
                  <a:pt x="7" y="0"/>
                  <a:pt x="7" y="0"/>
                  <a:pt x="7" y="0"/>
                </a:cubicBezTo>
                <a:cubicBezTo>
                  <a:pt x="3" y="0"/>
                  <a:pt x="0" y="3"/>
                  <a:pt x="0" y="7"/>
                </a:cubicBezTo>
                <a:cubicBezTo>
                  <a:pt x="0" y="73"/>
                  <a:pt x="0" y="73"/>
                  <a:pt x="0" y="73"/>
                </a:cubicBezTo>
                <a:cubicBezTo>
                  <a:pt x="0" y="77"/>
                  <a:pt x="3" y="80"/>
                  <a:pt x="7" y="80"/>
                </a:cubicBezTo>
                <a:cubicBezTo>
                  <a:pt x="180" y="80"/>
                  <a:pt x="180" y="80"/>
                  <a:pt x="180" y="80"/>
                </a:cubicBezTo>
                <a:cubicBezTo>
                  <a:pt x="197" y="99"/>
                  <a:pt x="197" y="99"/>
                  <a:pt x="197" y="99"/>
                </a:cubicBezTo>
                <a:cubicBezTo>
                  <a:pt x="215" y="119"/>
                  <a:pt x="215" y="119"/>
                  <a:pt x="215" y="119"/>
                </a:cubicBezTo>
                <a:cubicBezTo>
                  <a:pt x="232" y="99"/>
                  <a:pt x="232" y="99"/>
                  <a:pt x="232" y="99"/>
                </a:cubicBezTo>
                <a:cubicBezTo>
                  <a:pt x="249" y="80"/>
                  <a:pt x="249" y="80"/>
                  <a:pt x="249" y="80"/>
                </a:cubicBezTo>
                <a:cubicBezTo>
                  <a:pt x="423" y="80"/>
                  <a:pt x="423" y="80"/>
                  <a:pt x="423" y="80"/>
                </a:cubicBezTo>
                <a:cubicBezTo>
                  <a:pt x="426" y="80"/>
                  <a:pt x="430" y="77"/>
                  <a:pt x="430" y="73"/>
                </a:cubicBezTo>
                <a:cubicBezTo>
                  <a:pt x="430" y="7"/>
                  <a:pt x="430" y="7"/>
                  <a:pt x="430" y="7"/>
                </a:cubicBezTo>
                <a:cubicBezTo>
                  <a:pt x="430" y="3"/>
                  <a:pt x="426" y="0"/>
                  <a:pt x="423" y="0"/>
                </a:cubicBezTo>
                <a:close/>
              </a:path>
            </a:pathLst>
          </a:custGeom>
          <a:solidFill>
            <a:schemeClr val="tx2"/>
          </a:solidFill>
          <a:ln>
            <a:noFill/>
          </a:ln>
        </p:spPr>
        <p:txBody>
          <a:bodyPr lIns="91425" tIns="45700" rIns="91425" bIns="45700"/>
          <a:lstStyle/>
          <a:p>
            <a:endParaRPr lang="en-US" sz="1600"/>
          </a:p>
        </p:txBody>
      </p:sp>
      <p:sp>
        <p:nvSpPr>
          <p:cNvPr id="18" name="Google Shape;869;p29">
            <a:extLst>
              <a:ext uri="{FF2B5EF4-FFF2-40B4-BE49-F238E27FC236}">
                <a16:creationId xmlns:a16="http://schemas.microsoft.com/office/drawing/2014/main" id="{0FB6BA76-AB53-3B4E-BD69-5546BD36956B}"/>
              </a:ext>
            </a:extLst>
          </p:cNvPr>
          <p:cNvSpPr>
            <a:spLocks/>
          </p:cNvSpPr>
          <p:nvPr/>
        </p:nvSpPr>
        <p:spPr bwMode="auto">
          <a:xfrm>
            <a:off x="7061426" y="3737707"/>
            <a:ext cx="2153986" cy="469900"/>
          </a:xfrm>
          <a:custGeom>
            <a:avLst/>
            <a:gdLst>
              <a:gd name="T0" fmla="*/ 423 w 430"/>
              <a:gd name="T1" fmla="*/ 0 h 119"/>
              <a:gd name="T2" fmla="*/ 7 w 430"/>
              <a:gd name="T3" fmla="*/ 0 h 119"/>
              <a:gd name="T4" fmla="*/ 0 w 430"/>
              <a:gd name="T5" fmla="*/ 7 h 119"/>
              <a:gd name="T6" fmla="*/ 0 w 430"/>
              <a:gd name="T7" fmla="*/ 73 h 119"/>
              <a:gd name="T8" fmla="*/ 7 w 430"/>
              <a:gd name="T9" fmla="*/ 80 h 119"/>
              <a:gd name="T10" fmla="*/ 181 w 430"/>
              <a:gd name="T11" fmla="*/ 80 h 119"/>
              <a:gd name="T12" fmla="*/ 198 w 430"/>
              <a:gd name="T13" fmla="*/ 99 h 119"/>
              <a:gd name="T14" fmla="*/ 215 w 430"/>
              <a:gd name="T15" fmla="*/ 119 h 119"/>
              <a:gd name="T16" fmla="*/ 232 w 430"/>
              <a:gd name="T17" fmla="*/ 99 h 119"/>
              <a:gd name="T18" fmla="*/ 250 w 430"/>
              <a:gd name="T19" fmla="*/ 80 h 119"/>
              <a:gd name="T20" fmla="*/ 423 w 430"/>
              <a:gd name="T21" fmla="*/ 80 h 119"/>
              <a:gd name="T22" fmla="*/ 430 w 430"/>
              <a:gd name="T23" fmla="*/ 73 h 119"/>
              <a:gd name="T24" fmla="*/ 430 w 430"/>
              <a:gd name="T25" fmla="*/ 7 h 119"/>
              <a:gd name="T26" fmla="*/ 423 w 430"/>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0" h="119" extrusionOk="0">
                <a:moveTo>
                  <a:pt x="423" y="0"/>
                </a:moveTo>
                <a:cubicBezTo>
                  <a:pt x="7" y="0"/>
                  <a:pt x="7" y="0"/>
                  <a:pt x="7" y="0"/>
                </a:cubicBezTo>
                <a:cubicBezTo>
                  <a:pt x="3" y="0"/>
                  <a:pt x="0" y="3"/>
                  <a:pt x="0" y="7"/>
                </a:cubicBezTo>
                <a:cubicBezTo>
                  <a:pt x="0" y="73"/>
                  <a:pt x="0" y="73"/>
                  <a:pt x="0" y="73"/>
                </a:cubicBezTo>
                <a:cubicBezTo>
                  <a:pt x="0" y="77"/>
                  <a:pt x="3" y="80"/>
                  <a:pt x="7" y="80"/>
                </a:cubicBezTo>
                <a:cubicBezTo>
                  <a:pt x="181" y="80"/>
                  <a:pt x="181" y="80"/>
                  <a:pt x="181" y="80"/>
                </a:cubicBezTo>
                <a:cubicBezTo>
                  <a:pt x="198" y="99"/>
                  <a:pt x="198" y="99"/>
                  <a:pt x="198" y="99"/>
                </a:cubicBezTo>
                <a:cubicBezTo>
                  <a:pt x="215" y="119"/>
                  <a:pt x="215" y="119"/>
                  <a:pt x="215" y="119"/>
                </a:cubicBezTo>
                <a:cubicBezTo>
                  <a:pt x="232" y="99"/>
                  <a:pt x="232" y="99"/>
                  <a:pt x="232" y="99"/>
                </a:cubicBezTo>
                <a:cubicBezTo>
                  <a:pt x="250" y="80"/>
                  <a:pt x="250" y="80"/>
                  <a:pt x="250" y="80"/>
                </a:cubicBezTo>
                <a:cubicBezTo>
                  <a:pt x="423" y="80"/>
                  <a:pt x="423" y="80"/>
                  <a:pt x="423" y="80"/>
                </a:cubicBezTo>
                <a:cubicBezTo>
                  <a:pt x="427" y="80"/>
                  <a:pt x="430" y="77"/>
                  <a:pt x="430" y="73"/>
                </a:cubicBezTo>
                <a:cubicBezTo>
                  <a:pt x="430" y="7"/>
                  <a:pt x="430" y="7"/>
                  <a:pt x="430" y="7"/>
                </a:cubicBezTo>
                <a:cubicBezTo>
                  <a:pt x="430" y="3"/>
                  <a:pt x="427" y="0"/>
                  <a:pt x="423" y="0"/>
                </a:cubicBezTo>
                <a:close/>
              </a:path>
            </a:pathLst>
          </a:custGeom>
          <a:solidFill>
            <a:schemeClr val="tx2"/>
          </a:solidFill>
          <a:ln>
            <a:noFill/>
          </a:ln>
        </p:spPr>
        <p:txBody>
          <a:bodyPr lIns="91425" tIns="45700" rIns="91425" bIns="45700"/>
          <a:lstStyle/>
          <a:p>
            <a:endParaRPr lang="en-US" sz="1600"/>
          </a:p>
        </p:txBody>
      </p:sp>
      <p:sp>
        <p:nvSpPr>
          <p:cNvPr id="19" name="Google Shape;864;p29">
            <a:extLst>
              <a:ext uri="{FF2B5EF4-FFF2-40B4-BE49-F238E27FC236}">
                <a16:creationId xmlns:a16="http://schemas.microsoft.com/office/drawing/2014/main" id="{CEC379BE-53BF-E246-99B5-C3CA066EA60D}"/>
              </a:ext>
            </a:extLst>
          </p:cNvPr>
          <p:cNvSpPr>
            <a:spLocks/>
          </p:cNvSpPr>
          <p:nvPr/>
        </p:nvSpPr>
        <p:spPr bwMode="auto">
          <a:xfrm flipV="1">
            <a:off x="418449" y="3739295"/>
            <a:ext cx="2151974" cy="466725"/>
          </a:xfrm>
          <a:custGeom>
            <a:avLst/>
            <a:gdLst>
              <a:gd name="T0" fmla="*/ 423 w 430"/>
              <a:gd name="T1" fmla="*/ 38 h 118"/>
              <a:gd name="T2" fmla="*/ 249 w 430"/>
              <a:gd name="T3" fmla="*/ 38 h 118"/>
              <a:gd name="T4" fmla="*/ 232 w 430"/>
              <a:gd name="T5" fmla="*/ 19 h 118"/>
              <a:gd name="T6" fmla="*/ 215 w 430"/>
              <a:gd name="T7" fmla="*/ 0 h 118"/>
              <a:gd name="T8" fmla="*/ 198 w 430"/>
              <a:gd name="T9" fmla="*/ 19 h 118"/>
              <a:gd name="T10" fmla="*/ 180 w 430"/>
              <a:gd name="T11" fmla="*/ 38 h 118"/>
              <a:gd name="T12" fmla="*/ 40 w 430"/>
              <a:gd name="T13" fmla="*/ 38 h 118"/>
              <a:gd name="T14" fmla="*/ 0 w 430"/>
              <a:gd name="T15" fmla="*/ 78 h 118"/>
              <a:gd name="T16" fmla="*/ 40 w 430"/>
              <a:gd name="T17" fmla="*/ 118 h 118"/>
              <a:gd name="T18" fmla="*/ 423 w 430"/>
              <a:gd name="T19" fmla="*/ 118 h 118"/>
              <a:gd name="T20" fmla="*/ 430 w 430"/>
              <a:gd name="T21" fmla="*/ 111 h 118"/>
              <a:gd name="T22" fmla="*/ 430 w 430"/>
              <a:gd name="T23" fmla="*/ 45 h 118"/>
              <a:gd name="T24" fmla="*/ 423 w 430"/>
              <a:gd name="T25" fmla="*/ 3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0" h="118" extrusionOk="0">
                <a:moveTo>
                  <a:pt x="423" y="38"/>
                </a:moveTo>
                <a:cubicBezTo>
                  <a:pt x="249" y="38"/>
                  <a:pt x="249" y="38"/>
                  <a:pt x="249" y="38"/>
                </a:cubicBezTo>
                <a:cubicBezTo>
                  <a:pt x="232" y="19"/>
                  <a:pt x="232" y="19"/>
                  <a:pt x="232" y="19"/>
                </a:cubicBezTo>
                <a:cubicBezTo>
                  <a:pt x="215" y="0"/>
                  <a:pt x="215" y="0"/>
                  <a:pt x="215" y="0"/>
                </a:cubicBezTo>
                <a:cubicBezTo>
                  <a:pt x="198" y="19"/>
                  <a:pt x="198" y="19"/>
                  <a:pt x="198" y="19"/>
                </a:cubicBezTo>
                <a:cubicBezTo>
                  <a:pt x="180" y="38"/>
                  <a:pt x="180" y="38"/>
                  <a:pt x="180" y="38"/>
                </a:cubicBezTo>
                <a:cubicBezTo>
                  <a:pt x="40" y="38"/>
                  <a:pt x="40" y="38"/>
                  <a:pt x="40" y="38"/>
                </a:cubicBezTo>
                <a:cubicBezTo>
                  <a:pt x="18" y="38"/>
                  <a:pt x="0" y="56"/>
                  <a:pt x="0" y="78"/>
                </a:cubicBezTo>
                <a:cubicBezTo>
                  <a:pt x="0" y="100"/>
                  <a:pt x="18" y="118"/>
                  <a:pt x="40" y="118"/>
                </a:cubicBezTo>
                <a:cubicBezTo>
                  <a:pt x="423" y="118"/>
                  <a:pt x="423" y="118"/>
                  <a:pt x="423" y="118"/>
                </a:cubicBezTo>
                <a:cubicBezTo>
                  <a:pt x="427" y="118"/>
                  <a:pt x="430" y="115"/>
                  <a:pt x="430" y="111"/>
                </a:cubicBezTo>
                <a:cubicBezTo>
                  <a:pt x="430" y="45"/>
                  <a:pt x="430" y="45"/>
                  <a:pt x="430" y="45"/>
                </a:cubicBezTo>
                <a:cubicBezTo>
                  <a:pt x="430" y="41"/>
                  <a:pt x="427" y="38"/>
                  <a:pt x="423" y="38"/>
                </a:cubicBezTo>
                <a:close/>
              </a:path>
            </a:pathLst>
          </a:custGeom>
          <a:solidFill>
            <a:schemeClr val="tx2"/>
          </a:solidFill>
          <a:ln>
            <a:noFill/>
          </a:ln>
        </p:spPr>
        <p:txBody>
          <a:bodyPr lIns="91425" tIns="45700" rIns="91425" bIns="45700"/>
          <a:lstStyle/>
          <a:p>
            <a:endParaRPr lang="en-US" sz="1600"/>
          </a:p>
        </p:txBody>
      </p:sp>
      <p:sp>
        <p:nvSpPr>
          <p:cNvPr id="20" name="Google Shape;865;p29">
            <a:extLst>
              <a:ext uri="{FF2B5EF4-FFF2-40B4-BE49-F238E27FC236}">
                <a16:creationId xmlns:a16="http://schemas.microsoft.com/office/drawing/2014/main" id="{72304C23-BC40-CC4D-BB33-812AC1062E9F}"/>
              </a:ext>
            </a:extLst>
          </p:cNvPr>
          <p:cNvSpPr>
            <a:spLocks/>
          </p:cNvSpPr>
          <p:nvPr/>
        </p:nvSpPr>
        <p:spPr bwMode="auto">
          <a:xfrm flipV="1">
            <a:off x="2647710" y="3739295"/>
            <a:ext cx="2151974" cy="466725"/>
          </a:xfrm>
          <a:custGeom>
            <a:avLst/>
            <a:gdLst>
              <a:gd name="T0" fmla="*/ 423 w 430"/>
              <a:gd name="T1" fmla="*/ 38 h 118"/>
              <a:gd name="T2" fmla="*/ 250 w 430"/>
              <a:gd name="T3" fmla="*/ 38 h 118"/>
              <a:gd name="T4" fmla="*/ 233 w 430"/>
              <a:gd name="T5" fmla="*/ 19 h 118"/>
              <a:gd name="T6" fmla="*/ 215 w 430"/>
              <a:gd name="T7" fmla="*/ 0 h 118"/>
              <a:gd name="T8" fmla="*/ 198 w 430"/>
              <a:gd name="T9" fmla="*/ 19 h 118"/>
              <a:gd name="T10" fmla="*/ 181 w 430"/>
              <a:gd name="T11" fmla="*/ 38 h 118"/>
              <a:gd name="T12" fmla="*/ 7 w 430"/>
              <a:gd name="T13" fmla="*/ 38 h 118"/>
              <a:gd name="T14" fmla="*/ 0 w 430"/>
              <a:gd name="T15" fmla="*/ 45 h 118"/>
              <a:gd name="T16" fmla="*/ 0 w 430"/>
              <a:gd name="T17" fmla="*/ 111 h 118"/>
              <a:gd name="T18" fmla="*/ 7 w 430"/>
              <a:gd name="T19" fmla="*/ 118 h 118"/>
              <a:gd name="T20" fmla="*/ 423 w 430"/>
              <a:gd name="T21" fmla="*/ 118 h 118"/>
              <a:gd name="T22" fmla="*/ 430 w 430"/>
              <a:gd name="T23" fmla="*/ 111 h 118"/>
              <a:gd name="T24" fmla="*/ 430 w 430"/>
              <a:gd name="T25" fmla="*/ 45 h 118"/>
              <a:gd name="T26" fmla="*/ 423 w 430"/>
              <a:gd name="T27" fmla="*/ 3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0" h="118" extrusionOk="0">
                <a:moveTo>
                  <a:pt x="423" y="38"/>
                </a:moveTo>
                <a:cubicBezTo>
                  <a:pt x="250" y="38"/>
                  <a:pt x="250" y="38"/>
                  <a:pt x="250" y="38"/>
                </a:cubicBezTo>
                <a:cubicBezTo>
                  <a:pt x="233" y="19"/>
                  <a:pt x="233" y="19"/>
                  <a:pt x="233" y="19"/>
                </a:cubicBezTo>
                <a:cubicBezTo>
                  <a:pt x="215" y="0"/>
                  <a:pt x="215" y="0"/>
                  <a:pt x="215" y="0"/>
                </a:cubicBezTo>
                <a:cubicBezTo>
                  <a:pt x="198" y="19"/>
                  <a:pt x="198" y="19"/>
                  <a:pt x="198" y="19"/>
                </a:cubicBezTo>
                <a:cubicBezTo>
                  <a:pt x="181" y="38"/>
                  <a:pt x="181" y="38"/>
                  <a:pt x="181" y="38"/>
                </a:cubicBezTo>
                <a:cubicBezTo>
                  <a:pt x="7" y="38"/>
                  <a:pt x="7" y="38"/>
                  <a:pt x="7" y="38"/>
                </a:cubicBezTo>
                <a:cubicBezTo>
                  <a:pt x="4" y="38"/>
                  <a:pt x="0" y="41"/>
                  <a:pt x="0" y="45"/>
                </a:cubicBezTo>
                <a:cubicBezTo>
                  <a:pt x="0" y="111"/>
                  <a:pt x="0" y="111"/>
                  <a:pt x="0" y="111"/>
                </a:cubicBezTo>
                <a:cubicBezTo>
                  <a:pt x="0" y="115"/>
                  <a:pt x="4" y="118"/>
                  <a:pt x="7" y="118"/>
                </a:cubicBezTo>
                <a:cubicBezTo>
                  <a:pt x="423" y="118"/>
                  <a:pt x="423" y="118"/>
                  <a:pt x="423" y="118"/>
                </a:cubicBezTo>
                <a:cubicBezTo>
                  <a:pt x="427" y="118"/>
                  <a:pt x="430" y="115"/>
                  <a:pt x="430" y="111"/>
                </a:cubicBezTo>
                <a:cubicBezTo>
                  <a:pt x="430" y="45"/>
                  <a:pt x="430" y="45"/>
                  <a:pt x="430" y="45"/>
                </a:cubicBezTo>
                <a:cubicBezTo>
                  <a:pt x="430" y="41"/>
                  <a:pt x="427" y="38"/>
                  <a:pt x="423" y="38"/>
                </a:cubicBezTo>
                <a:close/>
              </a:path>
            </a:pathLst>
          </a:custGeom>
          <a:solidFill>
            <a:schemeClr val="tx2"/>
          </a:solidFill>
          <a:ln>
            <a:noFill/>
          </a:ln>
        </p:spPr>
        <p:txBody>
          <a:bodyPr lIns="91425" tIns="45700" rIns="91425" bIns="45700"/>
          <a:lstStyle/>
          <a:p>
            <a:endParaRPr lang="en-US" sz="1600"/>
          </a:p>
        </p:txBody>
      </p:sp>
      <p:sp>
        <p:nvSpPr>
          <p:cNvPr id="21" name="Google Shape;867;p29">
            <a:extLst>
              <a:ext uri="{FF2B5EF4-FFF2-40B4-BE49-F238E27FC236}">
                <a16:creationId xmlns:a16="http://schemas.microsoft.com/office/drawing/2014/main" id="{ED2A1AB4-5A10-8748-987D-B4539637D8A4}"/>
              </a:ext>
            </a:extLst>
          </p:cNvPr>
          <p:cNvSpPr>
            <a:spLocks/>
          </p:cNvSpPr>
          <p:nvPr/>
        </p:nvSpPr>
        <p:spPr bwMode="auto">
          <a:xfrm flipV="1">
            <a:off x="9288299" y="3549449"/>
            <a:ext cx="2151974" cy="469900"/>
          </a:xfrm>
          <a:custGeom>
            <a:avLst/>
            <a:gdLst>
              <a:gd name="T0" fmla="*/ 390 w 430"/>
              <a:gd name="T1" fmla="*/ 0 h 119"/>
              <a:gd name="T2" fmla="*/ 7 w 430"/>
              <a:gd name="T3" fmla="*/ 0 h 119"/>
              <a:gd name="T4" fmla="*/ 0 w 430"/>
              <a:gd name="T5" fmla="*/ 7 h 119"/>
              <a:gd name="T6" fmla="*/ 0 w 430"/>
              <a:gd name="T7" fmla="*/ 73 h 119"/>
              <a:gd name="T8" fmla="*/ 7 w 430"/>
              <a:gd name="T9" fmla="*/ 80 h 119"/>
              <a:gd name="T10" fmla="*/ 181 w 430"/>
              <a:gd name="T11" fmla="*/ 80 h 119"/>
              <a:gd name="T12" fmla="*/ 198 w 430"/>
              <a:gd name="T13" fmla="*/ 99 h 119"/>
              <a:gd name="T14" fmla="*/ 215 w 430"/>
              <a:gd name="T15" fmla="*/ 119 h 119"/>
              <a:gd name="T16" fmla="*/ 232 w 430"/>
              <a:gd name="T17" fmla="*/ 99 h 119"/>
              <a:gd name="T18" fmla="*/ 250 w 430"/>
              <a:gd name="T19" fmla="*/ 80 h 119"/>
              <a:gd name="T20" fmla="*/ 390 w 430"/>
              <a:gd name="T21" fmla="*/ 80 h 119"/>
              <a:gd name="T22" fmla="*/ 430 w 430"/>
              <a:gd name="T23" fmla="*/ 40 h 119"/>
              <a:gd name="T24" fmla="*/ 390 w 430"/>
              <a:gd name="T2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0" h="119" extrusionOk="0">
                <a:moveTo>
                  <a:pt x="390" y="0"/>
                </a:moveTo>
                <a:cubicBezTo>
                  <a:pt x="7" y="0"/>
                  <a:pt x="7" y="0"/>
                  <a:pt x="7" y="0"/>
                </a:cubicBezTo>
                <a:cubicBezTo>
                  <a:pt x="3" y="0"/>
                  <a:pt x="0" y="3"/>
                  <a:pt x="0" y="7"/>
                </a:cubicBezTo>
                <a:cubicBezTo>
                  <a:pt x="0" y="73"/>
                  <a:pt x="0" y="73"/>
                  <a:pt x="0" y="73"/>
                </a:cubicBezTo>
                <a:cubicBezTo>
                  <a:pt x="0" y="77"/>
                  <a:pt x="3" y="80"/>
                  <a:pt x="7" y="80"/>
                </a:cubicBezTo>
                <a:cubicBezTo>
                  <a:pt x="181" y="80"/>
                  <a:pt x="181" y="80"/>
                  <a:pt x="181" y="80"/>
                </a:cubicBezTo>
                <a:cubicBezTo>
                  <a:pt x="198" y="99"/>
                  <a:pt x="198" y="99"/>
                  <a:pt x="198" y="99"/>
                </a:cubicBezTo>
                <a:cubicBezTo>
                  <a:pt x="215" y="119"/>
                  <a:pt x="215" y="119"/>
                  <a:pt x="215" y="119"/>
                </a:cubicBezTo>
                <a:cubicBezTo>
                  <a:pt x="232" y="99"/>
                  <a:pt x="232" y="99"/>
                  <a:pt x="232" y="99"/>
                </a:cubicBezTo>
                <a:cubicBezTo>
                  <a:pt x="250" y="80"/>
                  <a:pt x="250" y="80"/>
                  <a:pt x="250" y="80"/>
                </a:cubicBezTo>
                <a:cubicBezTo>
                  <a:pt x="390" y="80"/>
                  <a:pt x="390" y="80"/>
                  <a:pt x="390" y="80"/>
                </a:cubicBezTo>
                <a:cubicBezTo>
                  <a:pt x="412" y="80"/>
                  <a:pt x="430" y="62"/>
                  <a:pt x="430" y="40"/>
                </a:cubicBezTo>
                <a:cubicBezTo>
                  <a:pt x="430" y="18"/>
                  <a:pt x="412" y="0"/>
                  <a:pt x="390" y="0"/>
                </a:cubicBezTo>
                <a:close/>
              </a:path>
            </a:pathLst>
          </a:custGeom>
          <a:solidFill>
            <a:schemeClr val="tx2"/>
          </a:solidFill>
          <a:ln>
            <a:noFill/>
          </a:ln>
        </p:spPr>
        <p:txBody>
          <a:bodyPr lIns="91425" tIns="45700" rIns="91425" bIns="45700"/>
          <a:lstStyle/>
          <a:p>
            <a:endParaRPr lang="en-US" sz="1600"/>
          </a:p>
        </p:txBody>
      </p:sp>
      <p:sp>
        <p:nvSpPr>
          <p:cNvPr id="22" name="Google Shape;868;p29">
            <a:extLst>
              <a:ext uri="{FF2B5EF4-FFF2-40B4-BE49-F238E27FC236}">
                <a16:creationId xmlns:a16="http://schemas.microsoft.com/office/drawing/2014/main" id="{3848375F-A72A-7445-B4EA-1C1C6FDD0FBE}"/>
              </a:ext>
            </a:extLst>
          </p:cNvPr>
          <p:cNvSpPr>
            <a:spLocks/>
          </p:cNvSpPr>
          <p:nvPr/>
        </p:nvSpPr>
        <p:spPr bwMode="auto">
          <a:xfrm flipV="1">
            <a:off x="4862262" y="3549449"/>
            <a:ext cx="2151974" cy="469900"/>
          </a:xfrm>
          <a:custGeom>
            <a:avLst/>
            <a:gdLst>
              <a:gd name="T0" fmla="*/ 423 w 430"/>
              <a:gd name="T1" fmla="*/ 0 h 119"/>
              <a:gd name="T2" fmla="*/ 7 w 430"/>
              <a:gd name="T3" fmla="*/ 0 h 119"/>
              <a:gd name="T4" fmla="*/ 0 w 430"/>
              <a:gd name="T5" fmla="*/ 7 h 119"/>
              <a:gd name="T6" fmla="*/ 0 w 430"/>
              <a:gd name="T7" fmla="*/ 73 h 119"/>
              <a:gd name="T8" fmla="*/ 7 w 430"/>
              <a:gd name="T9" fmla="*/ 80 h 119"/>
              <a:gd name="T10" fmla="*/ 180 w 430"/>
              <a:gd name="T11" fmla="*/ 80 h 119"/>
              <a:gd name="T12" fmla="*/ 197 w 430"/>
              <a:gd name="T13" fmla="*/ 99 h 119"/>
              <a:gd name="T14" fmla="*/ 215 w 430"/>
              <a:gd name="T15" fmla="*/ 119 h 119"/>
              <a:gd name="T16" fmla="*/ 232 w 430"/>
              <a:gd name="T17" fmla="*/ 99 h 119"/>
              <a:gd name="T18" fmla="*/ 249 w 430"/>
              <a:gd name="T19" fmla="*/ 80 h 119"/>
              <a:gd name="T20" fmla="*/ 423 w 430"/>
              <a:gd name="T21" fmla="*/ 80 h 119"/>
              <a:gd name="T22" fmla="*/ 430 w 430"/>
              <a:gd name="T23" fmla="*/ 73 h 119"/>
              <a:gd name="T24" fmla="*/ 430 w 430"/>
              <a:gd name="T25" fmla="*/ 7 h 119"/>
              <a:gd name="T26" fmla="*/ 423 w 430"/>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0" h="119" extrusionOk="0">
                <a:moveTo>
                  <a:pt x="423" y="0"/>
                </a:moveTo>
                <a:cubicBezTo>
                  <a:pt x="7" y="0"/>
                  <a:pt x="7" y="0"/>
                  <a:pt x="7" y="0"/>
                </a:cubicBezTo>
                <a:cubicBezTo>
                  <a:pt x="3" y="0"/>
                  <a:pt x="0" y="3"/>
                  <a:pt x="0" y="7"/>
                </a:cubicBezTo>
                <a:cubicBezTo>
                  <a:pt x="0" y="73"/>
                  <a:pt x="0" y="73"/>
                  <a:pt x="0" y="73"/>
                </a:cubicBezTo>
                <a:cubicBezTo>
                  <a:pt x="0" y="77"/>
                  <a:pt x="3" y="80"/>
                  <a:pt x="7" y="80"/>
                </a:cubicBezTo>
                <a:cubicBezTo>
                  <a:pt x="180" y="80"/>
                  <a:pt x="180" y="80"/>
                  <a:pt x="180" y="80"/>
                </a:cubicBezTo>
                <a:cubicBezTo>
                  <a:pt x="197" y="99"/>
                  <a:pt x="197" y="99"/>
                  <a:pt x="197" y="99"/>
                </a:cubicBezTo>
                <a:cubicBezTo>
                  <a:pt x="215" y="119"/>
                  <a:pt x="215" y="119"/>
                  <a:pt x="215" y="119"/>
                </a:cubicBezTo>
                <a:cubicBezTo>
                  <a:pt x="232" y="99"/>
                  <a:pt x="232" y="99"/>
                  <a:pt x="232" y="99"/>
                </a:cubicBezTo>
                <a:cubicBezTo>
                  <a:pt x="249" y="80"/>
                  <a:pt x="249" y="80"/>
                  <a:pt x="249" y="80"/>
                </a:cubicBezTo>
                <a:cubicBezTo>
                  <a:pt x="423" y="80"/>
                  <a:pt x="423" y="80"/>
                  <a:pt x="423" y="80"/>
                </a:cubicBezTo>
                <a:cubicBezTo>
                  <a:pt x="426" y="80"/>
                  <a:pt x="430" y="77"/>
                  <a:pt x="430" y="73"/>
                </a:cubicBezTo>
                <a:cubicBezTo>
                  <a:pt x="430" y="7"/>
                  <a:pt x="430" y="7"/>
                  <a:pt x="430" y="7"/>
                </a:cubicBezTo>
                <a:cubicBezTo>
                  <a:pt x="430" y="3"/>
                  <a:pt x="426" y="0"/>
                  <a:pt x="423" y="0"/>
                </a:cubicBezTo>
                <a:close/>
              </a:path>
            </a:pathLst>
          </a:custGeom>
          <a:solidFill>
            <a:schemeClr val="tx2"/>
          </a:solidFill>
          <a:ln>
            <a:noFill/>
          </a:ln>
        </p:spPr>
        <p:txBody>
          <a:bodyPr lIns="91425" tIns="45700" rIns="91425" bIns="45700"/>
          <a:lstStyle/>
          <a:p>
            <a:endParaRPr lang="en-US" sz="1600"/>
          </a:p>
        </p:txBody>
      </p:sp>
      <p:sp>
        <p:nvSpPr>
          <p:cNvPr id="23" name="Google Shape;869;p29">
            <a:extLst>
              <a:ext uri="{FF2B5EF4-FFF2-40B4-BE49-F238E27FC236}">
                <a16:creationId xmlns:a16="http://schemas.microsoft.com/office/drawing/2014/main" id="{47194741-C063-C246-A952-F8173030DD8F}"/>
              </a:ext>
            </a:extLst>
          </p:cNvPr>
          <p:cNvSpPr>
            <a:spLocks/>
          </p:cNvSpPr>
          <p:nvPr/>
        </p:nvSpPr>
        <p:spPr bwMode="auto">
          <a:xfrm flipV="1">
            <a:off x="7055935" y="3549449"/>
            <a:ext cx="2153986" cy="469900"/>
          </a:xfrm>
          <a:custGeom>
            <a:avLst/>
            <a:gdLst>
              <a:gd name="T0" fmla="*/ 423 w 430"/>
              <a:gd name="T1" fmla="*/ 0 h 119"/>
              <a:gd name="T2" fmla="*/ 7 w 430"/>
              <a:gd name="T3" fmla="*/ 0 h 119"/>
              <a:gd name="T4" fmla="*/ 0 w 430"/>
              <a:gd name="T5" fmla="*/ 7 h 119"/>
              <a:gd name="T6" fmla="*/ 0 w 430"/>
              <a:gd name="T7" fmla="*/ 73 h 119"/>
              <a:gd name="T8" fmla="*/ 7 w 430"/>
              <a:gd name="T9" fmla="*/ 80 h 119"/>
              <a:gd name="T10" fmla="*/ 181 w 430"/>
              <a:gd name="T11" fmla="*/ 80 h 119"/>
              <a:gd name="T12" fmla="*/ 198 w 430"/>
              <a:gd name="T13" fmla="*/ 99 h 119"/>
              <a:gd name="T14" fmla="*/ 215 w 430"/>
              <a:gd name="T15" fmla="*/ 119 h 119"/>
              <a:gd name="T16" fmla="*/ 232 w 430"/>
              <a:gd name="T17" fmla="*/ 99 h 119"/>
              <a:gd name="T18" fmla="*/ 250 w 430"/>
              <a:gd name="T19" fmla="*/ 80 h 119"/>
              <a:gd name="T20" fmla="*/ 423 w 430"/>
              <a:gd name="T21" fmla="*/ 80 h 119"/>
              <a:gd name="T22" fmla="*/ 430 w 430"/>
              <a:gd name="T23" fmla="*/ 73 h 119"/>
              <a:gd name="T24" fmla="*/ 430 w 430"/>
              <a:gd name="T25" fmla="*/ 7 h 119"/>
              <a:gd name="T26" fmla="*/ 423 w 430"/>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0" h="119" extrusionOk="0">
                <a:moveTo>
                  <a:pt x="423" y="0"/>
                </a:moveTo>
                <a:cubicBezTo>
                  <a:pt x="7" y="0"/>
                  <a:pt x="7" y="0"/>
                  <a:pt x="7" y="0"/>
                </a:cubicBezTo>
                <a:cubicBezTo>
                  <a:pt x="3" y="0"/>
                  <a:pt x="0" y="3"/>
                  <a:pt x="0" y="7"/>
                </a:cubicBezTo>
                <a:cubicBezTo>
                  <a:pt x="0" y="73"/>
                  <a:pt x="0" y="73"/>
                  <a:pt x="0" y="73"/>
                </a:cubicBezTo>
                <a:cubicBezTo>
                  <a:pt x="0" y="77"/>
                  <a:pt x="3" y="80"/>
                  <a:pt x="7" y="80"/>
                </a:cubicBezTo>
                <a:cubicBezTo>
                  <a:pt x="181" y="80"/>
                  <a:pt x="181" y="80"/>
                  <a:pt x="181" y="80"/>
                </a:cubicBezTo>
                <a:cubicBezTo>
                  <a:pt x="198" y="99"/>
                  <a:pt x="198" y="99"/>
                  <a:pt x="198" y="99"/>
                </a:cubicBezTo>
                <a:cubicBezTo>
                  <a:pt x="215" y="119"/>
                  <a:pt x="215" y="119"/>
                  <a:pt x="215" y="119"/>
                </a:cubicBezTo>
                <a:cubicBezTo>
                  <a:pt x="232" y="99"/>
                  <a:pt x="232" y="99"/>
                  <a:pt x="232" y="99"/>
                </a:cubicBezTo>
                <a:cubicBezTo>
                  <a:pt x="250" y="80"/>
                  <a:pt x="250" y="80"/>
                  <a:pt x="250" y="80"/>
                </a:cubicBezTo>
                <a:cubicBezTo>
                  <a:pt x="423" y="80"/>
                  <a:pt x="423" y="80"/>
                  <a:pt x="423" y="80"/>
                </a:cubicBezTo>
                <a:cubicBezTo>
                  <a:pt x="427" y="80"/>
                  <a:pt x="430" y="77"/>
                  <a:pt x="430" y="73"/>
                </a:cubicBezTo>
                <a:cubicBezTo>
                  <a:pt x="430" y="7"/>
                  <a:pt x="430" y="7"/>
                  <a:pt x="430" y="7"/>
                </a:cubicBezTo>
                <a:cubicBezTo>
                  <a:pt x="430" y="3"/>
                  <a:pt x="427" y="0"/>
                  <a:pt x="423" y="0"/>
                </a:cubicBezTo>
                <a:close/>
              </a:path>
            </a:pathLst>
          </a:custGeom>
          <a:solidFill>
            <a:schemeClr val="tx2"/>
          </a:solidFill>
          <a:ln>
            <a:noFill/>
          </a:ln>
        </p:spPr>
        <p:txBody>
          <a:bodyPr lIns="91425" tIns="45700" rIns="91425" bIns="45700"/>
          <a:lstStyle/>
          <a:p>
            <a:endParaRPr lang="en-US" sz="1600"/>
          </a:p>
        </p:txBody>
      </p:sp>
      <p:sp>
        <p:nvSpPr>
          <p:cNvPr id="24" name="Rectangle 23">
            <a:extLst>
              <a:ext uri="{FF2B5EF4-FFF2-40B4-BE49-F238E27FC236}">
                <a16:creationId xmlns:a16="http://schemas.microsoft.com/office/drawing/2014/main" id="{45BB4F29-C8FF-FB43-B1A1-AFF86E824DD8}"/>
              </a:ext>
            </a:extLst>
          </p:cNvPr>
          <p:cNvSpPr/>
          <p:nvPr/>
        </p:nvSpPr>
        <p:spPr>
          <a:xfrm>
            <a:off x="439675" y="1546729"/>
            <a:ext cx="2051212" cy="1906040"/>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algn="ctr"/>
            <a:r>
              <a:rPr lang="en-GB"/>
              <a:t>Use Brand Plans and Account Plans guidance to set MCCP targets</a:t>
            </a:r>
          </a:p>
        </p:txBody>
      </p:sp>
      <p:sp>
        <p:nvSpPr>
          <p:cNvPr id="25" name="Rectangle 24">
            <a:extLst>
              <a:ext uri="{FF2B5EF4-FFF2-40B4-BE49-F238E27FC236}">
                <a16:creationId xmlns:a16="http://schemas.microsoft.com/office/drawing/2014/main" id="{6FFCE79E-85FF-D44D-862E-633B9E4A4CC6}"/>
              </a:ext>
            </a:extLst>
          </p:cNvPr>
          <p:cNvSpPr/>
          <p:nvPr/>
        </p:nvSpPr>
        <p:spPr>
          <a:xfrm>
            <a:off x="7088440" y="4291989"/>
            <a:ext cx="2051212" cy="1884229"/>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marL="11112" algn="ctr">
              <a:spcBef>
                <a:spcPts val="1200"/>
              </a:spcBef>
              <a:buClr>
                <a:schemeClr val="tx2"/>
              </a:buClr>
            </a:pPr>
            <a:r>
              <a:rPr lang="en-GB"/>
              <a:t>Allow users to “edit” goals mid-cycle to maintain currency</a:t>
            </a:r>
          </a:p>
        </p:txBody>
      </p:sp>
      <p:sp>
        <p:nvSpPr>
          <p:cNvPr id="26" name="Rectangle 25">
            <a:extLst>
              <a:ext uri="{FF2B5EF4-FFF2-40B4-BE49-F238E27FC236}">
                <a16:creationId xmlns:a16="http://schemas.microsoft.com/office/drawing/2014/main" id="{CBC2E40C-05B6-934D-806D-9FD3EF403D5D}"/>
              </a:ext>
            </a:extLst>
          </p:cNvPr>
          <p:cNvSpPr/>
          <p:nvPr/>
        </p:nvSpPr>
        <p:spPr>
          <a:xfrm>
            <a:off x="7088440" y="1546729"/>
            <a:ext cx="2051212" cy="1884229"/>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marL="11112" algn="ctr">
              <a:spcBef>
                <a:spcPts val="1200"/>
              </a:spcBef>
              <a:buClr>
                <a:schemeClr val="tx2"/>
              </a:buClr>
            </a:pPr>
            <a:r>
              <a:rPr lang="en-GB"/>
              <a:t>Use short cycles during launch to incorporate emerging strategic insights</a:t>
            </a:r>
          </a:p>
        </p:txBody>
      </p:sp>
      <p:sp>
        <p:nvSpPr>
          <p:cNvPr id="27" name="Rectangle 26">
            <a:extLst>
              <a:ext uri="{FF2B5EF4-FFF2-40B4-BE49-F238E27FC236}">
                <a16:creationId xmlns:a16="http://schemas.microsoft.com/office/drawing/2014/main" id="{70EE28B8-2CB6-9947-9FF3-E63854935A56}"/>
              </a:ext>
            </a:extLst>
          </p:cNvPr>
          <p:cNvSpPr/>
          <p:nvPr/>
        </p:nvSpPr>
        <p:spPr>
          <a:xfrm>
            <a:off x="2664184" y="1546729"/>
            <a:ext cx="2051212" cy="1906040"/>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algn="ctr">
              <a:spcBef>
                <a:spcPts val="1200"/>
              </a:spcBef>
              <a:buClr>
                <a:schemeClr val="tx2"/>
              </a:buClr>
            </a:pPr>
            <a:r>
              <a:rPr lang="en-GB"/>
              <a:t>Focus MCCP on the channels which field teams can use and control</a:t>
            </a:r>
          </a:p>
        </p:txBody>
      </p:sp>
      <p:sp>
        <p:nvSpPr>
          <p:cNvPr id="28" name="Rectangle 27">
            <a:extLst>
              <a:ext uri="{FF2B5EF4-FFF2-40B4-BE49-F238E27FC236}">
                <a16:creationId xmlns:a16="http://schemas.microsoft.com/office/drawing/2014/main" id="{1CBD0979-14A7-3341-BB69-45184496A474}"/>
              </a:ext>
            </a:extLst>
          </p:cNvPr>
          <p:cNvSpPr/>
          <p:nvPr/>
        </p:nvSpPr>
        <p:spPr>
          <a:xfrm>
            <a:off x="9301985" y="1546729"/>
            <a:ext cx="2051212" cy="1884229"/>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algn="ctr">
              <a:spcBef>
                <a:spcPts val="1200"/>
              </a:spcBef>
              <a:buClr>
                <a:schemeClr val="tx2"/>
              </a:buClr>
            </a:pPr>
            <a:r>
              <a:rPr lang="en-GB"/>
              <a:t>Use MyInsights reports to bring key insights to the user</a:t>
            </a:r>
          </a:p>
        </p:txBody>
      </p:sp>
      <p:sp>
        <p:nvSpPr>
          <p:cNvPr id="29" name="Rectangle 28">
            <a:extLst>
              <a:ext uri="{FF2B5EF4-FFF2-40B4-BE49-F238E27FC236}">
                <a16:creationId xmlns:a16="http://schemas.microsoft.com/office/drawing/2014/main" id="{C3066094-B287-9045-95EA-C2217D43BF8C}"/>
              </a:ext>
            </a:extLst>
          </p:cNvPr>
          <p:cNvSpPr/>
          <p:nvPr/>
        </p:nvSpPr>
        <p:spPr>
          <a:xfrm>
            <a:off x="4874895" y="4291989"/>
            <a:ext cx="2051212" cy="1906040"/>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marL="11112" algn="ctr">
              <a:spcBef>
                <a:spcPts val="1800"/>
              </a:spcBef>
              <a:buClr>
                <a:schemeClr val="tx2"/>
              </a:buClr>
            </a:pPr>
            <a:r>
              <a:rPr lang="en-GB"/>
              <a:t>Make sure different teams align their cycle / interaction plans</a:t>
            </a:r>
          </a:p>
        </p:txBody>
      </p:sp>
      <p:sp>
        <p:nvSpPr>
          <p:cNvPr id="30" name="Rectangle 29">
            <a:extLst>
              <a:ext uri="{FF2B5EF4-FFF2-40B4-BE49-F238E27FC236}">
                <a16:creationId xmlns:a16="http://schemas.microsoft.com/office/drawing/2014/main" id="{C863A6A8-797E-7043-9D43-0650D3D794E9}"/>
              </a:ext>
            </a:extLst>
          </p:cNvPr>
          <p:cNvSpPr/>
          <p:nvPr/>
        </p:nvSpPr>
        <p:spPr>
          <a:xfrm>
            <a:off x="2681636" y="4291989"/>
            <a:ext cx="2051212" cy="1884229"/>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algn="ctr"/>
            <a:r>
              <a:rPr lang="en-GB"/>
              <a:t>Create a X-organisational MCCP delivery calendar</a:t>
            </a:r>
          </a:p>
        </p:txBody>
      </p:sp>
      <p:sp>
        <p:nvSpPr>
          <p:cNvPr id="31" name="Rectangle 30">
            <a:extLst>
              <a:ext uri="{FF2B5EF4-FFF2-40B4-BE49-F238E27FC236}">
                <a16:creationId xmlns:a16="http://schemas.microsoft.com/office/drawing/2014/main" id="{E1CBA878-550A-434B-AFE8-4E29A7F8EED8}"/>
              </a:ext>
            </a:extLst>
          </p:cNvPr>
          <p:cNvSpPr/>
          <p:nvPr/>
        </p:nvSpPr>
        <p:spPr>
          <a:xfrm>
            <a:off x="439675" y="4291989"/>
            <a:ext cx="2051212" cy="1906040"/>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algn="ctr"/>
            <a:r>
              <a:rPr lang="en-GB"/>
              <a:t>Translate journeys and targeting into MCCP channels, weights and goals</a:t>
            </a:r>
          </a:p>
        </p:txBody>
      </p:sp>
      <p:sp>
        <p:nvSpPr>
          <p:cNvPr id="32" name="Rectangle 31">
            <a:extLst>
              <a:ext uri="{FF2B5EF4-FFF2-40B4-BE49-F238E27FC236}">
                <a16:creationId xmlns:a16="http://schemas.microsoft.com/office/drawing/2014/main" id="{924E5EA7-10BA-7B4E-ADD8-8E1D477920B3}"/>
              </a:ext>
            </a:extLst>
          </p:cNvPr>
          <p:cNvSpPr/>
          <p:nvPr/>
        </p:nvSpPr>
        <p:spPr>
          <a:xfrm>
            <a:off x="4892915" y="1546729"/>
            <a:ext cx="2051212" cy="1906040"/>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algn="ctr"/>
            <a:r>
              <a:rPr lang="en-GB"/>
              <a:t>Use “capping” to prevent saturation and protect the experience</a:t>
            </a:r>
          </a:p>
        </p:txBody>
      </p:sp>
      <p:sp>
        <p:nvSpPr>
          <p:cNvPr id="33" name="Rectangle 32">
            <a:extLst>
              <a:ext uri="{FF2B5EF4-FFF2-40B4-BE49-F238E27FC236}">
                <a16:creationId xmlns:a16="http://schemas.microsoft.com/office/drawing/2014/main" id="{8AE3F8C8-6EDF-A546-B551-E95D47844170}"/>
              </a:ext>
            </a:extLst>
          </p:cNvPr>
          <p:cNvSpPr/>
          <p:nvPr/>
        </p:nvSpPr>
        <p:spPr>
          <a:xfrm>
            <a:off x="9301985" y="4291989"/>
            <a:ext cx="2051212" cy="1884229"/>
          </a:xfrm>
          <a:prstGeom prst="rect">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lIns="90000" tIns="144000" rtlCol="0" anchor="ctr" anchorCtr="0"/>
          <a:lstStyle/>
          <a:p>
            <a:pPr algn="ctr"/>
            <a:r>
              <a:rPr lang="en-GB"/>
              <a:t>Review the effectiveness of cycles and measure engagement not just productivity</a:t>
            </a:r>
          </a:p>
        </p:txBody>
      </p:sp>
      <p:sp>
        <p:nvSpPr>
          <p:cNvPr id="34" name="Google Shape;7814;p149">
            <a:extLst>
              <a:ext uri="{FF2B5EF4-FFF2-40B4-BE49-F238E27FC236}">
                <a16:creationId xmlns:a16="http://schemas.microsoft.com/office/drawing/2014/main" id="{2E92328F-F7BE-5C4D-8591-BFE7F3C5D53A}"/>
              </a:ext>
            </a:extLst>
          </p:cNvPr>
          <p:cNvSpPr txBox="1">
            <a:spLocks noChangeArrowheads="1"/>
          </p:cNvSpPr>
          <p:nvPr/>
        </p:nvSpPr>
        <p:spPr bwMode="auto">
          <a:xfrm>
            <a:off x="9139652" y="41823"/>
            <a:ext cx="3052348" cy="1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Clr>
                <a:srgbClr val="FFFFFF"/>
              </a:buClr>
              <a:buSzPts val="1600"/>
              <a:buNone/>
            </a:pPr>
            <a:r>
              <a:rPr lang="en-US" altLang="en-US" sz="1200">
                <a:cs typeface="Calibri" panose="020F0502020204030204" pitchFamily="34" charset="0"/>
                <a:sym typeface="Open Sans" panose="020B0606030504020204" pitchFamily="34" charset="0"/>
              </a:rPr>
              <a:t>Implications for customer engagement design</a:t>
            </a:r>
            <a:endParaRPr lang="en-US" altLang="en-US" sz="1600">
              <a:cs typeface="Calibri" panose="020F0502020204030204" pitchFamily="34" charset="0"/>
              <a:sym typeface="Arial" panose="020B0604020202020204" pitchFamily="34" charset="0"/>
            </a:endParaRPr>
          </a:p>
        </p:txBody>
      </p:sp>
      <p:pic>
        <p:nvPicPr>
          <p:cNvPr id="35" name="Graphic 34" descr="Ui Ux outline">
            <a:extLst>
              <a:ext uri="{FF2B5EF4-FFF2-40B4-BE49-F238E27FC236}">
                <a16:creationId xmlns:a16="http://schemas.microsoft.com/office/drawing/2014/main" id="{DE8B75EC-0856-1E41-B4A5-228DCE61384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783267" y="30587"/>
            <a:ext cx="356385" cy="356385"/>
          </a:xfrm>
          <a:prstGeom prst="rect">
            <a:avLst/>
          </a:prstGeom>
        </p:spPr>
      </p:pic>
      <p:sp>
        <p:nvSpPr>
          <p:cNvPr id="4" name="TextBox 3">
            <a:extLst>
              <a:ext uri="{FF2B5EF4-FFF2-40B4-BE49-F238E27FC236}">
                <a16:creationId xmlns:a16="http://schemas.microsoft.com/office/drawing/2014/main" id="{9061B225-78FF-134D-8C8F-5F05C1543962}"/>
              </a:ext>
            </a:extLst>
          </p:cNvPr>
          <p:cNvSpPr txBox="1"/>
          <p:nvPr/>
        </p:nvSpPr>
        <p:spPr>
          <a:xfrm>
            <a:off x="897223" y="3737707"/>
            <a:ext cx="1393660" cy="294248"/>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1600">
                <a:solidFill>
                  <a:schemeClr val="bg1"/>
                </a:solidFill>
              </a:rPr>
              <a:t>Set direction</a:t>
            </a:r>
          </a:p>
        </p:txBody>
      </p:sp>
      <p:sp>
        <p:nvSpPr>
          <p:cNvPr id="36" name="TextBox 35">
            <a:extLst>
              <a:ext uri="{FF2B5EF4-FFF2-40B4-BE49-F238E27FC236}">
                <a16:creationId xmlns:a16="http://schemas.microsoft.com/office/drawing/2014/main" id="{75152789-6DAC-B041-87AE-C02CEBE4B2C0}"/>
              </a:ext>
            </a:extLst>
          </p:cNvPr>
          <p:cNvSpPr txBox="1"/>
          <p:nvPr/>
        </p:nvSpPr>
        <p:spPr>
          <a:xfrm>
            <a:off x="7314284" y="3737707"/>
            <a:ext cx="1648270" cy="294248"/>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600">
                <a:solidFill>
                  <a:schemeClr val="bg1"/>
                </a:solidFill>
              </a:rPr>
              <a:t>Plan for agility</a:t>
            </a:r>
          </a:p>
        </p:txBody>
      </p:sp>
      <p:sp>
        <p:nvSpPr>
          <p:cNvPr id="37" name="TextBox 36">
            <a:extLst>
              <a:ext uri="{FF2B5EF4-FFF2-40B4-BE49-F238E27FC236}">
                <a16:creationId xmlns:a16="http://schemas.microsoft.com/office/drawing/2014/main" id="{5BE3377C-9ADF-8749-8ECD-08CCE04ED444}"/>
              </a:ext>
            </a:extLst>
          </p:cNvPr>
          <p:cNvSpPr txBox="1"/>
          <p:nvPr/>
        </p:nvSpPr>
        <p:spPr>
          <a:xfrm>
            <a:off x="4843573" y="3739295"/>
            <a:ext cx="2165433" cy="294248"/>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600">
                <a:solidFill>
                  <a:schemeClr val="bg1"/>
                </a:solidFill>
              </a:rPr>
              <a:t>Protect the experience </a:t>
            </a:r>
          </a:p>
        </p:txBody>
      </p:sp>
      <p:sp>
        <p:nvSpPr>
          <p:cNvPr id="38" name="TextBox 37">
            <a:extLst>
              <a:ext uri="{FF2B5EF4-FFF2-40B4-BE49-F238E27FC236}">
                <a16:creationId xmlns:a16="http://schemas.microsoft.com/office/drawing/2014/main" id="{4EADC4CF-5DEA-954A-9660-F3993E053D11}"/>
              </a:ext>
            </a:extLst>
          </p:cNvPr>
          <p:cNvSpPr txBox="1"/>
          <p:nvPr/>
        </p:nvSpPr>
        <p:spPr>
          <a:xfrm>
            <a:off x="9312036" y="3767292"/>
            <a:ext cx="2051212" cy="294248"/>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600">
                <a:solidFill>
                  <a:schemeClr val="bg1"/>
                </a:solidFill>
              </a:rPr>
              <a:t>Measure progress</a:t>
            </a:r>
          </a:p>
        </p:txBody>
      </p:sp>
      <p:sp>
        <p:nvSpPr>
          <p:cNvPr id="39" name="TextBox 38">
            <a:extLst>
              <a:ext uri="{FF2B5EF4-FFF2-40B4-BE49-F238E27FC236}">
                <a16:creationId xmlns:a16="http://schemas.microsoft.com/office/drawing/2014/main" id="{E754C8E2-5FAD-2C46-91C9-9714E5B29A0E}"/>
              </a:ext>
            </a:extLst>
          </p:cNvPr>
          <p:cNvSpPr txBox="1"/>
          <p:nvPr/>
        </p:nvSpPr>
        <p:spPr>
          <a:xfrm>
            <a:off x="2727483" y="3731404"/>
            <a:ext cx="1987914" cy="294248"/>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600">
                <a:solidFill>
                  <a:schemeClr val="bg1"/>
                </a:solidFill>
              </a:rPr>
              <a:t>Define actions</a:t>
            </a:r>
          </a:p>
        </p:txBody>
      </p:sp>
    </p:spTree>
    <p:extLst>
      <p:ext uri="{BB962C8B-B14F-4D97-AF65-F5344CB8AC3E}">
        <p14:creationId xmlns:p14="http://schemas.microsoft.com/office/powerpoint/2010/main" val="1011657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FF8AC0-1021-DB4D-92C6-77BD872BB6FD}"/>
              </a:ext>
            </a:extLst>
          </p:cNvPr>
          <p:cNvSpPr>
            <a:spLocks noGrp="1"/>
          </p:cNvSpPr>
          <p:nvPr>
            <p:ph type="title"/>
          </p:nvPr>
        </p:nvSpPr>
        <p:spPr>
          <a:xfrm>
            <a:off x="211556" y="279901"/>
            <a:ext cx="11931106" cy="1101213"/>
          </a:xfrm>
        </p:spPr>
        <p:txBody>
          <a:bodyPr/>
          <a:lstStyle/>
          <a:p>
            <a:r>
              <a:rPr lang="en-US"/>
              <a:t>Ultimately, the end-to-end framework will provide sales reps with the clarity, confidence and capability to execute</a:t>
            </a:r>
          </a:p>
        </p:txBody>
      </p:sp>
      <p:grpSp>
        <p:nvGrpSpPr>
          <p:cNvPr id="11" name="Group 10">
            <a:extLst>
              <a:ext uri="{FF2B5EF4-FFF2-40B4-BE49-F238E27FC236}">
                <a16:creationId xmlns:a16="http://schemas.microsoft.com/office/drawing/2014/main" id="{97196096-E122-5240-BAE1-38A4E05311FB}"/>
              </a:ext>
            </a:extLst>
          </p:cNvPr>
          <p:cNvGrpSpPr/>
          <p:nvPr/>
        </p:nvGrpSpPr>
        <p:grpSpPr>
          <a:xfrm>
            <a:off x="1547094" y="1536961"/>
            <a:ext cx="10070956" cy="4547541"/>
            <a:chOff x="2873178" y="1907238"/>
            <a:chExt cx="8189059" cy="4237145"/>
          </a:xfrm>
          <a:solidFill>
            <a:schemeClr val="bg1">
              <a:lumMod val="95000"/>
            </a:schemeClr>
          </a:solidFill>
        </p:grpSpPr>
        <p:sp>
          <p:nvSpPr>
            <p:cNvPr id="4" name="Rounded Rectangle 3">
              <a:extLst>
                <a:ext uri="{FF2B5EF4-FFF2-40B4-BE49-F238E27FC236}">
                  <a16:creationId xmlns:a16="http://schemas.microsoft.com/office/drawing/2014/main" id="{48C1FF07-C8BA-0F49-AB56-E07C8D6A70C4}"/>
                </a:ext>
              </a:extLst>
            </p:cNvPr>
            <p:cNvSpPr/>
            <p:nvPr/>
          </p:nvSpPr>
          <p:spPr>
            <a:xfrm>
              <a:off x="2873178" y="1907238"/>
              <a:ext cx="1964785" cy="4237145"/>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n-US" sz="1400" b="1" i="1">
                  <a:solidFill>
                    <a:schemeClr val="tx1"/>
                  </a:solidFill>
                </a:rPr>
                <a:t>Strategy &amp; Planning</a:t>
              </a:r>
            </a:p>
          </p:txBody>
        </p:sp>
        <p:sp>
          <p:nvSpPr>
            <p:cNvPr id="5" name="Rounded Rectangle 4">
              <a:extLst>
                <a:ext uri="{FF2B5EF4-FFF2-40B4-BE49-F238E27FC236}">
                  <a16:creationId xmlns:a16="http://schemas.microsoft.com/office/drawing/2014/main" id="{D14BBE9B-3D91-B54B-9FFF-8649A79BDD46}"/>
                </a:ext>
              </a:extLst>
            </p:cNvPr>
            <p:cNvSpPr/>
            <p:nvPr/>
          </p:nvSpPr>
          <p:spPr>
            <a:xfrm>
              <a:off x="4947937" y="1907238"/>
              <a:ext cx="1964784" cy="4237145"/>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n-US" sz="1400" b="1" i="1">
                  <a:solidFill>
                    <a:schemeClr val="tx1"/>
                  </a:solidFill>
                </a:rPr>
                <a:t>Engagement Preparation</a:t>
              </a:r>
            </a:p>
          </p:txBody>
        </p:sp>
        <p:sp>
          <p:nvSpPr>
            <p:cNvPr id="6" name="Rounded Rectangle 5">
              <a:extLst>
                <a:ext uri="{FF2B5EF4-FFF2-40B4-BE49-F238E27FC236}">
                  <a16:creationId xmlns:a16="http://schemas.microsoft.com/office/drawing/2014/main" id="{C3E1AEC9-72EC-3042-B054-741699C37835}"/>
                </a:ext>
              </a:extLst>
            </p:cNvPr>
            <p:cNvSpPr/>
            <p:nvPr/>
          </p:nvSpPr>
          <p:spPr>
            <a:xfrm>
              <a:off x="7022695" y="1907238"/>
              <a:ext cx="1964784" cy="4237145"/>
            </a:xfrm>
            <a:prstGeom prst="roundRect">
              <a:avLst>
                <a:gd name="adj" fmla="val 115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n-US" sz="1400" b="1" i="1">
                  <a:solidFill>
                    <a:schemeClr val="tx1"/>
                  </a:solidFill>
                </a:rPr>
                <a:t>Execution</a:t>
              </a:r>
            </a:p>
          </p:txBody>
        </p:sp>
        <p:sp>
          <p:nvSpPr>
            <p:cNvPr id="7" name="Rounded Rectangle 6">
              <a:extLst>
                <a:ext uri="{FF2B5EF4-FFF2-40B4-BE49-F238E27FC236}">
                  <a16:creationId xmlns:a16="http://schemas.microsoft.com/office/drawing/2014/main" id="{46B1316D-E732-5A4A-AA88-126801C4271D}"/>
                </a:ext>
              </a:extLst>
            </p:cNvPr>
            <p:cNvSpPr/>
            <p:nvPr/>
          </p:nvSpPr>
          <p:spPr>
            <a:xfrm>
              <a:off x="9097453" y="1907238"/>
              <a:ext cx="1964784" cy="4237145"/>
            </a:xfrm>
            <a:prstGeom prst="roundRect">
              <a:avLst>
                <a:gd name="adj" fmla="val 10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n-US" sz="1400" b="1" i="1">
                  <a:solidFill>
                    <a:schemeClr val="tx1"/>
                  </a:solidFill>
                </a:rPr>
                <a:t>Measurement</a:t>
              </a:r>
            </a:p>
          </p:txBody>
        </p:sp>
      </p:grpSp>
      <p:sp>
        <p:nvSpPr>
          <p:cNvPr id="8" name="TextBox 7">
            <a:extLst>
              <a:ext uri="{FF2B5EF4-FFF2-40B4-BE49-F238E27FC236}">
                <a16:creationId xmlns:a16="http://schemas.microsoft.com/office/drawing/2014/main" id="{820707DE-FAD4-B541-B692-E9DEC34D79FD}"/>
              </a:ext>
            </a:extLst>
          </p:cNvPr>
          <p:cNvSpPr txBox="1"/>
          <p:nvPr/>
        </p:nvSpPr>
        <p:spPr>
          <a:xfrm rot="16200000">
            <a:off x="-231255" y="2681232"/>
            <a:ext cx="1266265" cy="231089"/>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100"/>
              <a:t>Head Office</a:t>
            </a:r>
          </a:p>
        </p:txBody>
      </p:sp>
      <p:sp>
        <p:nvSpPr>
          <p:cNvPr id="9" name="TextBox 8">
            <a:extLst>
              <a:ext uri="{FF2B5EF4-FFF2-40B4-BE49-F238E27FC236}">
                <a16:creationId xmlns:a16="http://schemas.microsoft.com/office/drawing/2014/main" id="{E1CA26DD-58CE-3943-9118-E8DA7FF758BE}"/>
              </a:ext>
            </a:extLst>
          </p:cNvPr>
          <p:cNvSpPr txBox="1"/>
          <p:nvPr/>
        </p:nvSpPr>
        <p:spPr>
          <a:xfrm rot="16200000">
            <a:off x="134705" y="5540075"/>
            <a:ext cx="504916" cy="231089"/>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100"/>
              <a:t>HCP</a:t>
            </a:r>
          </a:p>
        </p:txBody>
      </p:sp>
      <p:pic>
        <p:nvPicPr>
          <p:cNvPr id="135172" name="Picture 4" descr="Business, businessman, client, man, manager icon - Download on Iconfinder">
            <a:extLst>
              <a:ext uri="{FF2B5EF4-FFF2-40B4-BE49-F238E27FC236}">
                <a16:creationId xmlns:a16="http://schemas.microsoft.com/office/drawing/2014/main" id="{D997F87B-5B7C-B647-AA0F-3D39D32CF75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54735" y="3498216"/>
            <a:ext cx="629763" cy="629763"/>
          </a:xfrm>
          <a:prstGeom prst="rect">
            <a:avLst/>
          </a:prstGeom>
          <a:noFill/>
          <a:extLst>
            <a:ext uri="{909E8E84-426E-40DD-AFC4-6F175D3DCCD1}">
              <a14:hiddenFill xmlns:a14="http://schemas.microsoft.com/office/drawing/2010/main">
                <a:solidFill>
                  <a:srgbClr val="FFFFFF"/>
                </a:solidFill>
              </a14:hiddenFill>
            </a:ext>
          </a:extLst>
        </p:spPr>
      </p:pic>
      <p:pic>
        <p:nvPicPr>
          <p:cNvPr id="135174" name="Picture 6" descr="Red Circle">
            <a:extLst>
              <a:ext uri="{FF2B5EF4-FFF2-40B4-BE49-F238E27FC236}">
                <a16:creationId xmlns:a16="http://schemas.microsoft.com/office/drawing/2014/main" id="{FBB87A58-B1B7-B143-86FE-A0D544A324F8}"/>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94919" y="2528921"/>
            <a:ext cx="609307" cy="607577"/>
          </a:xfrm>
          <a:prstGeom prst="ellipse">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2DCB70D4-EB6B-4B48-9B5A-8EC4D396E91B}"/>
              </a:ext>
            </a:extLst>
          </p:cNvPr>
          <p:cNvSpPr txBox="1"/>
          <p:nvPr/>
        </p:nvSpPr>
        <p:spPr>
          <a:xfrm>
            <a:off x="1792690" y="2952476"/>
            <a:ext cx="990051" cy="501932"/>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Prioritize targets based on potential</a:t>
            </a:r>
          </a:p>
        </p:txBody>
      </p:sp>
      <p:sp>
        <p:nvSpPr>
          <p:cNvPr id="48" name="TextBox 47">
            <a:extLst>
              <a:ext uri="{FF2B5EF4-FFF2-40B4-BE49-F238E27FC236}">
                <a16:creationId xmlns:a16="http://schemas.microsoft.com/office/drawing/2014/main" id="{980A7FB6-DAC3-A34A-A5ED-DA8CEEE1088C}"/>
              </a:ext>
            </a:extLst>
          </p:cNvPr>
          <p:cNvSpPr txBox="1"/>
          <p:nvPr/>
        </p:nvSpPr>
        <p:spPr>
          <a:xfrm>
            <a:off x="2858343" y="2984568"/>
            <a:ext cx="856113" cy="483337"/>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Define HCP touch-point journeys</a:t>
            </a:r>
          </a:p>
        </p:txBody>
      </p:sp>
      <p:sp>
        <p:nvSpPr>
          <p:cNvPr id="49" name="TextBox 48">
            <a:extLst>
              <a:ext uri="{FF2B5EF4-FFF2-40B4-BE49-F238E27FC236}">
                <a16:creationId xmlns:a16="http://schemas.microsoft.com/office/drawing/2014/main" id="{729DB951-71BB-424E-A13A-6C92ED5A3F6E}"/>
              </a:ext>
            </a:extLst>
          </p:cNvPr>
          <p:cNvSpPr txBox="1"/>
          <p:nvPr/>
        </p:nvSpPr>
        <p:spPr>
          <a:xfrm>
            <a:off x="5851782" y="3679650"/>
            <a:ext cx="479732" cy="261738"/>
          </a:xfrm>
          <a:prstGeom prst="rect">
            <a:avLst/>
          </a:prstGeom>
          <a:solidFill>
            <a:schemeClr val="bg1">
              <a:lumMod val="95000"/>
            </a:schemeClr>
          </a:solidFill>
        </p:spPr>
        <p:txBody>
          <a:bodyPr wrap="square" lIns="0" tIns="0" rIns="0" bIns="0" rtlCol="0">
            <a:spAutoFit/>
          </a:bodyPr>
          <a:lstStyle>
            <a:defPPr>
              <a:defRPr lang="en-US"/>
            </a:defPPr>
            <a:lvl1pPr marR="0" algn="ctr" fontAlgn="auto">
              <a:lnSpc>
                <a:spcPct val="80000"/>
              </a:lnSpc>
              <a:spcBef>
                <a:spcPts val="1200"/>
              </a:spcBef>
              <a:spcAft>
                <a:spcPts val="0"/>
              </a:spcAft>
              <a:buClr>
                <a:schemeClr val="tx2"/>
              </a:buClr>
              <a:buSzTx/>
              <a:tabLst/>
              <a:defRPr sz="1050"/>
            </a:lvl1pPr>
          </a:lstStyle>
          <a:p>
            <a:pPr algn="l"/>
            <a:r>
              <a:rPr lang="en-US"/>
              <a:t>Set MCCP</a:t>
            </a:r>
          </a:p>
        </p:txBody>
      </p:sp>
      <p:grpSp>
        <p:nvGrpSpPr>
          <p:cNvPr id="15" name="Group 14">
            <a:extLst>
              <a:ext uri="{FF2B5EF4-FFF2-40B4-BE49-F238E27FC236}">
                <a16:creationId xmlns:a16="http://schemas.microsoft.com/office/drawing/2014/main" id="{A6B7471B-8DA8-7841-9E5A-61B65474EE09}"/>
              </a:ext>
            </a:extLst>
          </p:cNvPr>
          <p:cNvGrpSpPr/>
          <p:nvPr/>
        </p:nvGrpSpPr>
        <p:grpSpPr>
          <a:xfrm>
            <a:off x="749175" y="4379597"/>
            <a:ext cx="609307" cy="609307"/>
            <a:chOff x="569401" y="2997781"/>
            <a:chExt cx="757673" cy="757673"/>
          </a:xfrm>
        </p:grpSpPr>
        <p:sp>
          <p:nvSpPr>
            <p:cNvPr id="16" name="Oval 15">
              <a:extLst>
                <a:ext uri="{FF2B5EF4-FFF2-40B4-BE49-F238E27FC236}">
                  <a16:creationId xmlns:a16="http://schemas.microsoft.com/office/drawing/2014/main" id="{B845661E-4421-A241-B09D-354B5C2E089A}"/>
                </a:ext>
              </a:extLst>
            </p:cNvPr>
            <p:cNvSpPr/>
            <p:nvPr/>
          </p:nvSpPr>
          <p:spPr>
            <a:xfrm>
              <a:off x="569401" y="2997781"/>
              <a:ext cx="757673" cy="757673"/>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25">
              <a:extLst>
                <a:ext uri="{FF2B5EF4-FFF2-40B4-BE49-F238E27FC236}">
                  <a16:creationId xmlns:a16="http://schemas.microsoft.com/office/drawing/2014/main" id="{E35C655B-B10E-9D49-BE27-87A4504CBE63}"/>
                </a:ext>
              </a:extLst>
            </p:cNvPr>
            <p:cNvGrpSpPr>
              <a:grpSpLocks/>
            </p:cNvGrpSpPr>
            <p:nvPr/>
          </p:nvGrpSpPr>
          <p:grpSpPr bwMode="auto">
            <a:xfrm>
              <a:off x="792589" y="3082078"/>
              <a:ext cx="311298" cy="564922"/>
              <a:chOff x="6102697" y="2605088"/>
              <a:chExt cx="323321" cy="586984"/>
            </a:xfrm>
          </p:grpSpPr>
          <p:sp>
            <p:nvSpPr>
              <p:cNvPr id="18" name="Freeform 1472">
                <a:extLst>
                  <a:ext uri="{FF2B5EF4-FFF2-40B4-BE49-F238E27FC236}">
                    <a16:creationId xmlns:a16="http://schemas.microsoft.com/office/drawing/2014/main" id="{BAE1D134-5B77-2B4A-BCA0-6266A2C15E57}"/>
                  </a:ext>
                </a:extLst>
              </p:cNvPr>
              <p:cNvSpPr>
                <a:spLocks noChangeArrowheads="1"/>
              </p:cNvSpPr>
              <p:nvPr/>
            </p:nvSpPr>
            <p:spPr bwMode="auto">
              <a:xfrm>
                <a:off x="6123559" y="2607469"/>
                <a:ext cx="281042" cy="344686"/>
              </a:xfrm>
              <a:custGeom>
                <a:avLst/>
                <a:gdLst>
                  <a:gd name="T0" fmla="*/ 280907 w 2081"/>
                  <a:gd name="T1" fmla="*/ 267054 h 2553"/>
                  <a:gd name="T2" fmla="*/ 280907 w 2081"/>
                  <a:gd name="T3" fmla="*/ 267054 h 2553"/>
                  <a:gd name="T4" fmla="*/ 140318 w 2081"/>
                  <a:gd name="T5" fmla="*/ 304722 h 2553"/>
                  <a:gd name="T6" fmla="*/ 140318 w 2081"/>
                  <a:gd name="T7" fmla="*/ 304722 h 2553"/>
                  <a:gd name="T8" fmla="*/ 0 w 2081"/>
                  <a:gd name="T9" fmla="*/ 267054 h 2553"/>
                  <a:gd name="T10" fmla="*/ 0 w 2081"/>
                  <a:gd name="T11" fmla="*/ 140278 h 2553"/>
                  <a:gd name="T12" fmla="*/ 140318 w 2081"/>
                  <a:gd name="T13" fmla="*/ 0 h 2553"/>
                  <a:gd name="T14" fmla="*/ 140318 w 2081"/>
                  <a:gd name="T15" fmla="*/ 0 h 2553"/>
                  <a:gd name="T16" fmla="*/ 280907 w 2081"/>
                  <a:gd name="T17" fmla="*/ 140278 h 2553"/>
                  <a:gd name="T18" fmla="*/ 280907 w 2081"/>
                  <a:gd name="T19" fmla="*/ 267054 h 2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81" h="2553">
                    <a:moveTo>
                      <a:pt x="2080" y="1978"/>
                    </a:moveTo>
                    <a:lnTo>
                      <a:pt x="2080" y="1978"/>
                    </a:lnTo>
                    <a:cubicBezTo>
                      <a:pt x="2080" y="2552"/>
                      <a:pt x="1613" y="2257"/>
                      <a:pt x="1039" y="2257"/>
                    </a:cubicBezTo>
                    <a:cubicBezTo>
                      <a:pt x="466" y="2257"/>
                      <a:pt x="0" y="2552"/>
                      <a:pt x="0" y="1978"/>
                    </a:cubicBezTo>
                    <a:cubicBezTo>
                      <a:pt x="0" y="1039"/>
                      <a:pt x="0" y="1039"/>
                      <a:pt x="0" y="1039"/>
                    </a:cubicBezTo>
                    <a:cubicBezTo>
                      <a:pt x="0" y="465"/>
                      <a:pt x="466" y="0"/>
                      <a:pt x="1039" y="0"/>
                    </a:cubicBezTo>
                    <a:cubicBezTo>
                      <a:pt x="1613" y="0"/>
                      <a:pt x="2080" y="465"/>
                      <a:pt x="2080" y="1039"/>
                    </a:cubicBezTo>
                    <a:lnTo>
                      <a:pt x="2080" y="1978"/>
                    </a:lnTo>
                  </a:path>
                </a:pathLst>
              </a:custGeom>
              <a:solidFill>
                <a:srgbClr val="451A1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19" name="Freeform 1473">
                <a:extLst>
                  <a:ext uri="{FF2B5EF4-FFF2-40B4-BE49-F238E27FC236}">
                    <a16:creationId xmlns:a16="http://schemas.microsoft.com/office/drawing/2014/main" id="{257D9F19-7EE5-FC40-B501-FECCB926DA40}"/>
                  </a:ext>
                </a:extLst>
              </p:cNvPr>
              <p:cNvSpPr>
                <a:spLocks noChangeArrowheads="1"/>
              </p:cNvSpPr>
              <p:nvPr/>
            </p:nvSpPr>
            <p:spPr bwMode="auto">
              <a:xfrm>
                <a:off x="6121772" y="2605088"/>
                <a:ext cx="286997" cy="286941"/>
              </a:xfrm>
              <a:custGeom>
                <a:avLst/>
                <a:gdLst>
                  <a:gd name="T0" fmla="*/ 286862 w 2124"/>
                  <a:gd name="T1" fmla="*/ 143335 h 2124"/>
                  <a:gd name="T2" fmla="*/ 286862 w 2124"/>
                  <a:gd name="T3" fmla="*/ 143335 h 2124"/>
                  <a:gd name="T4" fmla="*/ 143499 w 2124"/>
                  <a:gd name="T5" fmla="*/ 0 h 2124"/>
                  <a:gd name="T6" fmla="*/ 0 w 2124"/>
                  <a:gd name="T7" fmla="*/ 143335 h 2124"/>
                  <a:gd name="T8" fmla="*/ 143499 w 2124"/>
                  <a:gd name="T9" fmla="*/ 286806 h 2124"/>
                  <a:gd name="T10" fmla="*/ 286862 w 2124"/>
                  <a:gd name="T11" fmla="*/ 143335 h 21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4" h="2124">
                    <a:moveTo>
                      <a:pt x="2123" y="1061"/>
                    </a:moveTo>
                    <a:lnTo>
                      <a:pt x="2123" y="1061"/>
                    </a:lnTo>
                    <a:cubicBezTo>
                      <a:pt x="2123" y="473"/>
                      <a:pt x="1649" y="0"/>
                      <a:pt x="1062" y="0"/>
                    </a:cubicBezTo>
                    <a:cubicBezTo>
                      <a:pt x="474" y="0"/>
                      <a:pt x="0" y="473"/>
                      <a:pt x="0" y="1061"/>
                    </a:cubicBezTo>
                    <a:cubicBezTo>
                      <a:pt x="0" y="1649"/>
                      <a:pt x="474" y="2123"/>
                      <a:pt x="1062" y="2123"/>
                    </a:cubicBezTo>
                    <a:cubicBezTo>
                      <a:pt x="1649" y="2123"/>
                      <a:pt x="2123" y="1649"/>
                      <a:pt x="2123" y="1061"/>
                    </a:cubicBezTo>
                  </a:path>
                </a:pathLst>
              </a:custGeom>
              <a:solidFill>
                <a:srgbClr val="451A1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0" name="Freeform 1474">
                <a:extLst>
                  <a:ext uri="{FF2B5EF4-FFF2-40B4-BE49-F238E27FC236}">
                    <a16:creationId xmlns:a16="http://schemas.microsoft.com/office/drawing/2014/main" id="{206683EE-C6BF-1648-8E71-419C2CCE49FD}"/>
                  </a:ext>
                </a:extLst>
              </p:cNvPr>
              <p:cNvSpPr>
                <a:spLocks noChangeArrowheads="1"/>
              </p:cNvSpPr>
              <p:nvPr/>
            </p:nvSpPr>
            <p:spPr bwMode="auto">
              <a:xfrm>
                <a:off x="6216445" y="2950965"/>
                <a:ext cx="95864" cy="241101"/>
              </a:xfrm>
              <a:custGeom>
                <a:avLst/>
                <a:gdLst>
                  <a:gd name="T0" fmla="*/ 95729 w 711"/>
                  <a:gd name="T1" fmla="*/ 104486 h 1786"/>
                  <a:gd name="T2" fmla="*/ 47325 w 711"/>
                  <a:gd name="T3" fmla="*/ 240966 h 1786"/>
                  <a:gd name="T4" fmla="*/ 0 w 711"/>
                  <a:gd name="T5" fmla="*/ 104486 h 1786"/>
                  <a:gd name="T6" fmla="*/ 0 w 711"/>
                  <a:gd name="T7" fmla="*/ 0 h 1786"/>
                  <a:gd name="T8" fmla="*/ 95729 w 711"/>
                  <a:gd name="T9" fmla="*/ 0 h 1786"/>
                  <a:gd name="T10" fmla="*/ 95729 w 711"/>
                  <a:gd name="T11" fmla="*/ 104486 h 17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1" h="1786">
                    <a:moveTo>
                      <a:pt x="710" y="774"/>
                    </a:moveTo>
                    <a:lnTo>
                      <a:pt x="351" y="1785"/>
                    </a:lnTo>
                    <a:lnTo>
                      <a:pt x="0" y="774"/>
                    </a:lnTo>
                    <a:lnTo>
                      <a:pt x="0" y="0"/>
                    </a:lnTo>
                    <a:lnTo>
                      <a:pt x="710" y="0"/>
                    </a:lnTo>
                    <a:lnTo>
                      <a:pt x="710" y="774"/>
                    </a:lnTo>
                  </a:path>
                </a:pathLst>
              </a:custGeom>
              <a:solidFill>
                <a:srgbClr val="EAC8A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1" name="Freeform 1475">
                <a:extLst>
                  <a:ext uri="{FF2B5EF4-FFF2-40B4-BE49-F238E27FC236}">
                    <a16:creationId xmlns:a16="http://schemas.microsoft.com/office/drawing/2014/main" id="{6087245C-EBE0-3543-8FD8-EB1626FC67D0}"/>
                  </a:ext>
                </a:extLst>
              </p:cNvPr>
              <p:cNvSpPr>
                <a:spLocks noChangeArrowheads="1"/>
              </p:cNvSpPr>
              <p:nvPr/>
            </p:nvSpPr>
            <p:spPr bwMode="auto">
              <a:xfrm>
                <a:off x="6143803" y="2658666"/>
                <a:ext cx="121468" cy="320874"/>
              </a:xfrm>
              <a:custGeom>
                <a:avLst/>
                <a:gdLst>
                  <a:gd name="T0" fmla="*/ 121333 w 898"/>
                  <a:gd name="T1" fmla="*/ 0 h 2375"/>
                  <a:gd name="T2" fmla="*/ 121333 w 898"/>
                  <a:gd name="T3" fmla="*/ 0 h 2375"/>
                  <a:gd name="T4" fmla="*/ 0 w 898"/>
                  <a:gd name="T5" fmla="*/ 151182 h 2375"/>
                  <a:gd name="T6" fmla="*/ 38821 w 898"/>
                  <a:gd name="T7" fmla="*/ 269264 h 2375"/>
                  <a:gd name="T8" fmla="*/ 121333 w 898"/>
                  <a:gd name="T9" fmla="*/ 320739 h 2375"/>
                  <a:gd name="T10" fmla="*/ 121333 w 898"/>
                  <a:gd name="T11" fmla="*/ 0 h 237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8" h="2375">
                    <a:moveTo>
                      <a:pt x="897" y="0"/>
                    </a:moveTo>
                    <a:lnTo>
                      <a:pt x="897" y="0"/>
                    </a:lnTo>
                    <a:cubicBezTo>
                      <a:pt x="552" y="0"/>
                      <a:pt x="0" y="201"/>
                      <a:pt x="0" y="1119"/>
                    </a:cubicBezTo>
                    <a:cubicBezTo>
                      <a:pt x="0" y="1649"/>
                      <a:pt x="208" y="1900"/>
                      <a:pt x="287" y="1993"/>
                    </a:cubicBezTo>
                    <a:cubicBezTo>
                      <a:pt x="352" y="2086"/>
                      <a:pt x="710" y="2374"/>
                      <a:pt x="897" y="2374"/>
                    </a:cubicBezTo>
                    <a:cubicBezTo>
                      <a:pt x="897" y="1441"/>
                      <a:pt x="897" y="0"/>
                      <a:pt x="897" y="0"/>
                    </a:cubicBezTo>
                  </a:path>
                </a:pathLst>
              </a:custGeom>
              <a:solidFill>
                <a:srgbClr val="F2D8B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2" name="Freeform 1476">
                <a:extLst>
                  <a:ext uri="{FF2B5EF4-FFF2-40B4-BE49-F238E27FC236}">
                    <a16:creationId xmlns:a16="http://schemas.microsoft.com/office/drawing/2014/main" id="{36ACF9AA-DAFC-0345-8226-16CB75B64969}"/>
                  </a:ext>
                </a:extLst>
              </p:cNvPr>
              <p:cNvSpPr>
                <a:spLocks noChangeArrowheads="1"/>
              </p:cNvSpPr>
              <p:nvPr/>
            </p:nvSpPr>
            <p:spPr bwMode="auto">
              <a:xfrm>
                <a:off x="6118795" y="2797969"/>
                <a:ext cx="54184" cy="75605"/>
              </a:xfrm>
              <a:custGeom>
                <a:avLst/>
                <a:gdLst>
                  <a:gd name="T0" fmla="*/ 1882 w 403"/>
                  <a:gd name="T1" fmla="*/ 41643 h 561"/>
                  <a:gd name="T2" fmla="*/ 1882 w 403"/>
                  <a:gd name="T3" fmla="*/ 41643 h 561"/>
                  <a:gd name="T4" fmla="*/ 23126 w 403"/>
                  <a:gd name="T5" fmla="*/ 2022 h 561"/>
                  <a:gd name="T6" fmla="*/ 52033 w 403"/>
                  <a:gd name="T7" fmla="*/ 34905 h 561"/>
                  <a:gd name="T8" fmla="*/ 30789 w 403"/>
                  <a:gd name="T9" fmla="*/ 73583 h 561"/>
                  <a:gd name="T10" fmla="*/ 1882 w 403"/>
                  <a:gd name="T11" fmla="*/ 41643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3" h="561">
                    <a:moveTo>
                      <a:pt x="14" y="309"/>
                    </a:moveTo>
                    <a:lnTo>
                      <a:pt x="14" y="309"/>
                    </a:lnTo>
                    <a:cubicBezTo>
                      <a:pt x="0" y="158"/>
                      <a:pt x="71" y="30"/>
                      <a:pt x="172" y="15"/>
                    </a:cubicBezTo>
                    <a:cubicBezTo>
                      <a:pt x="272" y="0"/>
                      <a:pt x="373" y="108"/>
                      <a:pt x="387" y="259"/>
                    </a:cubicBezTo>
                    <a:cubicBezTo>
                      <a:pt x="402" y="402"/>
                      <a:pt x="330" y="532"/>
                      <a:pt x="229" y="546"/>
                    </a:cubicBezTo>
                    <a:cubicBezTo>
                      <a:pt x="129" y="560"/>
                      <a:pt x="36" y="452"/>
                      <a:pt x="14" y="309"/>
                    </a:cubicBezTo>
                  </a:path>
                </a:pathLst>
              </a:custGeom>
              <a:solidFill>
                <a:srgbClr val="F2D8B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3" name="Freeform 1477">
                <a:extLst>
                  <a:ext uri="{FF2B5EF4-FFF2-40B4-BE49-F238E27FC236}">
                    <a16:creationId xmlns:a16="http://schemas.microsoft.com/office/drawing/2014/main" id="{2D290CF5-FF7B-6B4E-A6D1-BD5106F36AD8}"/>
                  </a:ext>
                </a:extLst>
              </p:cNvPr>
              <p:cNvSpPr>
                <a:spLocks noChangeArrowheads="1"/>
              </p:cNvSpPr>
              <p:nvPr/>
            </p:nvSpPr>
            <p:spPr bwMode="auto">
              <a:xfrm>
                <a:off x="6264080" y="2658666"/>
                <a:ext cx="120872" cy="320874"/>
              </a:xfrm>
              <a:custGeom>
                <a:avLst/>
                <a:gdLst>
                  <a:gd name="T0" fmla="*/ 0 w 897"/>
                  <a:gd name="T1" fmla="*/ 0 h 2375"/>
                  <a:gd name="T2" fmla="*/ 0 w 897"/>
                  <a:gd name="T3" fmla="*/ 0 h 2375"/>
                  <a:gd name="T4" fmla="*/ 120737 w 897"/>
                  <a:gd name="T5" fmla="*/ 151182 h 2375"/>
                  <a:gd name="T6" fmla="*/ 82198 w 897"/>
                  <a:gd name="T7" fmla="*/ 269264 h 2375"/>
                  <a:gd name="T8" fmla="*/ 0 w 897"/>
                  <a:gd name="T9" fmla="*/ 320739 h 2375"/>
                  <a:gd name="T10" fmla="*/ 0 w 897"/>
                  <a:gd name="T11" fmla="*/ 0 h 237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97" h="2375">
                    <a:moveTo>
                      <a:pt x="0" y="0"/>
                    </a:moveTo>
                    <a:lnTo>
                      <a:pt x="0" y="0"/>
                    </a:lnTo>
                    <a:cubicBezTo>
                      <a:pt x="344" y="0"/>
                      <a:pt x="896" y="201"/>
                      <a:pt x="896" y="1119"/>
                    </a:cubicBezTo>
                    <a:cubicBezTo>
                      <a:pt x="896" y="1649"/>
                      <a:pt x="688" y="1900"/>
                      <a:pt x="610" y="1993"/>
                    </a:cubicBezTo>
                    <a:cubicBezTo>
                      <a:pt x="545" y="2086"/>
                      <a:pt x="186" y="2374"/>
                      <a:pt x="0" y="2374"/>
                    </a:cubicBezTo>
                    <a:cubicBezTo>
                      <a:pt x="0" y="1441"/>
                      <a:pt x="0" y="0"/>
                      <a:pt x="0" y="0"/>
                    </a:cubicBezTo>
                  </a:path>
                </a:pathLst>
              </a:custGeom>
              <a:solidFill>
                <a:srgbClr val="E9C0A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4" name="Freeform 1478">
                <a:extLst>
                  <a:ext uri="{FF2B5EF4-FFF2-40B4-BE49-F238E27FC236}">
                    <a16:creationId xmlns:a16="http://schemas.microsoft.com/office/drawing/2014/main" id="{98A4A0A8-99D6-5B42-812C-B1240D85F20C}"/>
                  </a:ext>
                </a:extLst>
              </p:cNvPr>
              <p:cNvSpPr>
                <a:spLocks noChangeArrowheads="1"/>
              </p:cNvSpPr>
              <p:nvPr/>
            </p:nvSpPr>
            <p:spPr bwMode="auto">
              <a:xfrm>
                <a:off x="6356371" y="2797969"/>
                <a:ext cx="54184" cy="75605"/>
              </a:xfrm>
              <a:custGeom>
                <a:avLst/>
                <a:gdLst>
                  <a:gd name="T0" fmla="*/ 52033 w 403"/>
                  <a:gd name="T1" fmla="*/ 41643 h 561"/>
                  <a:gd name="T2" fmla="*/ 52033 w 403"/>
                  <a:gd name="T3" fmla="*/ 41643 h 561"/>
                  <a:gd name="T4" fmla="*/ 30789 w 403"/>
                  <a:gd name="T5" fmla="*/ 2022 h 561"/>
                  <a:gd name="T6" fmla="*/ 2823 w 403"/>
                  <a:gd name="T7" fmla="*/ 34905 h 561"/>
                  <a:gd name="T8" fmla="*/ 23126 w 403"/>
                  <a:gd name="T9" fmla="*/ 73583 h 561"/>
                  <a:gd name="T10" fmla="*/ 52033 w 403"/>
                  <a:gd name="T11" fmla="*/ 41643 h 5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3" h="561">
                    <a:moveTo>
                      <a:pt x="387" y="309"/>
                    </a:moveTo>
                    <a:lnTo>
                      <a:pt x="387" y="309"/>
                    </a:lnTo>
                    <a:cubicBezTo>
                      <a:pt x="402" y="158"/>
                      <a:pt x="329" y="30"/>
                      <a:pt x="229" y="15"/>
                    </a:cubicBezTo>
                    <a:cubicBezTo>
                      <a:pt x="129" y="0"/>
                      <a:pt x="36" y="108"/>
                      <a:pt x="21" y="259"/>
                    </a:cubicBezTo>
                    <a:cubicBezTo>
                      <a:pt x="0" y="402"/>
                      <a:pt x="71" y="532"/>
                      <a:pt x="172" y="546"/>
                    </a:cubicBezTo>
                    <a:cubicBezTo>
                      <a:pt x="279" y="560"/>
                      <a:pt x="372" y="452"/>
                      <a:pt x="387" y="309"/>
                    </a:cubicBezTo>
                  </a:path>
                </a:pathLst>
              </a:custGeom>
              <a:solidFill>
                <a:srgbClr val="E9C0A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5" name="Freeform 1479">
                <a:extLst>
                  <a:ext uri="{FF2B5EF4-FFF2-40B4-BE49-F238E27FC236}">
                    <a16:creationId xmlns:a16="http://schemas.microsoft.com/office/drawing/2014/main" id="{7113DE0D-B1F9-2C4F-991C-4E2690D50C2B}"/>
                  </a:ext>
                </a:extLst>
              </p:cNvPr>
              <p:cNvSpPr>
                <a:spLocks noChangeArrowheads="1"/>
              </p:cNvSpPr>
              <p:nvPr/>
            </p:nvSpPr>
            <p:spPr bwMode="auto">
              <a:xfrm>
                <a:off x="6102718" y="2997994"/>
                <a:ext cx="161957" cy="193477"/>
              </a:xfrm>
              <a:custGeom>
                <a:avLst/>
                <a:gdLst>
                  <a:gd name="T0" fmla="*/ 161822 w 1198"/>
                  <a:gd name="T1" fmla="*/ 193342 h 1435"/>
                  <a:gd name="T2" fmla="*/ 161822 w 1198"/>
                  <a:gd name="T3" fmla="*/ 193342 h 1435"/>
                  <a:gd name="T4" fmla="*/ 161822 w 1198"/>
                  <a:gd name="T5" fmla="*/ 62964 h 1435"/>
                  <a:gd name="T6" fmla="*/ 118291 w 1198"/>
                  <a:gd name="T7" fmla="*/ 25078 h 1435"/>
                  <a:gd name="T8" fmla="*/ 114370 w 1198"/>
                  <a:gd name="T9" fmla="*/ 0 h 1435"/>
                  <a:gd name="T10" fmla="*/ 18386 w 1198"/>
                  <a:gd name="T11" fmla="*/ 53122 h 1435"/>
                  <a:gd name="T12" fmla="*/ 0 w 1198"/>
                  <a:gd name="T13" fmla="*/ 193342 h 1435"/>
                  <a:gd name="T14" fmla="*/ 161822 w 1198"/>
                  <a:gd name="T15" fmla="*/ 193342 h 14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8" h="1435">
                    <a:moveTo>
                      <a:pt x="1197" y="1434"/>
                    </a:moveTo>
                    <a:lnTo>
                      <a:pt x="1197" y="1434"/>
                    </a:lnTo>
                    <a:cubicBezTo>
                      <a:pt x="1197" y="467"/>
                      <a:pt x="1197" y="467"/>
                      <a:pt x="1197" y="467"/>
                    </a:cubicBezTo>
                    <a:cubicBezTo>
                      <a:pt x="1197" y="467"/>
                      <a:pt x="933" y="402"/>
                      <a:pt x="875" y="186"/>
                    </a:cubicBezTo>
                    <a:cubicBezTo>
                      <a:pt x="846" y="79"/>
                      <a:pt x="846" y="0"/>
                      <a:pt x="846" y="0"/>
                    </a:cubicBezTo>
                    <a:cubicBezTo>
                      <a:pt x="846" y="0"/>
                      <a:pt x="266" y="194"/>
                      <a:pt x="136" y="394"/>
                    </a:cubicBezTo>
                    <a:cubicBezTo>
                      <a:pt x="28" y="718"/>
                      <a:pt x="0" y="1434"/>
                      <a:pt x="0" y="1434"/>
                    </a:cubicBezTo>
                    <a:lnTo>
                      <a:pt x="1197" y="1434"/>
                    </a:lnTo>
                  </a:path>
                </a:pathLst>
              </a:custGeom>
              <a:solidFill>
                <a:srgbClr val="EAC8A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6" name="Freeform 1480">
                <a:extLst>
                  <a:ext uri="{FF2B5EF4-FFF2-40B4-BE49-F238E27FC236}">
                    <a16:creationId xmlns:a16="http://schemas.microsoft.com/office/drawing/2014/main" id="{9E0A974D-53F0-7D4D-9720-6109CDB64DEF}"/>
                  </a:ext>
                </a:extLst>
              </p:cNvPr>
              <p:cNvSpPr>
                <a:spLocks noChangeArrowheads="1"/>
              </p:cNvSpPr>
              <p:nvPr/>
            </p:nvSpPr>
            <p:spPr bwMode="auto">
              <a:xfrm>
                <a:off x="6264079" y="2997994"/>
                <a:ext cx="161957" cy="193477"/>
              </a:xfrm>
              <a:custGeom>
                <a:avLst/>
                <a:gdLst>
                  <a:gd name="T0" fmla="*/ 0 w 1199"/>
                  <a:gd name="T1" fmla="*/ 193342 h 1435"/>
                  <a:gd name="T2" fmla="*/ 0 w 1199"/>
                  <a:gd name="T3" fmla="*/ 193342 h 1435"/>
                  <a:gd name="T4" fmla="*/ 0 w 1199"/>
                  <a:gd name="T5" fmla="*/ 62964 h 1435"/>
                  <a:gd name="T6" fmla="*/ 43630 w 1199"/>
                  <a:gd name="T7" fmla="*/ 25078 h 1435"/>
                  <a:gd name="T8" fmla="*/ 47547 w 1199"/>
                  <a:gd name="T9" fmla="*/ 0 h 1435"/>
                  <a:gd name="T10" fmla="*/ 143451 w 1199"/>
                  <a:gd name="T11" fmla="*/ 53122 h 1435"/>
                  <a:gd name="T12" fmla="*/ 161822 w 1199"/>
                  <a:gd name="T13" fmla="*/ 193342 h 1435"/>
                  <a:gd name="T14" fmla="*/ 0 w 1199"/>
                  <a:gd name="T15" fmla="*/ 193342 h 14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99" h="1435">
                    <a:moveTo>
                      <a:pt x="0" y="1434"/>
                    </a:moveTo>
                    <a:lnTo>
                      <a:pt x="0" y="1434"/>
                    </a:lnTo>
                    <a:cubicBezTo>
                      <a:pt x="0" y="467"/>
                      <a:pt x="0" y="467"/>
                      <a:pt x="0" y="467"/>
                    </a:cubicBezTo>
                    <a:cubicBezTo>
                      <a:pt x="0" y="467"/>
                      <a:pt x="266" y="402"/>
                      <a:pt x="323" y="186"/>
                    </a:cubicBezTo>
                    <a:cubicBezTo>
                      <a:pt x="352" y="79"/>
                      <a:pt x="352" y="0"/>
                      <a:pt x="352" y="0"/>
                    </a:cubicBezTo>
                    <a:cubicBezTo>
                      <a:pt x="352" y="0"/>
                      <a:pt x="933" y="194"/>
                      <a:pt x="1062" y="394"/>
                    </a:cubicBezTo>
                    <a:cubicBezTo>
                      <a:pt x="1169" y="718"/>
                      <a:pt x="1198" y="1434"/>
                      <a:pt x="1198" y="1434"/>
                    </a:cubicBezTo>
                    <a:lnTo>
                      <a:pt x="0" y="1434"/>
                    </a:lnTo>
                  </a:path>
                </a:pathLst>
              </a:custGeom>
              <a:solidFill>
                <a:srgbClr val="EAC8A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7" name="Freeform 1481">
                <a:extLst>
                  <a:ext uri="{FF2B5EF4-FFF2-40B4-BE49-F238E27FC236}">
                    <a16:creationId xmlns:a16="http://schemas.microsoft.com/office/drawing/2014/main" id="{227876B0-206C-F840-BAE4-9D3FC7249517}"/>
                  </a:ext>
                </a:extLst>
              </p:cNvPr>
              <p:cNvSpPr>
                <a:spLocks noChangeArrowheads="1"/>
              </p:cNvSpPr>
              <p:nvPr/>
            </p:nvSpPr>
            <p:spPr bwMode="auto">
              <a:xfrm>
                <a:off x="6232522" y="2910483"/>
                <a:ext cx="66093" cy="24408"/>
              </a:xfrm>
              <a:custGeom>
                <a:avLst/>
                <a:gdLst>
                  <a:gd name="T0" fmla="*/ 33047 w 488"/>
                  <a:gd name="T1" fmla="*/ 24272 h 179"/>
                  <a:gd name="T2" fmla="*/ 33047 w 488"/>
                  <a:gd name="T3" fmla="*/ 24272 h 179"/>
                  <a:gd name="T4" fmla="*/ 65958 w 488"/>
                  <a:gd name="T5" fmla="*/ 0 h 179"/>
                  <a:gd name="T6" fmla="*/ 0 w 488"/>
                  <a:gd name="T7" fmla="*/ 0 h 179"/>
                  <a:gd name="T8" fmla="*/ 33047 w 488"/>
                  <a:gd name="T9" fmla="*/ 24272 h 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8" h="179">
                    <a:moveTo>
                      <a:pt x="244" y="178"/>
                    </a:moveTo>
                    <a:lnTo>
                      <a:pt x="244" y="178"/>
                    </a:lnTo>
                    <a:cubicBezTo>
                      <a:pt x="372" y="178"/>
                      <a:pt x="487" y="100"/>
                      <a:pt x="487" y="0"/>
                    </a:cubicBezTo>
                    <a:cubicBezTo>
                      <a:pt x="0" y="0"/>
                      <a:pt x="0" y="0"/>
                      <a:pt x="0" y="0"/>
                    </a:cubicBezTo>
                    <a:cubicBezTo>
                      <a:pt x="0" y="100"/>
                      <a:pt x="108" y="178"/>
                      <a:pt x="244" y="178"/>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8" name="Freeform 1482">
                <a:extLst>
                  <a:ext uri="{FF2B5EF4-FFF2-40B4-BE49-F238E27FC236}">
                    <a16:creationId xmlns:a16="http://schemas.microsoft.com/office/drawing/2014/main" id="{13EBE227-B29F-4E47-854D-F98D412D7754}"/>
                  </a:ext>
                </a:extLst>
              </p:cNvPr>
              <p:cNvSpPr>
                <a:spLocks noChangeArrowheads="1"/>
              </p:cNvSpPr>
              <p:nvPr/>
            </p:nvSpPr>
            <p:spPr bwMode="auto">
              <a:xfrm>
                <a:off x="6115818" y="2622352"/>
                <a:ext cx="223881" cy="204192"/>
              </a:xfrm>
              <a:custGeom>
                <a:avLst/>
                <a:gdLst>
                  <a:gd name="T0" fmla="*/ 142322 w 1658"/>
                  <a:gd name="T1" fmla="*/ 0 h 1514"/>
                  <a:gd name="T2" fmla="*/ 142322 w 1658"/>
                  <a:gd name="T3" fmla="*/ 0 h 1514"/>
                  <a:gd name="T4" fmla="*/ 30922 w 1658"/>
                  <a:gd name="T5" fmla="*/ 109244 h 1514"/>
                  <a:gd name="T6" fmla="*/ 57253 w 1658"/>
                  <a:gd name="T7" fmla="*/ 204057 h 1514"/>
                  <a:gd name="T8" fmla="*/ 57253 w 1658"/>
                  <a:gd name="T9" fmla="*/ 182748 h 1514"/>
                  <a:gd name="T10" fmla="*/ 123958 w 1658"/>
                  <a:gd name="T11" fmla="*/ 133521 h 1514"/>
                  <a:gd name="T12" fmla="*/ 200386 w 1658"/>
                  <a:gd name="T13" fmla="*/ 83214 h 1514"/>
                  <a:gd name="T14" fmla="*/ 142322 w 1658"/>
                  <a:gd name="T15" fmla="*/ 0 h 15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58" h="1514">
                    <a:moveTo>
                      <a:pt x="1054" y="0"/>
                    </a:moveTo>
                    <a:lnTo>
                      <a:pt x="1054" y="0"/>
                    </a:lnTo>
                    <a:cubicBezTo>
                      <a:pt x="424" y="0"/>
                      <a:pt x="229" y="559"/>
                      <a:pt x="229" y="810"/>
                    </a:cubicBezTo>
                    <a:cubicBezTo>
                      <a:pt x="0" y="1126"/>
                      <a:pt x="251" y="1412"/>
                      <a:pt x="424" y="1513"/>
                    </a:cubicBezTo>
                    <a:cubicBezTo>
                      <a:pt x="424" y="1455"/>
                      <a:pt x="424" y="1434"/>
                      <a:pt x="424" y="1355"/>
                    </a:cubicBezTo>
                    <a:cubicBezTo>
                      <a:pt x="424" y="1154"/>
                      <a:pt x="625" y="961"/>
                      <a:pt x="918" y="990"/>
                    </a:cubicBezTo>
                    <a:cubicBezTo>
                      <a:pt x="1177" y="1018"/>
                      <a:pt x="1348" y="875"/>
                      <a:pt x="1484" y="617"/>
                    </a:cubicBezTo>
                    <a:cubicBezTo>
                      <a:pt x="1657" y="280"/>
                      <a:pt x="1441" y="0"/>
                      <a:pt x="1054" y="0"/>
                    </a:cubicBezTo>
                  </a:path>
                </a:pathLst>
              </a:custGeom>
              <a:solidFill>
                <a:srgbClr val="451A1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29" name="Freeform 1483">
                <a:extLst>
                  <a:ext uri="{FF2B5EF4-FFF2-40B4-BE49-F238E27FC236}">
                    <a16:creationId xmlns:a16="http://schemas.microsoft.com/office/drawing/2014/main" id="{836592B6-A92E-9749-A847-AAC9B78FC7E5}"/>
                  </a:ext>
                </a:extLst>
              </p:cNvPr>
              <p:cNvSpPr>
                <a:spLocks noChangeArrowheads="1"/>
              </p:cNvSpPr>
              <p:nvPr/>
            </p:nvSpPr>
            <p:spPr bwMode="auto">
              <a:xfrm>
                <a:off x="6312309" y="2637234"/>
                <a:ext cx="89910" cy="162521"/>
              </a:xfrm>
              <a:custGeom>
                <a:avLst/>
                <a:gdLst>
                  <a:gd name="T0" fmla="*/ 0 w 668"/>
                  <a:gd name="T1" fmla="*/ 55028 h 1205"/>
                  <a:gd name="T2" fmla="*/ 0 w 668"/>
                  <a:gd name="T3" fmla="*/ 55028 h 1205"/>
                  <a:gd name="T4" fmla="*/ 74297 w 668"/>
                  <a:gd name="T5" fmla="*/ 162386 h 1205"/>
                  <a:gd name="T6" fmla="*/ 74297 w 668"/>
                  <a:gd name="T7" fmla="*/ 66627 h 1205"/>
                  <a:gd name="T8" fmla="*/ 0 w 668"/>
                  <a:gd name="T9" fmla="*/ 0 h 1205"/>
                  <a:gd name="T10" fmla="*/ 0 w 668"/>
                  <a:gd name="T11" fmla="*/ 55028 h 120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8" h="1205">
                    <a:moveTo>
                      <a:pt x="0" y="408"/>
                    </a:moveTo>
                    <a:lnTo>
                      <a:pt x="0" y="408"/>
                    </a:lnTo>
                    <a:cubicBezTo>
                      <a:pt x="0" y="408"/>
                      <a:pt x="151" y="1003"/>
                      <a:pt x="552" y="1204"/>
                    </a:cubicBezTo>
                    <a:cubicBezTo>
                      <a:pt x="624" y="667"/>
                      <a:pt x="667" y="782"/>
                      <a:pt x="552" y="494"/>
                    </a:cubicBezTo>
                    <a:cubicBezTo>
                      <a:pt x="437" y="215"/>
                      <a:pt x="0" y="0"/>
                      <a:pt x="0" y="0"/>
                    </a:cubicBezTo>
                    <a:lnTo>
                      <a:pt x="0" y="408"/>
                    </a:lnTo>
                  </a:path>
                </a:pathLst>
              </a:custGeom>
              <a:solidFill>
                <a:srgbClr val="451A1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30" name="Freeform 1484">
                <a:extLst>
                  <a:ext uri="{FF2B5EF4-FFF2-40B4-BE49-F238E27FC236}">
                    <a16:creationId xmlns:a16="http://schemas.microsoft.com/office/drawing/2014/main" id="{4FC88812-E183-DF4A-885F-6FCA53E867E9}"/>
                  </a:ext>
                </a:extLst>
              </p:cNvPr>
              <p:cNvSpPr>
                <a:spLocks noChangeArrowheads="1"/>
              </p:cNvSpPr>
              <p:nvPr/>
            </p:nvSpPr>
            <p:spPr bwMode="auto">
              <a:xfrm>
                <a:off x="6102718" y="2997994"/>
                <a:ext cx="161957" cy="193477"/>
              </a:xfrm>
              <a:custGeom>
                <a:avLst/>
                <a:gdLst>
                  <a:gd name="T0" fmla="*/ 161822 w 1198"/>
                  <a:gd name="T1" fmla="*/ 193342 h 1435"/>
                  <a:gd name="T2" fmla="*/ 161822 w 1198"/>
                  <a:gd name="T3" fmla="*/ 193342 h 1435"/>
                  <a:gd name="T4" fmla="*/ 161822 w 1198"/>
                  <a:gd name="T5" fmla="*/ 83188 h 1435"/>
                  <a:gd name="T6" fmla="*/ 114370 w 1198"/>
                  <a:gd name="T7" fmla="*/ 0 h 1435"/>
                  <a:gd name="T8" fmla="*/ 18386 w 1198"/>
                  <a:gd name="T9" fmla="*/ 53122 h 1435"/>
                  <a:gd name="T10" fmla="*/ 0 w 1198"/>
                  <a:gd name="T11" fmla="*/ 193342 h 1435"/>
                  <a:gd name="T12" fmla="*/ 161822 w 1198"/>
                  <a:gd name="T13" fmla="*/ 193342 h 14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8" h="1435">
                    <a:moveTo>
                      <a:pt x="1197" y="1434"/>
                    </a:moveTo>
                    <a:lnTo>
                      <a:pt x="1197" y="1434"/>
                    </a:lnTo>
                    <a:cubicBezTo>
                      <a:pt x="1197" y="617"/>
                      <a:pt x="1197" y="617"/>
                      <a:pt x="1197" y="617"/>
                    </a:cubicBezTo>
                    <a:cubicBezTo>
                      <a:pt x="846" y="0"/>
                      <a:pt x="846" y="0"/>
                      <a:pt x="846" y="0"/>
                    </a:cubicBezTo>
                    <a:cubicBezTo>
                      <a:pt x="846" y="0"/>
                      <a:pt x="266" y="194"/>
                      <a:pt x="136" y="394"/>
                    </a:cubicBezTo>
                    <a:cubicBezTo>
                      <a:pt x="28" y="718"/>
                      <a:pt x="0" y="1434"/>
                      <a:pt x="0" y="1434"/>
                    </a:cubicBezTo>
                    <a:lnTo>
                      <a:pt x="1197" y="143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31" name="Freeform 1485">
                <a:extLst>
                  <a:ext uri="{FF2B5EF4-FFF2-40B4-BE49-F238E27FC236}">
                    <a16:creationId xmlns:a16="http://schemas.microsoft.com/office/drawing/2014/main" id="{495BE5F1-A9F6-F245-B99A-3F3CD07B5C61}"/>
                  </a:ext>
                </a:extLst>
              </p:cNvPr>
              <p:cNvSpPr>
                <a:spLocks noChangeArrowheads="1"/>
              </p:cNvSpPr>
              <p:nvPr/>
            </p:nvSpPr>
            <p:spPr bwMode="auto">
              <a:xfrm>
                <a:off x="6264079" y="2997994"/>
                <a:ext cx="161957" cy="193477"/>
              </a:xfrm>
              <a:custGeom>
                <a:avLst/>
                <a:gdLst>
                  <a:gd name="T0" fmla="*/ 0 w 1199"/>
                  <a:gd name="T1" fmla="*/ 193342 h 1435"/>
                  <a:gd name="T2" fmla="*/ 0 w 1199"/>
                  <a:gd name="T3" fmla="*/ 193342 h 1435"/>
                  <a:gd name="T4" fmla="*/ 0 w 1199"/>
                  <a:gd name="T5" fmla="*/ 83188 h 1435"/>
                  <a:gd name="T6" fmla="*/ 47547 w 1199"/>
                  <a:gd name="T7" fmla="*/ 0 h 1435"/>
                  <a:gd name="T8" fmla="*/ 143451 w 1199"/>
                  <a:gd name="T9" fmla="*/ 53122 h 1435"/>
                  <a:gd name="T10" fmla="*/ 161822 w 1199"/>
                  <a:gd name="T11" fmla="*/ 193342 h 1435"/>
                  <a:gd name="T12" fmla="*/ 0 w 1199"/>
                  <a:gd name="T13" fmla="*/ 193342 h 14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99" h="1435">
                    <a:moveTo>
                      <a:pt x="0" y="1434"/>
                    </a:moveTo>
                    <a:lnTo>
                      <a:pt x="0" y="1434"/>
                    </a:lnTo>
                    <a:cubicBezTo>
                      <a:pt x="0" y="617"/>
                      <a:pt x="0" y="617"/>
                      <a:pt x="0" y="617"/>
                    </a:cubicBezTo>
                    <a:cubicBezTo>
                      <a:pt x="352" y="0"/>
                      <a:pt x="352" y="0"/>
                      <a:pt x="352" y="0"/>
                    </a:cubicBezTo>
                    <a:cubicBezTo>
                      <a:pt x="352" y="0"/>
                      <a:pt x="933" y="194"/>
                      <a:pt x="1062" y="394"/>
                    </a:cubicBezTo>
                    <a:cubicBezTo>
                      <a:pt x="1169" y="718"/>
                      <a:pt x="1198" y="1434"/>
                      <a:pt x="1198" y="1434"/>
                    </a:cubicBezTo>
                    <a:lnTo>
                      <a:pt x="0" y="1434"/>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32" name="Freeform 1486">
                <a:extLst>
                  <a:ext uri="{FF2B5EF4-FFF2-40B4-BE49-F238E27FC236}">
                    <a16:creationId xmlns:a16="http://schemas.microsoft.com/office/drawing/2014/main" id="{3E9B6739-DF37-3443-B8C0-554DA8723E27}"/>
                  </a:ext>
                </a:extLst>
              </p:cNvPr>
              <p:cNvSpPr>
                <a:spLocks noChangeArrowheads="1"/>
              </p:cNvSpPr>
              <p:nvPr/>
            </p:nvSpPr>
            <p:spPr bwMode="auto">
              <a:xfrm>
                <a:off x="6172979" y="2997994"/>
                <a:ext cx="91101" cy="97036"/>
              </a:xfrm>
              <a:custGeom>
                <a:avLst/>
                <a:gdLst>
                  <a:gd name="T0" fmla="*/ 90966 w 674"/>
                  <a:gd name="T1" fmla="*/ 83270 h 719"/>
                  <a:gd name="T2" fmla="*/ 43523 w 674"/>
                  <a:gd name="T3" fmla="*/ 0 h 719"/>
                  <a:gd name="T4" fmla="*/ 0 w 674"/>
                  <a:gd name="T5" fmla="*/ 13631 h 719"/>
                  <a:gd name="T6" fmla="*/ 36765 w 674"/>
                  <a:gd name="T7" fmla="*/ 96901 h 719"/>
                  <a:gd name="T8" fmla="*/ 90966 w 674"/>
                  <a:gd name="T9" fmla="*/ 83270 h 7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74" h="719">
                    <a:moveTo>
                      <a:pt x="673" y="617"/>
                    </a:moveTo>
                    <a:lnTo>
                      <a:pt x="322" y="0"/>
                    </a:lnTo>
                    <a:lnTo>
                      <a:pt x="0" y="101"/>
                    </a:lnTo>
                    <a:lnTo>
                      <a:pt x="272" y="718"/>
                    </a:lnTo>
                    <a:lnTo>
                      <a:pt x="673" y="617"/>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sp>
            <p:nvSpPr>
              <p:cNvPr id="33" name="Freeform 1487">
                <a:extLst>
                  <a:ext uri="{FF2B5EF4-FFF2-40B4-BE49-F238E27FC236}">
                    <a16:creationId xmlns:a16="http://schemas.microsoft.com/office/drawing/2014/main" id="{F2D3F055-669A-6E4A-961D-007ADE492C1E}"/>
                  </a:ext>
                </a:extLst>
              </p:cNvPr>
              <p:cNvSpPr>
                <a:spLocks noChangeArrowheads="1"/>
              </p:cNvSpPr>
              <p:nvPr/>
            </p:nvSpPr>
            <p:spPr bwMode="auto">
              <a:xfrm>
                <a:off x="6264080" y="2997994"/>
                <a:ext cx="91100" cy="97036"/>
              </a:xfrm>
              <a:custGeom>
                <a:avLst/>
                <a:gdLst>
                  <a:gd name="T0" fmla="*/ 0 w 676"/>
                  <a:gd name="T1" fmla="*/ 83270 h 719"/>
                  <a:gd name="T2" fmla="*/ 47437 w 676"/>
                  <a:gd name="T3" fmla="*/ 0 h 719"/>
                  <a:gd name="T4" fmla="*/ 90965 w 676"/>
                  <a:gd name="T5" fmla="*/ 13631 h 719"/>
                  <a:gd name="T6" fmla="*/ 54175 w 676"/>
                  <a:gd name="T7" fmla="*/ 96901 h 719"/>
                  <a:gd name="T8" fmla="*/ 0 w 676"/>
                  <a:gd name="T9" fmla="*/ 83270 h 7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76" h="719">
                    <a:moveTo>
                      <a:pt x="0" y="617"/>
                    </a:moveTo>
                    <a:lnTo>
                      <a:pt x="352" y="0"/>
                    </a:lnTo>
                    <a:lnTo>
                      <a:pt x="675" y="101"/>
                    </a:lnTo>
                    <a:lnTo>
                      <a:pt x="402" y="718"/>
                    </a:lnTo>
                    <a:lnTo>
                      <a:pt x="0" y="617"/>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45720" tIns="22860" rIns="45720" bIns="22860" anchor="ctr"/>
              <a:lstStyle/>
              <a:p>
                <a:pPr defTabSz="457178"/>
                <a:endParaRPr lang="en-US" sz="2400">
                  <a:solidFill>
                    <a:srgbClr val="000000"/>
                  </a:solidFill>
                  <a:latin typeface="Arial"/>
                </a:endParaRPr>
              </a:p>
            </p:txBody>
          </p:sp>
        </p:grpSp>
      </p:grpSp>
      <p:sp>
        <p:nvSpPr>
          <p:cNvPr id="60" name="TextBox 59">
            <a:extLst>
              <a:ext uri="{FF2B5EF4-FFF2-40B4-BE49-F238E27FC236}">
                <a16:creationId xmlns:a16="http://schemas.microsoft.com/office/drawing/2014/main" id="{FC2B0C43-ADC2-4B44-9F37-813E9207D4BC}"/>
              </a:ext>
            </a:extLst>
          </p:cNvPr>
          <p:cNvSpPr txBox="1"/>
          <p:nvPr/>
        </p:nvSpPr>
        <p:spPr>
          <a:xfrm>
            <a:off x="3873820" y="2952476"/>
            <a:ext cx="1092228" cy="501932"/>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Design territories and allocate reps</a:t>
            </a:r>
          </a:p>
        </p:txBody>
      </p:sp>
      <p:sp>
        <p:nvSpPr>
          <p:cNvPr id="61" name="TextBox 60">
            <a:extLst>
              <a:ext uri="{FF2B5EF4-FFF2-40B4-BE49-F238E27FC236}">
                <a16:creationId xmlns:a16="http://schemas.microsoft.com/office/drawing/2014/main" id="{1C8E3EBA-8857-DF4E-B95A-135FBDD25CE6}"/>
              </a:ext>
            </a:extLst>
          </p:cNvPr>
          <p:cNvSpPr txBox="1"/>
          <p:nvPr/>
        </p:nvSpPr>
        <p:spPr>
          <a:xfrm>
            <a:off x="6755494" y="3403038"/>
            <a:ext cx="699394"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Sales coaching</a:t>
            </a:r>
          </a:p>
        </p:txBody>
      </p:sp>
      <p:sp>
        <p:nvSpPr>
          <p:cNvPr id="63" name="TextBox 62">
            <a:extLst>
              <a:ext uri="{FF2B5EF4-FFF2-40B4-BE49-F238E27FC236}">
                <a16:creationId xmlns:a16="http://schemas.microsoft.com/office/drawing/2014/main" id="{C721A281-FC19-C94C-BDFC-9542B2FB90E7}"/>
              </a:ext>
            </a:extLst>
          </p:cNvPr>
          <p:cNvSpPr txBox="1"/>
          <p:nvPr/>
        </p:nvSpPr>
        <p:spPr>
          <a:xfrm>
            <a:off x="1412171" y="2375425"/>
            <a:ext cx="900831" cy="36651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Set brand strategy</a:t>
            </a:r>
          </a:p>
        </p:txBody>
      </p:sp>
      <p:sp>
        <p:nvSpPr>
          <p:cNvPr id="68" name="TextBox 67">
            <a:extLst>
              <a:ext uri="{FF2B5EF4-FFF2-40B4-BE49-F238E27FC236}">
                <a16:creationId xmlns:a16="http://schemas.microsoft.com/office/drawing/2014/main" id="{D099E6AC-7B5A-B84E-BD28-31D03E34521E}"/>
              </a:ext>
            </a:extLst>
          </p:cNvPr>
          <p:cNvSpPr txBox="1"/>
          <p:nvPr/>
        </p:nvSpPr>
        <p:spPr>
          <a:xfrm rot="16200000">
            <a:off x="-5917" y="3581119"/>
            <a:ext cx="821635" cy="36651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100"/>
              <a:t>Field Manager</a:t>
            </a:r>
          </a:p>
        </p:txBody>
      </p:sp>
      <p:sp>
        <p:nvSpPr>
          <p:cNvPr id="82" name="TextBox 81">
            <a:extLst>
              <a:ext uri="{FF2B5EF4-FFF2-40B4-BE49-F238E27FC236}">
                <a16:creationId xmlns:a16="http://schemas.microsoft.com/office/drawing/2014/main" id="{05C33D5B-491B-2B44-A605-F79841ED5333}"/>
              </a:ext>
            </a:extLst>
          </p:cNvPr>
          <p:cNvSpPr txBox="1"/>
          <p:nvPr/>
        </p:nvSpPr>
        <p:spPr>
          <a:xfrm>
            <a:off x="2310745" y="2248478"/>
            <a:ext cx="990051" cy="501932"/>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Define HCP attitudinal segments</a:t>
            </a:r>
          </a:p>
        </p:txBody>
      </p:sp>
      <p:sp>
        <p:nvSpPr>
          <p:cNvPr id="85" name="TextBox 84">
            <a:extLst>
              <a:ext uri="{FF2B5EF4-FFF2-40B4-BE49-F238E27FC236}">
                <a16:creationId xmlns:a16="http://schemas.microsoft.com/office/drawing/2014/main" id="{A72DB0B8-A0BD-044B-8C06-068BE504ADC2}"/>
              </a:ext>
            </a:extLst>
          </p:cNvPr>
          <p:cNvSpPr txBox="1"/>
          <p:nvPr/>
        </p:nvSpPr>
        <p:spPr>
          <a:xfrm>
            <a:off x="3326821" y="2254246"/>
            <a:ext cx="817245" cy="483337"/>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Define go to market strategy</a:t>
            </a:r>
          </a:p>
        </p:txBody>
      </p:sp>
      <p:sp>
        <p:nvSpPr>
          <p:cNvPr id="88" name="Oval 87">
            <a:extLst>
              <a:ext uri="{FF2B5EF4-FFF2-40B4-BE49-F238E27FC236}">
                <a16:creationId xmlns:a16="http://schemas.microsoft.com/office/drawing/2014/main" id="{1A815A49-26B4-2F47-AB47-DB42F0C9E39A}"/>
              </a:ext>
            </a:extLst>
          </p:cNvPr>
          <p:cNvSpPr/>
          <p:nvPr/>
        </p:nvSpPr>
        <p:spPr>
          <a:xfrm>
            <a:off x="4743303" y="3705251"/>
            <a:ext cx="188579" cy="188579"/>
          </a:xfrm>
          <a:prstGeom prst="ellipse">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E6B6624D-5C28-9141-AA8F-D21E8A4CC240}"/>
              </a:ext>
            </a:extLst>
          </p:cNvPr>
          <p:cNvSpPr txBox="1"/>
          <p:nvPr/>
        </p:nvSpPr>
        <p:spPr>
          <a:xfrm>
            <a:off x="4403509" y="3909390"/>
            <a:ext cx="894260"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Set incentive comp plan</a:t>
            </a:r>
          </a:p>
        </p:txBody>
      </p:sp>
      <p:sp>
        <p:nvSpPr>
          <p:cNvPr id="107" name="TextBox 106">
            <a:extLst>
              <a:ext uri="{FF2B5EF4-FFF2-40B4-BE49-F238E27FC236}">
                <a16:creationId xmlns:a16="http://schemas.microsoft.com/office/drawing/2014/main" id="{0E9F6F0B-DABF-3842-B2A0-2797487500A1}"/>
              </a:ext>
            </a:extLst>
          </p:cNvPr>
          <p:cNvSpPr txBox="1"/>
          <p:nvPr/>
        </p:nvSpPr>
        <p:spPr>
          <a:xfrm>
            <a:off x="9410306" y="3930547"/>
            <a:ext cx="935413"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Track performance</a:t>
            </a:r>
          </a:p>
        </p:txBody>
      </p:sp>
      <p:sp>
        <p:nvSpPr>
          <p:cNvPr id="114" name="TextBox 113">
            <a:extLst>
              <a:ext uri="{FF2B5EF4-FFF2-40B4-BE49-F238E27FC236}">
                <a16:creationId xmlns:a16="http://schemas.microsoft.com/office/drawing/2014/main" id="{49291E9D-5266-D744-A0BA-50E788443334}"/>
              </a:ext>
            </a:extLst>
          </p:cNvPr>
          <p:cNvSpPr txBox="1"/>
          <p:nvPr/>
        </p:nvSpPr>
        <p:spPr>
          <a:xfrm>
            <a:off x="10725746" y="2967391"/>
            <a:ext cx="761389" cy="483337"/>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Analyze next best action</a:t>
            </a:r>
          </a:p>
        </p:txBody>
      </p:sp>
      <p:sp>
        <p:nvSpPr>
          <p:cNvPr id="116" name="Rectangle 115">
            <a:extLst>
              <a:ext uri="{FF2B5EF4-FFF2-40B4-BE49-F238E27FC236}">
                <a16:creationId xmlns:a16="http://schemas.microsoft.com/office/drawing/2014/main" id="{BB1A5A8A-86B2-2846-8B0D-EFB61BA58FA6}"/>
              </a:ext>
            </a:extLst>
          </p:cNvPr>
          <p:cNvSpPr/>
          <p:nvPr/>
        </p:nvSpPr>
        <p:spPr>
          <a:xfrm>
            <a:off x="1548914" y="1934148"/>
            <a:ext cx="592669" cy="2689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START</a:t>
            </a:r>
          </a:p>
        </p:txBody>
      </p:sp>
      <p:sp>
        <p:nvSpPr>
          <p:cNvPr id="117" name="Rectangle 116">
            <a:extLst>
              <a:ext uri="{FF2B5EF4-FFF2-40B4-BE49-F238E27FC236}">
                <a16:creationId xmlns:a16="http://schemas.microsoft.com/office/drawing/2014/main" id="{E14F9631-7590-604E-9C32-06D0AA633610}"/>
              </a:ext>
            </a:extLst>
          </p:cNvPr>
          <p:cNvSpPr/>
          <p:nvPr/>
        </p:nvSpPr>
        <p:spPr>
          <a:xfrm>
            <a:off x="10512304" y="2065809"/>
            <a:ext cx="592669" cy="2689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FINISH</a:t>
            </a:r>
          </a:p>
        </p:txBody>
      </p:sp>
      <p:cxnSp>
        <p:nvCxnSpPr>
          <p:cNvPr id="69" name="Straight Connector 68">
            <a:extLst>
              <a:ext uri="{FF2B5EF4-FFF2-40B4-BE49-F238E27FC236}">
                <a16:creationId xmlns:a16="http://schemas.microsoft.com/office/drawing/2014/main" id="{D0377A44-F60D-2348-B6A4-ED794D39AE5F}"/>
              </a:ext>
            </a:extLst>
          </p:cNvPr>
          <p:cNvCxnSpPr>
            <a:cxnSpLocks/>
            <a:stCxn id="37" idx="6"/>
          </p:cNvCxnSpPr>
          <p:nvPr/>
        </p:nvCxnSpPr>
        <p:spPr>
          <a:xfrm flipV="1">
            <a:off x="1943100" y="2834791"/>
            <a:ext cx="3462968" cy="91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8" name="Elbow Connector 117">
            <a:extLst>
              <a:ext uri="{FF2B5EF4-FFF2-40B4-BE49-F238E27FC236}">
                <a16:creationId xmlns:a16="http://schemas.microsoft.com/office/drawing/2014/main" id="{E697CDED-A9B1-9940-B9CC-97CABF2F8F84}"/>
              </a:ext>
            </a:extLst>
          </p:cNvPr>
          <p:cNvCxnSpPr>
            <a:cxnSpLocks/>
            <a:stCxn id="96" idx="6"/>
            <a:endCxn id="73" idx="0"/>
          </p:cNvCxnSpPr>
          <p:nvPr/>
        </p:nvCxnSpPr>
        <p:spPr>
          <a:xfrm>
            <a:off x="5533103" y="2843947"/>
            <a:ext cx="194876" cy="861304"/>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5" name="Elbow Connector 124">
            <a:extLst>
              <a:ext uri="{FF2B5EF4-FFF2-40B4-BE49-F238E27FC236}">
                <a16:creationId xmlns:a16="http://schemas.microsoft.com/office/drawing/2014/main" id="{34FDA024-5D36-B546-B980-72376045F908}"/>
              </a:ext>
            </a:extLst>
          </p:cNvPr>
          <p:cNvCxnSpPr>
            <a:cxnSpLocks/>
            <a:stCxn id="73" idx="4"/>
            <a:endCxn id="102" idx="0"/>
          </p:cNvCxnSpPr>
          <p:nvPr/>
        </p:nvCxnSpPr>
        <p:spPr>
          <a:xfrm rot="5400000">
            <a:off x="4689676" y="3498911"/>
            <a:ext cx="643384" cy="1433223"/>
          </a:xfrm>
          <a:prstGeom prst="bentConnector3">
            <a:avLst>
              <a:gd name="adj1" fmla="val 6639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D7295971-99F8-F442-9BDB-E36FE16234B1}"/>
              </a:ext>
            </a:extLst>
          </p:cNvPr>
          <p:cNvCxnSpPr>
            <a:cxnSpLocks/>
            <a:stCxn id="102" idx="6"/>
            <a:endCxn id="207" idx="2"/>
          </p:cNvCxnSpPr>
          <p:nvPr/>
        </p:nvCxnSpPr>
        <p:spPr>
          <a:xfrm flipV="1">
            <a:off x="4389045" y="4630156"/>
            <a:ext cx="6626234" cy="134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F839E4C6-9AED-5449-BB30-73C8F3C627A1}"/>
              </a:ext>
            </a:extLst>
          </p:cNvPr>
          <p:cNvCxnSpPr>
            <a:cxnSpLocks/>
            <a:endCxn id="77" idx="0"/>
          </p:cNvCxnSpPr>
          <p:nvPr/>
        </p:nvCxnSpPr>
        <p:spPr>
          <a:xfrm>
            <a:off x="7145387" y="3691614"/>
            <a:ext cx="3889" cy="8456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D506D56E-466D-394F-84D0-6AC0E72288EF}"/>
              </a:ext>
            </a:extLst>
          </p:cNvPr>
          <p:cNvSpPr txBox="1"/>
          <p:nvPr/>
        </p:nvSpPr>
        <p:spPr>
          <a:xfrm>
            <a:off x="6795795" y="5600347"/>
            <a:ext cx="781484"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HCP response</a:t>
            </a:r>
          </a:p>
        </p:txBody>
      </p:sp>
      <p:sp>
        <p:nvSpPr>
          <p:cNvPr id="137" name="TextBox 136">
            <a:extLst>
              <a:ext uri="{FF2B5EF4-FFF2-40B4-BE49-F238E27FC236}">
                <a16:creationId xmlns:a16="http://schemas.microsoft.com/office/drawing/2014/main" id="{50F9414A-8515-3F47-8C00-BB107F36C789}"/>
              </a:ext>
            </a:extLst>
          </p:cNvPr>
          <p:cNvSpPr txBox="1"/>
          <p:nvPr/>
        </p:nvSpPr>
        <p:spPr>
          <a:xfrm>
            <a:off x="4578534" y="5590902"/>
            <a:ext cx="781484"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HCP accepts</a:t>
            </a:r>
          </a:p>
        </p:txBody>
      </p:sp>
      <p:cxnSp>
        <p:nvCxnSpPr>
          <p:cNvPr id="141" name="Elbow Connector 140">
            <a:extLst>
              <a:ext uri="{FF2B5EF4-FFF2-40B4-BE49-F238E27FC236}">
                <a16:creationId xmlns:a16="http://schemas.microsoft.com/office/drawing/2014/main" id="{A26F4AC8-BC6A-7B4B-A31A-E508DCF978FF}"/>
              </a:ext>
            </a:extLst>
          </p:cNvPr>
          <p:cNvCxnSpPr>
            <a:cxnSpLocks/>
            <a:stCxn id="110" idx="6"/>
            <a:endCxn id="136" idx="6"/>
          </p:cNvCxnSpPr>
          <p:nvPr/>
        </p:nvCxnSpPr>
        <p:spPr>
          <a:xfrm>
            <a:off x="7223422" y="2843947"/>
            <a:ext cx="20143" cy="2628341"/>
          </a:xfrm>
          <a:prstGeom prst="bentConnector3">
            <a:avLst>
              <a:gd name="adj1" fmla="val 1234886"/>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FCD4C147-5B43-AD4F-B4C2-3CC71B215E8E}"/>
              </a:ext>
            </a:extLst>
          </p:cNvPr>
          <p:cNvCxnSpPr>
            <a:cxnSpLocks/>
          </p:cNvCxnSpPr>
          <p:nvPr/>
        </p:nvCxnSpPr>
        <p:spPr>
          <a:xfrm>
            <a:off x="7223422" y="2843946"/>
            <a:ext cx="378091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3" name="Elbow Connector 152">
            <a:extLst>
              <a:ext uri="{FF2B5EF4-FFF2-40B4-BE49-F238E27FC236}">
                <a16:creationId xmlns:a16="http://schemas.microsoft.com/office/drawing/2014/main" id="{6876E8A7-1C66-284F-960E-209BD08AC2A1}"/>
              </a:ext>
            </a:extLst>
          </p:cNvPr>
          <p:cNvCxnSpPr>
            <a:cxnSpLocks/>
            <a:stCxn id="95" idx="2"/>
            <a:endCxn id="80" idx="0"/>
          </p:cNvCxnSpPr>
          <p:nvPr/>
        </p:nvCxnSpPr>
        <p:spPr>
          <a:xfrm rot="10800000" flipV="1">
            <a:off x="8895365" y="3799540"/>
            <a:ext cx="879008" cy="737673"/>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CAAE7AAC-9952-1B44-A086-8A3A3B4E326B}"/>
              </a:ext>
            </a:extLst>
          </p:cNvPr>
          <p:cNvCxnSpPr>
            <a:cxnSpLocks/>
            <a:stCxn id="98" idx="4"/>
            <a:endCxn id="138" idx="0"/>
          </p:cNvCxnSpPr>
          <p:nvPr/>
        </p:nvCxnSpPr>
        <p:spPr>
          <a:xfrm flipH="1">
            <a:off x="4974877" y="4725793"/>
            <a:ext cx="8357" cy="6427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88A6030E-3B3E-E54F-B56D-3200F6961E55}"/>
              </a:ext>
            </a:extLst>
          </p:cNvPr>
          <p:cNvCxnSpPr>
            <a:cxnSpLocks/>
            <a:stCxn id="77" idx="4"/>
            <a:endCxn id="136" idx="0"/>
          </p:cNvCxnSpPr>
          <p:nvPr/>
        </p:nvCxnSpPr>
        <p:spPr>
          <a:xfrm>
            <a:off x="7149276" y="4725793"/>
            <a:ext cx="0" cy="65220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880DDE9F-E70B-4042-914F-7A3899C0CEE3}"/>
              </a:ext>
            </a:extLst>
          </p:cNvPr>
          <p:cNvSpPr txBox="1"/>
          <p:nvPr/>
        </p:nvSpPr>
        <p:spPr>
          <a:xfrm>
            <a:off x="5188801" y="5600347"/>
            <a:ext cx="781484"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HCP triggered</a:t>
            </a:r>
          </a:p>
        </p:txBody>
      </p:sp>
      <p:sp>
        <p:nvSpPr>
          <p:cNvPr id="37" name="Oval 36">
            <a:extLst>
              <a:ext uri="{FF2B5EF4-FFF2-40B4-BE49-F238E27FC236}">
                <a16:creationId xmlns:a16="http://schemas.microsoft.com/office/drawing/2014/main" id="{C087E7A3-928B-D44D-BA4E-059294CF166F}"/>
              </a:ext>
            </a:extLst>
          </p:cNvPr>
          <p:cNvSpPr/>
          <p:nvPr/>
        </p:nvSpPr>
        <p:spPr>
          <a:xfrm>
            <a:off x="1754521" y="2749657"/>
            <a:ext cx="188579" cy="188579"/>
          </a:xfrm>
          <a:prstGeom prst="ellipse">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5092AD17-CF72-624A-A3CD-CE605F102E34}"/>
              </a:ext>
            </a:extLst>
          </p:cNvPr>
          <p:cNvSpPr/>
          <p:nvPr/>
        </p:nvSpPr>
        <p:spPr>
          <a:xfrm>
            <a:off x="2688452" y="2749657"/>
            <a:ext cx="188579" cy="188579"/>
          </a:xfrm>
          <a:prstGeom prst="ellipse">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8E511DE9-7360-314B-8246-437B019B7A6F}"/>
              </a:ext>
            </a:extLst>
          </p:cNvPr>
          <p:cNvSpPr/>
          <p:nvPr/>
        </p:nvSpPr>
        <p:spPr>
          <a:xfrm>
            <a:off x="3183752" y="2749657"/>
            <a:ext cx="188579" cy="188579"/>
          </a:xfrm>
          <a:prstGeom prst="ellipse">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97C542BD-26DA-C345-8A36-0DA97E6FA16F}"/>
              </a:ext>
            </a:extLst>
          </p:cNvPr>
          <p:cNvSpPr/>
          <p:nvPr/>
        </p:nvSpPr>
        <p:spPr>
          <a:xfrm>
            <a:off x="5633689" y="3705251"/>
            <a:ext cx="188579" cy="18857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17C16529-169A-4F4E-B40F-4AD2289F410D}"/>
              </a:ext>
            </a:extLst>
          </p:cNvPr>
          <p:cNvSpPr/>
          <p:nvPr/>
        </p:nvSpPr>
        <p:spPr>
          <a:xfrm>
            <a:off x="7054986" y="4537214"/>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0E54C406-E0B5-8248-8E25-650239C77385}"/>
              </a:ext>
            </a:extLst>
          </p:cNvPr>
          <p:cNvSpPr/>
          <p:nvPr/>
        </p:nvSpPr>
        <p:spPr>
          <a:xfrm>
            <a:off x="7896200" y="4537214"/>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C882CD8C-280E-FE42-98AD-4D915D33EFD9}"/>
              </a:ext>
            </a:extLst>
          </p:cNvPr>
          <p:cNvSpPr/>
          <p:nvPr/>
        </p:nvSpPr>
        <p:spPr>
          <a:xfrm>
            <a:off x="3650477" y="2749657"/>
            <a:ext cx="188579" cy="188579"/>
          </a:xfrm>
          <a:prstGeom prst="ellipse">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BFF0EA15-3DE3-174C-88F4-85593357BB84}"/>
              </a:ext>
            </a:extLst>
          </p:cNvPr>
          <p:cNvSpPr/>
          <p:nvPr/>
        </p:nvSpPr>
        <p:spPr>
          <a:xfrm>
            <a:off x="4891718" y="2749657"/>
            <a:ext cx="188579" cy="18857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4B8F6E30-6FF7-D540-B3D8-F91E1F325B60}"/>
              </a:ext>
            </a:extLst>
          </p:cNvPr>
          <p:cNvSpPr/>
          <p:nvPr/>
        </p:nvSpPr>
        <p:spPr>
          <a:xfrm>
            <a:off x="4345418" y="2749657"/>
            <a:ext cx="188579" cy="188579"/>
          </a:xfrm>
          <a:prstGeom prst="ellipse">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5C858144-DFCE-F640-A862-A52F76DAEAF1}"/>
              </a:ext>
            </a:extLst>
          </p:cNvPr>
          <p:cNvSpPr/>
          <p:nvPr/>
        </p:nvSpPr>
        <p:spPr>
          <a:xfrm>
            <a:off x="9619288" y="4547847"/>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74E96D92-257E-2A4C-9337-61C4FCF5E47A}"/>
              </a:ext>
            </a:extLst>
          </p:cNvPr>
          <p:cNvSpPr/>
          <p:nvPr/>
        </p:nvSpPr>
        <p:spPr>
          <a:xfrm>
            <a:off x="10320715" y="4537214"/>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B34CFF25-E355-124B-A0A0-DA96CEA4BA4A}"/>
              </a:ext>
            </a:extLst>
          </p:cNvPr>
          <p:cNvSpPr/>
          <p:nvPr/>
        </p:nvSpPr>
        <p:spPr>
          <a:xfrm>
            <a:off x="7054986" y="3705251"/>
            <a:ext cx="188579" cy="188579"/>
          </a:xfrm>
          <a:prstGeom prst="ellipse">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BC7DD04D-C855-B143-88AF-E916A6605B08}"/>
              </a:ext>
            </a:extLst>
          </p:cNvPr>
          <p:cNvSpPr/>
          <p:nvPr/>
        </p:nvSpPr>
        <p:spPr>
          <a:xfrm>
            <a:off x="9774373" y="3705251"/>
            <a:ext cx="188579" cy="188579"/>
          </a:xfrm>
          <a:prstGeom prst="ellipse">
            <a:avLst/>
          </a:prstGeom>
          <a:pattFill prst="ltUpDiag">
            <a:fgClr>
              <a:schemeClr val="tx2"/>
            </a:fgClr>
            <a:bgClr>
              <a:schemeClr val="bg1"/>
            </a:bgClr>
          </a:patt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5455CDB7-B82A-F74B-8166-F4FF9EBFA3D6}"/>
              </a:ext>
            </a:extLst>
          </p:cNvPr>
          <p:cNvSpPr/>
          <p:nvPr/>
        </p:nvSpPr>
        <p:spPr>
          <a:xfrm>
            <a:off x="5344524" y="2749657"/>
            <a:ext cx="188579" cy="18857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id="{8E4CA050-125B-2144-9207-71950D5F9052}"/>
              </a:ext>
            </a:extLst>
          </p:cNvPr>
          <p:cNvSpPr/>
          <p:nvPr/>
        </p:nvSpPr>
        <p:spPr>
          <a:xfrm>
            <a:off x="4888944" y="4537214"/>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060E3BBE-A431-C040-BA4C-09AD5E97F0A3}"/>
              </a:ext>
            </a:extLst>
          </p:cNvPr>
          <p:cNvSpPr/>
          <p:nvPr/>
        </p:nvSpPr>
        <p:spPr>
          <a:xfrm>
            <a:off x="5488250" y="4537214"/>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216C57FD-AC96-D749-9B57-92EF9C63AF26}"/>
              </a:ext>
            </a:extLst>
          </p:cNvPr>
          <p:cNvSpPr/>
          <p:nvPr/>
        </p:nvSpPr>
        <p:spPr>
          <a:xfrm>
            <a:off x="4200466" y="4537214"/>
            <a:ext cx="188579" cy="1885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5BBD7C62-3DCC-EF45-BB8D-3CD1D48FE2F7}"/>
              </a:ext>
            </a:extLst>
          </p:cNvPr>
          <p:cNvSpPr/>
          <p:nvPr/>
        </p:nvSpPr>
        <p:spPr>
          <a:xfrm>
            <a:off x="6155000" y="4537214"/>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50CA031C-E074-8949-A58E-BC812ACA9830}"/>
              </a:ext>
            </a:extLst>
          </p:cNvPr>
          <p:cNvSpPr/>
          <p:nvPr/>
        </p:nvSpPr>
        <p:spPr>
          <a:xfrm>
            <a:off x="7034843" y="2749657"/>
            <a:ext cx="188579" cy="188579"/>
          </a:xfrm>
          <a:prstGeom prst="ellipse">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a16="http://schemas.microsoft.com/office/drawing/2014/main" id="{FD08BC4A-9ECD-9042-A372-7D24D28A4470}"/>
              </a:ext>
            </a:extLst>
          </p:cNvPr>
          <p:cNvSpPr/>
          <p:nvPr/>
        </p:nvSpPr>
        <p:spPr>
          <a:xfrm>
            <a:off x="10320742" y="2749657"/>
            <a:ext cx="188579" cy="188579"/>
          </a:xfrm>
          <a:prstGeom prst="ellipse">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id="{3DE3892D-1AE8-A041-BD9D-0327B010700C}"/>
              </a:ext>
            </a:extLst>
          </p:cNvPr>
          <p:cNvSpPr/>
          <p:nvPr/>
        </p:nvSpPr>
        <p:spPr>
          <a:xfrm>
            <a:off x="11004333" y="2749657"/>
            <a:ext cx="188579" cy="188579"/>
          </a:xfrm>
          <a:prstGeom prst="ellipse">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135">
            <a:extLst>
              <a:ext uri="{FF2B5EF4-FFF2-40B4-BE49-F238E27FC236}">
                <a16:creationId xmlns:a16="http://schemas.microsoft.com/office/drawing/2014/main" id="{E7F38F1D-7500-794D-8C47-3D5C5C8D9539}"/>
              </a:ext>
            </a:extLst>
          </p:cNvPr>
          <p:cNvSpPr/>
          <p:nvPr/>
        </p:nvSpPr>
        <p:spPr>
          <a:xfrm>
            <a:off x="7054986" y="5377998"/>
            <a:ext cx="188579" cy="188579"/>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Oval 137">
            <a:extLst>
              <a:ext uri="{FF2B5EF4-FFF2-40B4-BE49-F238E27FC236}">
                <a16:creationId xmlns:a16="http://schemas.microsoft.com/office/drawing/2014/main" id="{0D4F0AF6-79F0-6B48-B911-4445477BDC25}"/>
              </a:ext>
            </a:extLst>
          </p:cNvPr>
          <p:cNvSpPr/>
          <p:nvPr/>
        </p:nvSpPr>
        <p:spPr>
          <a:xfrm>
            <a:off x="4880587" y="5368553"/>
            <a:ext cx="188579" cy="188579"/>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a16="http://schemas.microsoft.com/office/drawing/2014/main" id="{38617CCD-7D2A-D74D-A3F8-8EDF8FC00EA8}"/>
              </a:ext>
            </a:extLst>
          </p:cNvPr>
          <p:cNvSpPr/>
          <p:nvPr/>
        </p:nvSpPr>
        <p:spPr>
          <a:xfrm>
            <a:off x="5490854" y="5377998"/>
            <a:ext cx="188579" cy="188579"/>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0BF2499E-C80F-7042-9C45-68858D7B39CF}"/>
              </a:ext>
            </a:extLst>
          </p:cNvPr>
          <p:cNvSpPr txBox="1"/>
          <p:nvPr/>
        </p:nvSpPr>
        <p:spPr>
          <a:xfrm>
            <a:off x="9239699" y="4736426"/>
            <a:ext cx="926375" cy="483337"/>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Measure ladder of adoption</a:t>
            </a:r>
          </a:p>
        </p:txBody>
      </p:sp>
      <p:sp>
        <p:nvSpPr>
          <p:cNvPr id="53" name="TextBox 52">
            <a:extLst>
              <a:ext uri="{FF2B5EF4-FFF2-40B4-BE49-F238E27FC236}">
                <a16:creationId xmlns:a16="http://schemas.microsoft.com/office/drawing/2014/main" id="{344CFFA7-B332-CA43-AABD-CF1F0EBBDC9B}"/>
              </a:ext>
            </a:extLst>
          </p:cNvPr>
          <p:cNvSpPr txBox="1"/>
          <p:nvPr/>
        </p:nvSpPr>
        <p:spPr>
          <a:xfrm>
            <a:off x="7596267" y="4736426"/>
            <a:ext cx="755096" cy="483337"/>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Capture in-call insight</a:t>
            </a:r>
          </a:p>
        </p:txBody>
      </p:sp>
      <p:sp>
        <p:nvSpPr>
          <p:cNvPr id="65" name="TextBox 64">
            <a:extLst>
              <a:ext uri="{FF2B5EF4-FFF2-40B4-BE49-F238E27FC236}">
                <a16:creationId xmlns:a16="http://schemas.microsoft.com/office/drawing/2014/main" id="{E5C9176F-A9F4-1146-B93A-20F9381B1F3D}"/>
              </a:ext>
            </a:extLst>
          </p:cNvPr>
          <p:cNvSpPr txBox="1"/>
          <p:nvPr/>
        </p:nvSpPr>
        <p:spPr>
          <a:xfrm>
            <a:off x="9992812" y="4736426"/>
            <a:ext cx="860779" cy="483337"/>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Trigger follow on action</a:t>
            </a:r>
          </a:p>
        </p:txBody>
      </p:sp>
      <p:sp>
        <p:nvSpPr>
          <p:cNvPr id="66" name="TextBox 65">
            <a:extLst>
              <a:ext uri="{FF2B5EF4-FFF2-40B4-BE49-F238E27FC236}">
                <a16:creationId xmlns:a16="http://schemas.microsoft.com/office/drawing/2014/main" id="{FFFC7BB6-8BE5-D346-B603-9AB9DA2B2EFB}"/>
              </a:ext>
            </a:extLst>
          </p:cNvPr>
          <p:cNvSpPr txBox="1"/>
          <p:nvPr/>
        </p:nvSpPr>
        <p:spPr>
          <a:xfrm>
            <a:off x="8486609" y="4736426"/>
            <a:ext cx="802819"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Log interaction</a:t>
            </a:r>
          </a:p>
        </p:txBody>
      </p:sp>
      <p:cxnSp>
        <p:nvCxnSpPr>
          <p:cNvPr id="170" name="Straight Connector 169">
            <a:extLst>
              <a:ext uri="{FF2B5EF4-FFF2-40B4-BE49-F238E27FC236}">
                <a16:creationId xmlns:a16="http://schemas.microsoft.com/office/drawing/2014/main" id="{0A2711A1-BE17-C941-A525-AAF324640CF4}"/>
              </a:ext>
            </a:extLst>
          </p:cNvPr>
          <p:cNvCxnSpPr>
            <a:cxnSpLocks/>
            <a:stCxn id="88" idx="6"/>
            <a:endCxn id="73" idx="2"/>
          </p:cNvCxnSpPr>
          <p:nvPr/>
        </p:nvCxnSpPr>
        <p:spPr>
          <a:xfrm>
            <a:off x="4931882" y="3799541"/>
            <a:ext cx="70180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1D00BEC9-42A9-B643-A78B-78F3C5F64826}"/>
              </a:ext>
            </a:extLst>
          </p:cNvPr>
          <p:cNvSpPr/>
          <p:nvPr/>
        </p:nvSpPr>
        <p:spPr>
          <a:xfrm>
            <a:off x="2231252" y="2749657"/>
            <a:ext cx="188579" cy="188579"/>
          </a:xfrm>
          <a:prstGeom prst="ellipse">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4" name="Elbow Connector 173">
            <a:extLst>
              <a:ext uri="{FF2B5EF4-FFF2-40B4-BE49-F238E27FC236}">
                <a16:creationId xmlns:a16="http://schemas.microsoft.com/office/drawing/2014/main" id="{132B2130-7235-C44A-9089-56A0C1EFE78A}"/>
              </a:ext>
            </a:extLst>
          </p:cNvPr>
          <p:cNvCxnSpPr>
            <a:cxnSpLocks/>
            <a:stCxn id="115" idx="0"/>
            <a:endCxn id="110" idx="0"/>
          </p:cNvCxnSpPr>
          <p:nvPr/>
        </p:nvCxnSpPr>
        <p:spPr>
          <a:xfrm rot="16200000" flipV="1">
            <a:off x="9113878" y="764912"/>
            <a:ext cx="12700" cy="3969490"/>
          </a:xfrm>
          <a:prstGeom prst="bentConnector3">
            <a:avLst>
              <a:gd name="adj1" fmla="val 288318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5" name="Elbow Connector 184">
            <a:extLst>
              <a:ext uri="{FF2B5EF4-FFF2-40B4-BE49-F238E27FC236}">
                <a16:creationId xmlns:a16="http://schemas.microsoft.com/office/drawing/2014/main" id="{5CBD88B6-A886-204D-ACA1-7630C90FC827}"/>
              </a:ext>
            </a:extLst>
          </p:cNvPr>
          <p:cNvCxnSpPr>
            <a:cxnSpLocks/>
            <a:stCxn id="113" idx="0"/>
            <a:endCxn id="86" idx="0"/>
          </p:cNvCxnSpPr>
          <p:nvPr/>
        </p:nvCxnSpPr>
        <p:spPr>
          <a:xfrm rot="16200000" flipV="1">
            <a:off x="7700520" y="35145"/>
            <a:ext cx="12700" cy="5429024"/>
          </a:xfrm>
          <a:prstGeom prst="bentConnector3">
            <a:avLst>
              <a:gd name="adj1" fmla="val 536814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4C383AC8-AD05-3141-8F9C-A81DD53AB294}"/>
              </a:ext>
            </a:extLst>
          </p:cNvPr>
          <p:cNvCxnSpPr>
            <a:cxnSpLocks/>
            <a:stCxn id="100" idx="4"/>
            <a:endCxn id="166" idx="0"/>
          </p:cNvCxnSpPr>
          <p:nvPr/>
        </p:nvCxnSpPr>
        <p:spPr>
          <a:xfrm>
            <a:off x="5582540" y="4725793"/>
            <a:ext cx="2604" cy="65220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53A8B486-D227-8640-B158-645110A883F2}"/>
              </a:ext>
            </a:extLst>
          </p:cNvPr>
          <p:cNvSpPr txBox="1"/>
          <p:nvPr/>
        </p:nvSpPr>
        <p:spPr>
          <a:xfrm rot="16200000">
            <a:off x="5" y="4560309"/>
            <a:ext cx="801946" cy="231089"/>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100"/>
              <a:t>Field Rep</a:t>
            </a:r>
          </a:p>
        </p:txBody>
      </p:sp>
      <p:pic>
        <p:nvPicPr>
          <p:cNvPr id="135176" name="Picture 8" descr="Doctor Icon at GetDrawings | Free download">
            <a:extLst>
              <a:ext uri="{FF2B5EF4-FFF2-40B4-BE49-F238E27FC236}">
                <a16:creationId xmlns:a16="http://schemas.microsoft.com/office/drawing/2014/main" id="{58C08D6E-7987-8247-82D3-CC5ACA009FD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4986" y="5356508"/>
            <a:ext cx="599509" cy="599509"/>
          </a:xfrm>
          <a:prstGeom prst="rect">
            <a:avLst/>
          </a:prstGeom>
          <a:noFill/>
          <a:extLst>
            <a:ext uri="{909E8E84-426E-40DD-AFC4-6F175D3DCCD1}">
              <a14:hiddenFill xmlns:a14="http://schemas.microsoft.com/office/drawing/2010/main">
                <a:solidFill>
                  <a:srgbClr val="FFFFFF"/>
                </a:solidFill>
              </a14:hiddenFill>
            </a:ext>
          </a:extLst>
        </p:spPr>
      </p:pic>
      <p:cxnSp>
        <p:nvCxnSpPr>
          <p:cNvPr id="204" name="Straight Connector 203">
            <a:extLst>
              <a:ext uri="{FF2B5EF4-FFF2-40B4-BE49-F238E27FC236}">
                <a16:creationId xmlns:a16="http://schemas.microsoft.com/office/drawing/2014/main" id="{E26663F4-4BBB-3B4F-AF95-79586F2D0A7F}"/>
              </a:ext>
            </a:extLst>
          </p:cNvPr>
          <p:cNvCxnSpPr>
            <a:cxnSpLocks/>
            <a:stCxn id="113" idx="4"/>
            <a:endCxn id="93" idx="0"/>
          </p:cNvCxnSpPr>
          <p:nvPr/>
        </p:nvCxnSpPr>
        <p:spPr>
          <a:xfrm flipH="1">
            <a:off x="10415005" y="2938236"/>
            <a:ext cx="27" cy="15989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7" name="Oval 206">
            <a:extLst>
              <a:ext uri="{FF2B5EF4-FFF2-40B4-BE49-F238E27FC236}">
                <a16:creationId xmlns:a16="http://schemas.microsoft.com/office/drawing/2014/main" id="{4B66D00A-BC0C-3645-8B68-33A7A8D4FE2C}"/>
              </a:ext>
            </a:extLst>
          </p:cNvPr>
          <p:cNvSpPr/>
          <p:nvPr/>
        </p:nvSpPr>
        <p:spPr>
          <a:xfrm>
            <a:off x="11015279" y="4535866"/>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TextBox 208">
            <a:extLst>
              <a:ext uri="{FF2B5EF4-FFF2-40B4-BE49-F238E27FC236}">
                <a16:creationId xmlns:a16="http://schemas.microsoft.com/office/drawing/2014/main" id="{CCB56E8C-D9E6-1548-A3B8-1E6AD73097B6}"/>
              </a:ext>
            </a:extLst>
          </p:cNvPr>
          <p:cNvSpPr txBox="1"/>
          <p:nvPr/>
        </p:nvSpPr>
        <p:spPr>
          <a:xfrm>
            <a:off x="10670640" y="4736425"/>
            <a:ext cx="860779"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Track progress</a:t>
            </a:r>
          </a:p>
        </p:txBody>
      </p:sp>
      <p:sp>
        <p:nvSpPr>
          <p:cNvPr id="97" name="TextBox 96">
            <a:extLst>
              <a:ext uri="{FF2B5EF4-FFF2-40B4-BE49-F238E27FC236}">
                <a16:creationId xmlns:a16="http://schemas.microsoft.com/office/drawing/2014/main" id="{A9DB070E-8FF0-0841-A174-AE06104B5B48}"/>
              </a:ext>
            </a:extLst>
          </p:cNvPr>
          <p:cNvSpPr txBox="1"/>
          <p:nvPr/>
        </p:nvSpPr>
        <p:spPr>
          <a:xfrm>
            <a:off x="5147308" y="2969490"/>
            <a:ext cx="555897" cy="391004"/>
          </a:xfrm>
          <a:prstGeom prst="rect">
            <a:avLst/>
          </a:prstGeom>
          <a:solidFill>
            <a:schemeClr val="bg1">
              <a:lumMod val="95000"/>
            </a:schemeClr>
          </a:solidFill>
        </p:spPr>
        <p:txBody>
          <a:bodyPr wrap="square" lIns="0" tIns="0" rIns="0" bIns="0" rtlCol="0">
            <a:spAutoFit/>
          </a:bodyPr>
          <a:lstStyle>
            <a:defPPr>
              <a:defRPr lang="en-US"/>
            </a:defPPr>
            <a:lvl1pPr marR="0" algn="ctr" fontAlgn="auto">
              <a:lnSpc>
                <a:spcPct val="80000"/>
              </a:lnSpc>
              <a:spcBef>
                <a:spcPts val="1200"/>
              </a:spcBef>
              <a:spcAft>
                <a:spcPts val="0"/>
              </a:spcAft>
              <a:buClr>
                <a:schemeClr val="tx2"/>
              </a:buClr>
              <a:buSzTx/>
              <a:tabLst/>
              <a:defRPr sz="1050"/>
            </a:lvl1pPr>
          </a:lstStyle>
          <a:p>
            <a:r>
              <a:rPr lang="en-US"/>
              <a:t>Cross team alignment</a:t>
            </a:r>
          </a:p>
        </p:txBody>
      </p:sp>
      <p:sp>
        <p:nvSpPr>
          <p:cNvPr id="50" name="TextBox 49">
            <a:extLst>
              <a:ext uri="{FF2B5EF4-FFF2-40B4-BE49-F238E27FC236}">
                <a16:creationId xmlns:a16="http://schemas.microsoft.com/office/drawing/2014/main" id="{D26442B7-79A7-5345-B6B8-A46932199DC1}"/>
              </a:ext>
            </a:extLst>
          </p:cNvPr>
          <p:cNvSpPr txBox="1"/>
          <p:nvPr/>
        </p:nvSpPr>
        <p:spPr>
          <a:xfrm>
            <a:off x="6799934" y="4771594"/>
            <a:ext cx="670981" cy="261738"/>
          </a:xfrm>
          <a:prstGeom prst="rect">
            <a:avLst/>
          </a:prstGeom>
          <a:solidFill>
            <a:schemeClr val="bg1">
              <a:lumMod val="95000"/>
            </a:schemeClr>
          </a:solidFill>
        </p:spPr>
        <p:txBody>
          <a:bodyPr wrap="square" lIns="0" tIns="0" rIns="0" bIns="0" rtlCol="0">
            <a:spAutoFit/>
          </a:bodyPr>
          <a:lstStyle>
            <a:defPPr>
              <a:defRPr lang="en-US"/>
            </a:defPPr>
            <a:lvl1pPr marR="0" algn="ctr" fontAlgn="auto">
              <a:lnSpc>
                <a:spcPct val="80000"/>
              </a:lnSpc>
              <a:spcBef>
                <a:spcPts val="1200"/>
              </a:spcBef>
              <a:spcAft>
                <a:spcPts val="0"/>
              </a:spcAft>
              <a:buClr>
                <a:schemeClr val="tx2"/>
              </a:buClr>
              <a:buSzTx/>
              <a:tabLst/>
              <a:defRPr sz="1050"/>
            </a:lvl1pPr>
          </a:lstStyle>
          <a:p>
            <a:r>
              <a:rPr lang="en-US"/>
              <a:t>Rep led execution</a:t>
            </a:r>
          </a:p>
        </p:txBody>
      </p:sp>
      <p:sp>
        <p:nvSpPr>
          <p:cNvPr id="51" name="TextBox 50">
            <a:extLst>
              <a:ext uri="{FF2B5EF4-FFF2-40B4-BE49-F238E27FC236}">
                <a16:creationId xmlns:a16="http://schemas.microsoft.com/office/drawing/2014/main" id="{BB6B4043-BF51-7940-B90D-E76D083C3D66}"/>
              </a:ext>
            </a:extLst>
          </p:cNvPr>
          <p:cNvSpPr txBox="1"/>
          <p:nvPr/>
        </p:nvSpPr>
        <p:spPr>
          <a:xfrm>
            <a:off x="4602970" y="4736426"/>
            <a:ext cx="717722" cy="483337"/>
          </a:xfrm>
          <a:prstGeom prst="rect">
            <a:avLst/>
          </a:prstGeom>
          <a:solidFill>
            <a:schemeClr val="bg1">
              <a:lumMod val="95000"/>
            </a:schemeClr>
          </a:solid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Set up HCP  meetings</a:t>
            </a:r>
          </a:p>
        </p:txBody>
      </p:sp>
      <p:sp>
        <p:nvSpPr>
          <p:cNvPr id="52" name="TextBox 51">
            <a:extLst>
              <a:ext uri="{FF2B5EF4-FFF2-40B4-BE49-F238E27FC236}">
                <a16:creationId xmlns:a16="http://schemas.microsoft.com/office/drawing/2014/main" id="{92E9B8B4-A134-374D-8E03-2EC8FC3BCD6B}"/>
              </a:ext>
            </a:extLst>
          </p:cNvPr>
          <p:cNvSpPr txBox="1"/>
          <p:nvPr/>
        </p:nvSpPr>
        <p:spPr>
          <a:xfrm>
            <a:off x="5211729" y="4736426"/>
            <a:ext cx="741620" cy="354071"/>
          </a:xfrm>
          <a:prstGeom prst="rect">
            <a:avLst/>
          </a:prstGeom>
          <a:solidFill>
            <a:schemeClr val="bg1">
              <a:lumMod val="95000"/>
            </a:schemeClr>
          </a:solid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Pre-call planning</a:t>
            </a:r>
          </a:p>
        </p:txBody>
      </p:sp>
      <p:sp>
        <p:nvSpPr>
          <p:cNvPr id="62" name="TextBox 61">
            <a:extLst>
              <a:ext uri="{FF2B5EF4-FFF2-40B4-BE49-F238E27FC236}">
                <a16:creationId xmlns:a16="http://schemas.microsoft.com/office/drawing/2014/main" id="{C09B8A66-0B0A-AE42-9E38-9BD24A084560}"/>
              </a:ext>
            </a:extLst>
          </p:cNvPr>
          <p:cNvSpPr txBox="1"/>
          <p:nvPr/>
        </p:nvSpPr>
        <p:spPr>
          <a:xfrm>
            <a:off x="3993707" y="4736426"/>
            <a:ext cx="645076" cy="391004"/>
          </a:xfrm>
          <a:prstGeom prst="rect">
            <a:avLst/>
          </a:prstGeom>
          <a:noFill/>
        </p:spPr>
        <p:txBody>
          <a:bodyPr wrap="square" lIns="0" tIns="0" rIns="0" bIns="0" rtlCol="0">
            <a:spAutoFit/>
          </a:bodyPr>
          <a:lstStyle>
            <a:defPPr>
              <a:defRPr lang="en-US"/>
            </a:defPPr>
            <a:lvl1pPr marR="0" algn="ctr" fontAlgn="auto">
              <a:lnSpc>
                <a:spcPct val="80000"/>
              </a:lnSpc>
              <a:spcBef>
                <a:spcPts val="1200"/>
              </a:spcBef>
              <a:spcAft>
                <a:spcPts val="0"/>
              </a:spcAft>
              <a:buClr>
                <a:schemeClr val="tx2"/>
              </a:buClr>
              <a:buSzTx/>
              <a:tabLst/>
              <a:defRPr sz="1050"/>
            </a:lvl1pPr>
          </a:lstStyle>
          <a:p>
            <a:r>
              <a:rPr lang="en-US"/>
              <a:t>Define activity plan </a:t>
            </a:r>
          </a:p>
        </p:txBody>
      </p:sp>
      <p:sp>
        <p:nvSpPr>
          <p:cNvPr id="103" name="TextBox 102">
            <a:extLst>
              <a:ext uri="{FF2B5EF4-FFF2-40B4-BE49-F238E27FC236}">
                <a16:creationId xmlns:a16="http://schemas.microsoft.com/office/drawing/2014/main" id="{2611A20F-B5D0-0B45-A50B-CE1E355B0A53}"/>
              </a:ext>
            </a:extLst>
          </p:cNvPr>
          <p:cNvSpPr txBox="1"/>
          <p:nvPr/>
        </p:nvSpPr>
        <p:spPr>
          <a:xfrm>
            <a:off x="5878479" y="4736426"/>
            <a:ext cx="741620"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Prepare content</a:t>
            </a:r>
          </a:p>
        </p:txBody>
      </p:sp>
      <p:sp>
        <p:nvSpPr>
          <p:cNvPr id="83" name="TextBox 82">
            <a:extLst>
              <a:ext uri="{FF2B5EF4-FFF2-40B4-BE49-F238E27FC236}">
                <a16:creationId xmlns:a16="http://schemas.microsoft.com/office/drawing/2014/main" id="{FB1D51AA-410D-6047-9A92-72626FD1A61D}"/>
              </a:ext>
            </a:extLst>
          </p:cNvPr>
          <p:cNvSpPr txBox="1"/>
          <p:nvPr/>
        </p:nvSpPr>
        <p:spPr>
          <a:xfrm>
            <a:off x="4535077" y="2281129"/>
            <a:ext cx="921245" cy="391004"/>
          </a:xfrm>
          <a:prstGeom prst="rect">
            <a:avLst/>
          </a:prstGeom>
          <a:solidFill>
            <a:schemeClr val="bg1">
              <a:lumMod val="95000"/>
            </a:schemeClr>
          </a:solidFill>
        </p:spPr>
        <p:txBody>
          <a:bodyPr wrap="square" lIns="0" tIns="0" rIns="0" bIns="0"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Define customer engagement model</a:t>
            </a:r>
          </a:p>
        </p:txBody>
      </p:sp>
      <p:sp>
        <p:nvSpPr>
          <p:cNvPr id="111" name="TextBox 110">
            <a:extLst>
              <a:ext uri="{FF2B5EF4-FFF2-40B4-BE49-F238E27FC236}">
                <a16:creationId xmlns:a16="http://schemas.microsoft.com/office/drawing/2014/main" id="{3860418E-86E5-9542-93E0-86BDDB3C9FF5}"/>
              </a:ext>
            </a:extLst>
          </p:cNvPr>
          <p:cNvSpPr txBox="1"/>
          <p:nvPr/>
        </p:nvSpPr>
        <p:spPr>
          <a:xfrm>
            <a:off x="6777234" y="2442006"/>
            <a:ext cx="716498" cy="261738"/>
          </a:xfrm>
          <a:prstGeom prst="rect">
            <a:avLst/>
          </a:prstGeom>
          <a:solidFill>
            <a:schemeClr val="bg1">
              <a:lumMod val="95000"/>
            </a:schemeClr>
          </a:solidFill>
        </p:spPr>
        <p:txBody>
          <a:bodyPr wrap="square" lIns="0" tIns="0" rIns="0" bIns="0" rtlCol="0">
            <a:spAutoFit/>
          </a:bodyPr>
          <a:lstStyle>
            <a:defPPr>
              <a:defRPr lang="en-US"/>
            </a:defPPr>
            <a:lvl1pPr marR="0" algn="ctr" fontAlgn="auto">
              <a:lnSpc>
                <a:spcPct val="80000"/>
              </a:lnSpc>
              <a:spcBef>
                <a:spcPts val="1200"/>
              </a:spcBef>
              <a:spcAft>
                <a:spcPts val="0"/>
              </a:spcAft>
              <a:buClr>
                <a:schemeClr val="tx2"/>
              </a:buClr>
              <a:buSzTx/>
              <a:tabLst/>
              <a:defRPr sz="1050"/>
            </a:lvl1pPr>
          </a:lstStyle>
          <a:p>
            <a:r>
              <a:rPr lang="en-US"/>
              <a:t>Office led execution</a:t>
            </a:r>
          </a:p>
        </p:txBody>
      </p:sp>
      <p:sp>
        <p:nvSpPr>
          <p:cNvPr id="112" name="TextBox 111">
            <a:extLst>
              <a:ext uri="{FF2B5EF4-FFF2-40B4-BE49-F238E27FC236}">
                <a16:creationId xmlns:a16="http://schemas.microsoft.com/office/drawing/2014/main" id="{6ED716F0-26D7-9644-AAEE-BD2DE3DB521B}"/>
              </a:ext>
            </a:extLst>
          </p:cNvPr>
          <p:cNvSpPr txBox="1"/>
          <p:nvPr/>
        </p:nvSpPr>
        <p:spPr>
          <a:xfrm>
            <a:off x="10056174" y="2974566"/>
            <a:ext cx="707448" cy="354071"/>
          </a:xfrm>
          <a:prstGeom prst="rect">
            <a:avLst/>
          </a:prstGeom>
          <a:solidFill>
            <a:schemeClr val="bg1">
              <a:lumMod val="95000"/>
            </a:schemeClr>
          </a:solid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Measure impact</a:t>
            </a:r>
          </a:p>
        </p:txBody>
      </p:sp>
      <p:sp>
        <p:nvSpPr>
          <p:cNvPr id="212" name="Oval 211">
            <a:extLst>
              <a:ext uri="{FF2B5EF4-FFF2-40B4-BE49-F238E27FC236}">
                <a16:creationId xmlns:a16="http://schemas.microsoft.com/office/drawing/2014/main" id="{0DF14361-BCDD-F44C-A649-A861D71D6485}"/>
              </a:ext>
            </a:extLst>
          </p:cNvPr>
          <p:cNvSpPr/>
          <p:nvPr/>
        </p:nvSpPr>
        <p:spPr>
          <a:xfrm>
            <a:off x="6019777" y="6228769"/>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D32DB6D4-F819-F745-B5B3-CBBFFEFBA525}"/>
              </a:ext>
            </a:extLst>
          </p:cNvPr>
          <p:cNvSpPr/>
          <p:nvPr/>
        </p:nvSpPr>
        <p:spPr>
          <a:xfrm>
            <a:off x="8544667" y="6256198"/>
            <a:ext cx="188579" cy="188579"/>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TextBox 205">
            <a:extLst>
              <a:ext uri="{FF2B5EF4-FFF2-40B4-BE49-F238E27FC236}">
                <a16:creationId xmlns:a16="http://schemas.microsoft.com/office/drawing/2014/main" id="{3386AB50-41CC-CD4A-AFBC-36CD5521A0FC}"/>
              </a:ext>
            </a:extLst>
          </p:cNvPr>
          <p:cNvSpPr txBox="1"/>
          <p:nvPr/>
        </p:nvSpPr>
        <p:spPr>
          <a:xfrm>
            <a:off x="8733246" y="6256198"/>
            <a:ext cx="2330164" cy="231089"/>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1100" b="1"/>
              <a:t>Out of scope – </a:t>
            </a:r>
            <a:r>
              <a:rPr lang="en-US" sz="1100"/>
              <a:t>key</a:t>
            </a:r>
            <a:r>
              <a:rPr lang="en-US" sz="1100" b="1"/>
              <a:t> </a:t>
            </a:r>
            <a:r>
              <a:rPr lang="en-US" sz="1100"/>
              <a:t>inputs or outputs</a:t>
            </a:r>
          </a:p>
        </p:txBody>
      </p:sp>
      <p:sp>
        <p:nvSpPr>
          <p:cNvPr id="215" name="TextBox 214">
            <a:extLst>
              <a:ext uri="{FF2B5EF4-FFF2-40B4-BE49-F238E27FC236}">
                <a16:creationId xmlns:a16="http://schemas.microsoft.com/office/drawing/2014/main" id="{2F32F0AB-E4E8-404B-8412-F132E556678F}"/>
              </a:ext>
            </a:extLst>
          </p:cNvPr>
          <p:cNvSpPr txBox="1"/>
          <p:nvPr/>
        </p:nvSpPr>
        <p:spPr>
          <a:xfrm>
            <a:off x="6208355" y="6240179"/>
            <a:ext cx="2330165" cy="231089"/>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1100" b="1"/>
              <a:t>In scope </a:t>
            </a:r>
            <a:r>
              <a:rPr lang="en-US" sz="1100"/>
              <a:t>– framework to enable reps</a:t>
            </a:r>
          </a:p>
        </p:txBody>
      </p:sp>
      <p:sp>
        <p:nvSpPr>
          <p:cNvPr id="216" name="Oval 215">
            <a:extLst>
              <a:ext uri="{FF2B5EF4-FFF2-40B4-BE49-F238E27FC236}">
                <a16:creationId xmlns:a16="http://schemas.microsoft.com/office/drawing/2014/main" id="{33633157-9AF6-364C-9B60-42BD1A35ED2F}"/>
              </a:ext>
            </a:extLst>
          </p:cNvPr>
          <p:cNvSpPr/>
          <p:nvPr/>
        </p:nvSpPr>
        <p:spPr>
          <a:xfrm>
            <a:off x="3239041" y="6213389"/>
            <a:ext cx="188579" cy="1885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TextBox 216">
            <a:extLst>
              <a:ext uri="{FF2B5EF4-FFF2-40B4-BE49-F238E27FC236}">
                <a16:creationId xmlns:a16="http://schemas.microsoft.com/office/drawing/2014/main" id="{B79C287D-1CB4-5F40-9210-59A381BDB2EB}"/>
              </a:ext>
            </a:extLst>
          </p:cNvPr>
          <p:cNvSpPr txBox="1"/>
          <p:nvPr/>
        </p:nvSpPr>
        <p:spPr>
          <a:xfrm>
            <a:off x="3433685" y="6224160"/>
            <a:ext cx="2852780" cy="231089"/>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1100" b="1"/>
              <a:t>In scope </a:t>
            </a:r>
            <a:r>
              <a:rPr lang="en-US" sz="1100"/>
              <a:t>– Customer Engagement Design</a:t>
            </a:r>
          </a:p>
        </p:txBody>
      </p:sp>
      <p:sp>
        <p:nvSpPr>
          <p:cNvPr id="80" name="Oval 79">
            <a:extLst>
              <a:ext uri="{FF2B5EF4-FFF2-40B4-BE49-F238E27FC236}">
                <a16:creationId xmlns:a16="http://schemas.microsoft.com/office/drawing/2014/main" id="{342C947D-6E20-8B46-B206-0E903F0E9C49}"/>
              </a:ext>
            </a:extLst>
          </p:cNvPr>
          <p:cNvSpPr/>
          <p:nvPr/>
        </p:nvSpPr>
        <p:spPr>
          <a:xfrm>
            <a:off x="8801075" y="4537214"/>
            <a:ext cx="188579" cy="188579"/>
          </a:xfrm>
          <a:prstGeom prst="ellipse">
            <a:avLst/>
          </a:prstGeom>
          <a:pattFill prst="ltUpDiag">
            <a:fgClr>
              <a:schemeClr val="accent4"/>
            </a:fgClr>
            <a:bgClr>
              <a:schemeClr val="bg1"/>
            </a:bgClr>
          </a:patt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TextBox 219">
            <a:extLst>
              <a:ext uri="{FF2B5EF4-FFF2-40B4-BE49-F238E27FC236}">
                <a16:creationId xmlns:a16="http://schemas.microsoft.com/office/drawing/2014/main" id="{98BDEA31-E682-C04C-A1BC-EF9D85F9860C}"/>
              </a:ext>
            </a:extLst>
          </p:cNvPr>
          <p:cNvSpPr txBox="1"/>
          <p:nvPr/>
        </p:nvSpPr>
        <p:spPr>
          <a:xfrm>
            <a:off x="2216301" y="6207513"/>
            <a:ext cx="1094465" cy="231089"/>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1100" b="1" u="sng"/>
              <a:t>ACTIVITY KEY</a:t>
            </a:r>
          </a:p>
        </p:txBody>
      </p:sp>
      <p:sp>
        <p:nvSpPr>
          <p:cNvPr id="221" name="Google Shape;7814;p149">
            <a:extLst>
              <a:ext uri="{FF2B5EF4-FFF2-40B4-BE49-F238E27FC236}">
                <a16:creationId xmlns:a16="http://schemas.microsoft.com/office/drawing/2014/main" id="{29D4E0B3-E716-AB4C-81F0-A3AB64B8DC94}"/>
              </a:ext>
            </a:extLst>
          </p:cNvPr>
          <p:cNvSpPr txBox="1">
            <a:spLocks noChangeArrowheads="1"/>
          </p:cNvSpPr>
          <p:nvPr/>
        </p:nvSpPr>
        <p:spPr bwMode="auto">
          <a:xfrm>
            <a:off x="9139652" y="41823"/>
            <a:ext cx="3052348" cy="1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Clr>
                <a:srgbClr val="FFFFFF"/>
              </a:buClr>
              <a:buSzPts val="1600"/>
              <a:buNone/>
            </a:pPr>
            <a:r>
              <a:rPr lang="en-US" altLang="en-US" sz="1200">
                <a:cs typeface="Calibri" panose="020F0502020204030204" pitchFamily="34" charset="0"/>
                <a:sym typeface="Open Sans" panose="020B0606030504020204" pitchFamily="34" charset="0"/>
              </a:rPr>
              <a:t>Implications for customer engagement design</a:t>
            </a:r>
            <a:endParaRPr lang="en-US" altLang="en-US" sz="1600">
              <a:cs typeface="Calibri" panose="020F0502020204030204" pitchFamily="34" charset="0"/>
              <a:sym typeface="Arial" panose="020B0604020202020204" pitchFamily="34" charset="0"/>
            </a:endParaRPr>
          </a:p>
        </p:txBody>
      </p:sp>
      <p:pic>
        <p:nvPicPr>
          <p:cNvPr id="222" name="Graphic 221" descr="Ui Ux outline">
            <a:extLst>
              <a:ext uri="{FF2B5EF4-FFF2-40B4-BE49-F238E27FC236}">
                <a16:creationId xmlns:a16="http://schemas.microsoft.com/office/drawing/2014/main" id="{3515AC97-4282-9B48-A21A-358DB432E9B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783267" y="30587"/>
            <a:ext cx="356385" cy="356385"/>
          </a:xfrm>
          <a:prstGeom prst="rect">
            <a:avLst/>
          </a:prstGeom>
        </p:spPr>
      </p:pic>
    </p:spTree>
    <p:extLst>
      <p:ext uri="{BB962C8B-B14F-4D97-AF65-F5344CB8AC3E}">
        <p14:creationId xmlns:p14="http://schemas.microsoft.com/office/powerpoint/2010/main" val="193244138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E3661BD-1F9B-5D41-9917-042402BAFF50}"/>
              </a:ext>
            </a:extLst>
          </p:cNvPr>
          <p:cNvSpPr/>
          <p:nvPr/>
        </p:nvSpPr>
        <p:spPr>
          <a:xfrm>
            <a:off x="2882977" y="1351499"/>
            <a:ext cx="7750346" cy="85534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a:defRPr/>
            </a:pPr>
            <a:r>
              <a:rPr lang="en-US">
                <a:solidFill>
                  <a:schemeClr val="bg2">
                    <a:lumMod val="90000"/>
                  </a:schemeClr>
                </a:solidFill>
                <a:cs typeface="Calibri"/>
              </a:rPr>
              <a:t>Galapagos Context &amp; Customer Engagement Challenge</a:t>
            </a:r>
          </a:p>
        </p:txBody>
      </p:sp>
      <p:sp>
        <p:nvSpPr>
          <p:cNvPr id="23" name="Rectangle 22">
            <a:extLst>
              <a:ext uri="{FF2B5EF4-FFF2-40B4-BE49-F238E27FC236}">
                <a16:creationId xmlns:a16="http://schemas.microsoft.com/office/drawing/2014/main" id="{DD31908D-B318-1A44-8263-8E6A2AC48D5F}"/>
              </a:ext>
            </a:extLst>
          </p:cNvPr>
          <p:cNvSpPr/>
          <p:nvPr/>
        </p:nvSpPr>
        <p:spPr>
          <a:xfrm>
            <a:off x="2882977" y="2290546"/>
            <a:ext cx="7750344" cy="86439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a:defRPr/>
            </a:pPr>
            <a:r>
              <a:rPr lang="en-US">
                <a:solidFill>
                  <a:schemeClr val="bg2"/>
                </a:solidFill>
                <a:cs typeface="Calibri"/>
              </a:rPr>
              <a:t>Our Point of View </a:t>
            </a:r>
          </a:p>
        </p:txBody>
      </p:sp>
      <p:sp>
        <p:nvSpPr>
          <p:cNvPr id="24" name="Rectangle 23">
            <a:extLst>
              <a:ext uri="{FF2B5EF4-FFF2-40B4-BE49-F238E27FC236}">
                <a16:creationId xmlns:a16="http://schemas.microsoft.com/office/drawing/2014/main" id="{D0EC2B95-B538-5C44-B564-4DCC5A382362}"/>
              </a:ext>
            </a:extLst>
          </p:cNvPr>
          <p:cNvSpPr/>
          <p:nvPr/>
        </p:nvSpPr>
        <p:spPr>
          <a:xfrm>
            <a:off x="2882977" y="3217210"/>
            <a:ext cx="7750344" cy="864399"/>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rPr>
              <a:t>Proposed Solution &amp; Approach</a:t>
            </a:r>
          </a:p>
        </p:txBody>
      </p:sp>
      <p:sp>
        <p:nvSpPr>
          <p:cNvPr id="25" name="Rectangle 24">
            <a:extLst>
              <a:ext uri="{FF2B5EF4-FFF2-40B4-BE49-F238E27FC236}">
                <a16:creationId xmlns:a16="http://schemas.microsoft.com/office/drawing/2014/main" id="{6B0FCC59-CA5F-2C4C-9E51-F9F00A2258CA}"/>
              </a:ext>
            </a:extLst>
          </p:cNvPr>
          <p:cNvSpPr/>
          <p:nvPr/>
        </p:nvSpPr>
        <p:spPr>
          <a:xfrm>
            <a:off x="2882977" y="4181556"/>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lvl="0">
              <a:defRPr/>
            </a:pPr>
            <a:r>
              <a:rPr lang="en-US">
                <a:solidFill>
                  <a:schemeClr val="bg2"/>
                </a:solidFill>
                <a:latin typeface="Calibri" panose="020F0502020204030204" pitchFamily="34" charset="0"/>
                <a:cs typeface="Calibri" panose="020F0502020204030204" pitchFamily="34" charset="0"/>
              </a:rPr>
              <a:t>Team, Price and Why Veeva</a:t>
            </a:r>
          </a:p>
        </p:txBody>
      </p:sp>
      <p:sp>
        <p:nvSpPr>
          <p:cNvPr id="26" name="AutoShape 22">
            <a:extLst>
              <a:ext uri="{FF2B5EF4-FFF2-40B4-BE49-F238E27FC236}">
                <a16:creationId xmlns:a16="http://schemas.microsoft.com/office/drawing/2014/main" id="{225B8C7B-2814-9B42-9B76-B1D8A5456084}"/>
              </a:ext>
            </a:extLst>
          </p:cNvPr>
          <p:cNvSpPr>
            <a:spLocks noChangeAspect="1" noChangeArrowheads="1" noTextEdit="1"/>
          </p:cNvSpPr>
          <p:nvPr/>
        </p:nvSpPr>
        <p:spPr bwMode="auto">
          <a:xfrm>
            <a:off x="1739333" y="1254162"/>
            <a:ext cx="1980550" cy="3636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7" name="Freeform 24">
            <a:extLst>
              <a:ext uri="{FF2B5EF4-FFF2-40B4-BE49-F238E27FC236}">
                <a16:creationId xmlns:a16="http://schemas.microsoft.com/office/drawing/2014/main" id="{FB1DAA38-BC23-764B-9D94-1970E6FC67C7}"/>
              </a:ext>
            </a:extLst>
          </p:cNvPr>
          <p:cNvSpPr>
            <a:spLocks/>
          </p:cNvSpPr>
          <p:nvPr/>
        </p:nvSpPr>
        <p:spPr bwMode="auto">
          <a:xfrm>
            <a:off x="1957054" y="1350735"/>
            <a:ext cx="1172040" cy="863153"/>
          </a:xfrm>
          <a:custGeom>
            <a:avLst/>
            <a:gdLst>
              <a:gd name="T0" fmla="*/ 4210 w 4210"/>
              <a:gd name="T1" fmla="*/ 414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2 h 831"/>
              <a:gd name="T24" fmla="*/ 4210 w 4210"/>
              <a:gd name="T25" fmla="*/ 414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4"/>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2"/>
                </a:lnTo>
                <a:lnTo>
                  <a:pt x="4210" y="41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8" name="Freeform 25">
            <a:extLst>
              <a:ext uri="{FF2B5EF4-FFF2-40B4-BE49-F238E27FC236}">
                <a16:creationId xmlns:a16="http://schemas.microsoft.com/office/drawing/2014/main" id="{981AA369-95A8-2A44-8990-798B14B22C4E}"/>
              </a:ext>
            </a:extLst>
          </p:cNvPr>
          <p:cNvSpPr>
            <a:spLocks/>
          </p:cNvSpPr>
          <p:nvPr/>
        </p:nvSpPr>
        <p:spPr bwMode="auto">
          <a:xfrm>
            <a:off x="1957054" y="2291789"/>
            <a:ext cx="1172040" cy="863153"/>
          </a:xfrm>
          <a:custGeom>
            <a:avLst/>
            <a:gdLst>
              <a:gd name="T0" fmla="*/ 4210 w 4210"/>
              <a:gd name="T1" fmla="*/ 417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3 h 831"/>
              <a:gd name="T24" fmla="*/ 4210 w 4210"/>
              <a:gd name="T25" fmla="*/ 4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7"/>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3"/>
                </a:lnTo>
                <a:lnTo>
                  <a:pt x="4210" y="41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9" name="Freeform 26">
            <a:extLst>
              <a:ext uri="{FF2B5EF4-FFF2-40B4-BE49-F238E27FC236}">
                <a16:creationId xmlns:a16="http://schemas.microsoft.com/office/drawing/2014/main" id="{753D9DC3-7260-2141-A2F7-E25B63576239}"/>
              </a:ext>
            </a:extLst>
          </p:cNvPr>
          <p:cNvSpPr>
            <a:spLocks/>
          </p:cNvSpPr>
          <p:nvPr/>
        </p:nvSpPr>
        <p:spPr bwMode="auto">
          <a:xfrm>
            <a:off x="1957054" y="3220326"/>
            <a:ext cx="1172040" cy="866270"/>
          </a:xfrm>
          <a:custGeom>
            <a:avLst/>
            <a:gdLst>
              <a:gd name="T0" fmla="*/ 4210 w 4210"/>
              <a:gd name="T1" fmla="*/ 417 h 834"/>
              <a:gd name="T2" fmla="*/ 4039 w 4210"/>
              <a:gd name="T3" fmla="*/ 209 h 834"/>
              <a:gd name="T4" fmla="*/ 3868 w 4210"/>
              <a:gd name="T5" fmla="*/ 0 h 834"/>
              <a:gd name="T6" fmla="*/ 3868 w 4210"/>
              <a:gd name="T7" fmla="*/ 0 h 834"/>
              <a:gd name="T8" fmla="*/ 0 w 4210"/>
              <a:gd name="T9" fmla="*/ 0 h 834"/>
              <a:gd name="T10" fmla="*/ 0 w 4210"/>
              <a:gd name="T11" fmla="*/ 834 h 834"/>
              <a:gd name="T12" fmla="*/ 3868 w 4210"/>
              <a:gd name="T13" fmla="*/ 834 h 834"/>
              <a:gd name="T14" fmla="*/ 3868 w 4210"/>
              <a:gd name="T15" fmla="*/ 834 h 834"/>
              <a:gd name="T16" fmla="*/ 3868 w 4210"/>
              <a:gd name="T17" fmla="*/ 834 h 834"/>
              <a:gd name="T18" fmla="*/ 3868 w 4210"/>
              <a:gd name="T19" fmla="*/ 834 h 834"/>
              <a:gd name="T20" fmla="*/ 3868 w 4210"/>
              <a:gd name="T21" fmla="*/ 834 h 834"/>
              <a:gd name="T22" fmla="*/ 4039 w 4210"/>
              <a:gd name="T23" fmla="*/ 626 h 834"/>
              <a:gd name="T24" fmla="*/ 4210 w 4210"/>
              <a:gd name="T25" fmla="*/ 417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4">
                <a:moveTo>
                  <a:pt x="4210" y="417"/>
                </a:moveTo>
                <a:lnTo>
                  <a:pt x="4039" y="209"/>
                </a:lnTo>
                <a:lnTo>
                  <a:pt x="3868" y="0"/>
                </a:lnTo>
                <a:lnTo>
                  <a:pt x="3868" y="0"/>
                </a:lnTo>
                <a:lnTo>
                  <a:pt x="0" y="0"/>
                </a:lnTo>
                <a:lnTo>
                  <a:pt x="0" y="834"/>
                </a:lnTo>
                <a:lnTo>
                  <a:pt x="3868" y="834"/>
                </a:lnTo>
                <a:lnTo>
                  <a:pt x="3868" y="834"/>
                </a:lnTo>
                <a:lnTo>
                  <a:pt x="3868" y="834"/>
                </a:lnTo>
                <a:lnTo>
                  <a:pt x="3868" y="834"/>
                </a:lnTo>
                <a:lnTo>
                  <a:pt x="3868" y="834"/>
                </a:lnTo>
                <a:lnTo>
                  <a:pt x="4039" y="626"/>
                </a:lnTo>
                <a:lnTo>
                  <a:pt x="4210" y="4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0" name="Freeform 27">
            <a:extLst>
              <a:ext uri="{FF2B5EF4-FFF2-40B4-BE49-F238E27FC236}">
                <a16:creationId xmlns:a16="http://schemas.microsoft.com/office/drawing/2014/main" id="{21C4C1AA-9818-A041-973F-2D51233A41A5}"/>
              </a:ext>
            </a:extLst>
          </p:cNvPr>
          <p:cNvSpPr>
            <a:spLocks/>
          </p:cNvSpPr>
          <p:nvPr/>
        </p:nvSpPr>
        <p:spPr bwMode="auto">
          <a:xfrm>
            <a:off x="1957054" y="4184671"/>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1" name="Freeform 28">
            <a:extLst>
              <a:ext uri="{FF2B5EF4-FFF2-40B4-BE49-F238E27FC236}">
                <a16:creationId xmlns:a16="http://schemas.microsoft.com/office/drawing/2014/main" id="{829F40D6-2858-FC41-B6A9-925C7892432E}"/>
              </a:ext>
            </a:extLst>
          </p:cNvPr>
          <p:cNvSpPr>
            <a:spLocks/>
          </p:cNvSpPr>
          <p:nvPr/>
        </p:nvSpPr>
        <p:spPr bwMode="auto">
          <a:xfrm>
            <a:off x="1558676" y="1350735"/>
            <a:ext cx="398378" cy="1107246"/>
          </a:xfrm>
          <a:custGeom>
            <a:avLst/>
            <a:gdLst>
              <a:gd name="T0" fmla="*/ 372 w 372"/>
              <a:gd name="T1" fmla="*/ 0 h 1066"/>
              <a:gd name="T2" fmla="*/ 0 w 372"/>
              <a:gd name="T3" fmla="*/ 467 h 1066"/>
              <a:gd name="T4" fmla="*/ 0 w 372"/>
              <a:gd name="T5" fmla="*/ 1066 h 1066"/>
              <a:gd name="T6" fmla="*/ 372 w 372"/>
              <a:gd name="T7" fmla="*/ 831 h 1066"/>
              <a:gd name="T8" fmla="*/ 372 w 372"/>
              <a:gd name="T9" fmla="*/ 0 h 1066"/>
            </a:gdLst>
            <a:ahLst/>
            <a:cxnLst>
              <a:cxn ang="0">
                <a:pos x="T0" y="T1"/>
              </a:cxn>
              <a:cxn ang="0">
                <a:pos x="T2" y="T3"/>
              </a:cxn>
              <a:cxn ang="0">
                <a:pos x="T4" y="T5"/>
              </a:cxn>
              <a:cxn ang="0">
                <a:pos x="T6" y="T7"/>
              </a:cxn>
              <a:cxn ang="0">
                <a:pos x="T8" y="T9"/>
              </a:cxn>
            </a:cxnLst>
            <a:rect l="0" t="0" r="r" b="b"/>
            <a:pathLst>
              <a:path w="372" h="1066">
                <a:moveTo>
                  <a:pt x="372" y="0"/>
                </a:moveTo>
                <a:lnTo>
                  <a:pt x="0" y="467"/>
                </a:lnTo>
                <a:lnTo>
                  <a:pt x="0" y="1066"/>
                </a:lnTo>
                <a:lnTo>
                  <a:pt x="372" y="831"/>
                </a:lnTo>
                <a:lnTo>
                  <a:pt x="372"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2" name="Freeform 29">
            <a:extLst>
              <a:ext uri="{FF2B5EF4-FFF2-40B4-BE49-F238E27FC236}">
                <a16:creationId xmlns:a16="http://schemas.microsoft.com/office/drawing/2014/main" id="{FB4767FA-7F8B-5A44-A456-DBD3FE206E79}"/>
              </a:ext>
            </a:extLst>
          </p:cNvPr>
          <p:cNvSpPr>
            <a:spLocks/>
          </p:cNvSpPr>
          <p:nvPr/>
        </p:nvSpPr>
        <p:spPr bwMode="auto">
          <a:xfrm>
            <a:off x="1558676" y="2291789"/>
            <a:ext cx="398378" cy="863153"/>
          </a:xfrm>
          <a:custGeom>
            <a:avLst/>
            <a:gdLst>
              <a:gd name="T0" fmla="*/ 372 w 372"/>
              <a:gd name="T1" fmla="*/ 831 h 831"/>
              <a:gd name="T2" fmla="*/ 0 w 372"/>
              <a:gd name="T3" fmla="*/ 831 h 831"/>
              <a:gd name="T4" fmla="*/ 0 w 372"/>
              <a:gd name="T5" fmla="*/ 235 h 831"/>
              <a:gd name="T6" fmla="*/ 372 w 372"/>
              <a:gd name="T7" fmla="*/ 0 h 831"/>
              <a:gd name="T8" fmla="*/ 372 w 372"/>
              <a:gd name="T9" fmla="*/ 831 h 831"/>
            </a:gdLst>
            <a:ahLst/>
            <a:cxnLst>
              <a:cxn ang="0">
                <a:pos x="T0" y="T1"/>
              </a:cxn>
              <a:cxn ang="0">
                <a:pos x="T2" y="T3"/>
              </a:cxn>
              <a:cxn ang="0">
                <a:pos x="T4" y="T5"/>
              </a:cxn>
              <a:cxn ang="0">
                <a:pos x="T6" y="T7"/>
              </a:cxn>
              <a:cxn ang="0">
                <a:pos x="T8" y="T9"/>
              </a:cxn>
            </a:cxnLst>
            <a:rect l="0" t="0" r="r" b="b"/>
            <a:pathLst>
              <a:path w="372" h="831">
                <a:moveTo>
                  <a:pt x="372" y="831"/>
                </a:moveTo>
                <a:lnTo>
                  <a:pt x="0" y="831"/>
                </a:lnTo>
                <a:lnTo>
                  <a:pt x="0" y="235"/>
                </a:lnTo>
                <a:lnTo>
                  <a:pt x="372" y="0"/>
                </a:lnTo>
                <a:lnTo>
                  <a:pt x="372" y="83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3" name="Freeform 30">
            <a:extLst>
              <a:ext uri="{FF2B5EF4-FFF2-40B4-BE49-F238E27FC236}">
                <a16:creationId xmlns:a16="http://schemas.microsoft.com/office/drawing/2014/main" id="{B3357CF0-15D6-3F4F-A96C-209C9454C450}"/>
              </a:ext>
            </a:extLst>
          </p:cNvPr>
          <p:cNvSpPr>
            <a:spLocks/>
          </p:cNvSpPr>
          <p:nvPr/>
        </p:nvSpPr>
        <p:spPr bwMode="auto">
          <a:xfrm>
            <a:off x="1558676" y="3943695"/>
            <a:ext cx="398378" cy="1107246"/>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Lst>
            <a:ahLst/>
            <a:cxnLst>
              <a:cxn ang="0">
                <a:pos x="T0" y="T1"/>
              </a:cxn>
              <a:cxn ang="0">
                <a:pos x="T2" y="T3"/>
              </a:cxn>
              <a:cxn ang="0">
                <a:pos x="T4" y="T5"/>
              </a:cxn>
              <a:cxn ang="0">
                <a:pos x="T6" y="T7"/>
              </a:cxn>
              <a:cxn ang="0">
                <a:pos x="T8" y="T9"/>
              </a:cxn>
            </a:cxnLst>
            <a:rect l="0" t="0" r="r" b="b"/>
            <a:pathLst>
              <a:path w="372" h="1066">
                <a:moveTo>
                  <a:pt x="372" y="1066"/>
                </a:moveTo>
                <a:lnTo>
                  <a:pt x="0" y="599"/>
                </a:lnTo>
                <a:lnTo>
                  <a:pt x="0" y="0"/>
                </a:lnTo>
                <a:lnTo>
                  <a:pt x="372" y="235"/>
                </a:lnTo>
                <a:lnTo>
                  <a:pt x="372" y="106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4" name="Freeform 31">
            <a:extLst>
              <a:ext uri="{FF2B5EF4-FFF2-40B4-BE49-F238E27FC236}">
                <a16:creationId xmlns:a16="http://schemas.microsoft.com/office/drawing/2014/main" id="{991212F4-442E-D142-8500-3AF669BD40D9}"/>
              </a:ext>
            </a:extLst>
          </p:cNvPr>
          <p:cNvSpPr>
            <a:spLocks/>
          </p:cNvSpPr>
          <p:nvPr/>
        </p:nvSpPr>
        <p:spPr bwMode="auto">
          <a:xfrm>
            <a:off x="1558676" y="3220326"/>
            <a:ext cx="398378" cy="869385"/>
          </a:xfrm>
          <a:custGeom>
            <a:avLst/>
            <a:gdLst>
              <a:gd name="T0" fmla="*/ 372 w 372"/>
              <a:gd name="T1" fmla="*/ 0 h 837"/>
              <a:gd name="T2" fmla="*/ 0 w 372"/>
              <a:gd name="T3" fmla="*/ 0 h 837"/>
              <a:gd name="T4" fmla="*/ 0 w 372"/>
              <a:gd name="T5" fmla="*/ 602 h 837"/>
              <a:gd name="T6" fmla="*/ 372 w 372"/>
              <a:gd name="T7" fmla="*/ 837 h 837"/>
              <a:gd name="T8" fmla="*/ 372 w 372"/>
              <a:gd name="T9" fmla="*/ 0 h 837"/>
            </a:gdLst>
            <a:ahLst/>
            <a:cxnLst>
              <a:cxn ang="0">
                <a:pos x="T0" y="T1"/>
              </a:cxn>
              <a:cxn ang="0">
                <a:pos x="T2" y="T3"/>
              </a:cxn>
              <a:cxn ang="0">
                <a:pos x="T4" y="T5"/>
              </a:cxn>
              <a:cxn ang="0">
                <a:pos x="T6" y="T7"/>
              </a:cxn>
              <a:cxn ang="0">
                <a:pos x="T8" y="T9"/>
              </a:cxn>
            </a:cxnLst>
            <a:rect l="0" t="0" r="r" b="b"/>
            <a:pathLst>
              <a:path w="372" h="837">
                <a:moveTo>
                  <a:pt x="372" y="0"/>
                </a:moveTo>
                <a:lnTo>
                  <a:pt x="0" y="0"/>
                </a:lnTo>
                <a:lnTo>
                  <a:pt x="0" y="602"/>
                </a:lnTo>
                <a:lnTo>
                  <a:pt x="372" y="837"/>
                </a:lnTo>
                <a:lnTo>
                  <a:pt x="372" y="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5" name="Rectangle 23">
            <a:extLst>
              <a:ext uri="{FF2B5EF4-FFF2-40B4-BE49-F238E27FC236}">
                <a16:creationId xmlns:a16="http://schemas.microsoft.com/office/drawing/2014/main" id="{7C6A15FF-7E42-7846-A71B-6EC2927FA921}"/>
              </a:ext>
            </a:extLst>
          </p:cNvPr>
          <p:cNvSpPr>
            <a:spLocks noChangeArrowheads="1"/>
          </p:cNvSpPr>
          <p:nvPr/>
        </p:nvSpPr>
        <p:spPr bwMode="auto">
          <a:xfrm>
            <a:off x="2203257" y="1470644"/>
            <a:ext cx="57066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1</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6" name="Rectangle 24">
            <a:extLst>
              <a:ext uri="{FF2B5EF4-FFF2-40B4-BE49-F238E27FC236}">
                <a16:creationId xmlns:a16="http://schemas.microsoft.com/office/drawing/2014/main" id="{0A9EE39E-8BE7-BE40-BD6A-EFF8DF04CDE8}"/>
              </a:ext>
            </a:extLst>
          </p:cNvPr>
          <p:cNvSpPr>
            <a:spLocks noChangeArrowheads="1"/>
          </p:cNvSpPr>
          <p:nvPr/>
        </p:nvSpPr>
        <p:spPr bwMode="auto">
          <a:xfrm>
            <a:off x="2203257" y="2419658"/>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2</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7" name="Rectangle 25">
            <a:extLst>
              <a:ext uri="{FF2B5EF4-FFF2-40B4-BE49-F238E27FC236}">
                <a16:creationId xmlns:a16="http://schemas.microsoft.com/office/drawing/2014/main" id="{FBF96F09-049A-E741-961F-7A08E0597010}"/>
              </a:ext>
            </a:extLst>
          </p:cNvPr>
          <p:cNvSpPr>
            <a:spLocks noChangeArrowheads="1"/>
          </p:cNvSpPr>
          <p:nvPr/>
        </p:nvSpPr>
        <p:spPr bwMode="auto">
          <a:xfrm>
            <a:off x="2203257" y="3334352"/>
            <a:ext cx="100008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3</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8" name="Rectangle 26">
            <a:extLst>
              <a:ext uri="{FF2B5EF4-FFF2-40B4-BE49-F238E27FC236}">
                <a16:creationId xmlns:a16="http://schemas.microsoft.com/office/drawing/2014/main" id="{5653202A-EF4D-8E43-B956-7F5AFAB31009}"/>
              </a:ext>
            </a:extLst>
          </p:cNvPr>
          <p:cNvSpPr>
            <a:spLocks noChangeArrowheads="1"/>
          </p:cNvSpPr>
          <p:nvPr/>
        </p:nvSpPr>
        <p:spPr bwMode="auto">
          <a:xfrm>
            <a:off x="2203257" y="4294003"/>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4</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9" name="Rectangle 38">
            <a:extLst>
              <a:ext uri="{FF2B5EF4-FFF2-40B4-BE49-F238E27FC236}">
                <a16:creationId xmlns:a16="http://schemas.microsoft.com/office/drawing/2014/main" id="{386DBAB6-34AB-764A-B6B7-A464E5B79893}"/>
              </a:ext>
            </a:extLst>
          </p:cNvPr>
          <p:cNvSpPr/>
          <p:nvPr/>
        </p:nvSpPr>
        <p:spPr>
          <a:xfrm>
            <a:off x="2882977" y="5180468"/>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lvl="0">
              <a:defRPr/>
            </a:pPr>
            <a:r>
              <a:rPr lang="en-US">
                <a:solidFill>
                  <a:schemeClr val="bg2"/>
                </a:solidFill>
                <a:latin typeface="Calibri" panose="020F0502020204030204" pitchFamily="34" charset="0"/>
                <a:cs typeface="Calibri" panose="020F0502020204030204" pitchFamily="34" charset="0"/>
              </a:rPr>
              <a:t>Appendix: Detailed breakdown of activities and deliverables &amp; Veeva Credentials</a:t>
            </a:r>
          </a:p>
        </p:txBody>
      </p:sp>
      <p:sp>
        <p:nvSpPr>
          <p:cNvPr id="40" name="Freeform 27">
            <a:extLst>
              <a:ext uri="{FF2B5EF4-FFF2-40B4-BE49-F238E27FC236}">
                <a16:creationId xmlns:a16="http://schemas.microsoft.com/office/drawing/2014/main" id="{F0EF2FB1-D9F4-1A4F-9B77-EFD8295D13CD}"/>
              </a:ext>
            </a:extLst>
          </p:cNvPr>
          <p:cNvSpPr>
            <a:spLocks/>
          </p:cNvSpPr>
          <p:nvPr/>
        </p:nvSpPr>
        <p:spPr bwMode="auto">
          <a:xfrm>
            <a:off x="1957054" y="5183583"/>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41" name="Rectangle 26">
            <a:extLst>
              <a:ext uri="{FF2B5EF4-FFF2-40B4-BE49-F238E27FC236}">
                <a16:creationId xmlns:a16="http://schemas.microsoft.com/office/drawing/2014/main" id="{701A6EA6-4704-774C-8389-46D4D5F3AD7A}"/>
              </a:ext>
            </a:extLst>
          </p:cNvPr>
          <p:cNvSpPr>
            <a:spLocks noChangeArrowheads="1"/>
          </p:cNvSpPr>
          <p:nvPr/>
        </p:nvSpPr>
        <p:spPr bwMode="auto">
          <a:xfrm>
            <a:off x="2203257" y="5292915"/>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5</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42" name="Freeform 30">
            <a:extLst>
              <a:ext uri="{FF2B5EF4-FFF2-40B4-BE49-F238E27FC236}">
                <a16:creationId xmlns:a16="http://schemas.microsoft.com/office/drawing/2014/main" id="{48E49602-AD25-674F-9EF5-18B432659D96}"/>
              </a:ext>
            </a:extLst>
          </p:cNvPr>
          <p:cNvSpPr>
            <a:spLocks/>
          </p:cNvSpPr>
          <p:nvPr/>
        </p:nvSpPr>
        <p:spPr bwMode="auto">
          <a:xfrm>
            <a:off x="1558676" y="4724357"/>
            <a:ext cx="398378" cy="1326038"/>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 name="connsiteX0" fmla="*/ 10000 w 10000"/>
              <a:gd name="connsiteY0" fmla="*/ 11976 h 11976"/>
              <a:gd name="connsiteX1" fmla="*/ 0 w 10000"/>
              <a:gd name="connsiteY1" fmla="*/ 7595 h 11976"/>
              <a:gd name="connsiteX2" fmla="*/ 0 w 10000"/>
              <a:gd name="connsiteY2" fmla="*/ 0 h 11976"/>
              <a:gd name="connsiteX3" fmla="*/ 10000 w 10000"/>
              <a:gd name="connsiteY3" fmla="*/ 4181 h 11976"/>
              <a:gd name="connsiteX4" fmla="*/ 10000 w 10000"/>
              <a:gd name="connsiteY4" fmla="*/ 11976 h 11976"/>
              <a:gd name="connsiteX0" fmla="*/ 10000 w 10000"/>
              <a:gd name="connsiteY0" fmla="*/ 11976 h 11976"/>
              <a:gd name="connsiteX1" fmla="*/ 0 w 10000"/>
              <a:gd name="connsiteY1" fmla="*/ 5518 h 11976"/>
              <a:gd name="connsiteX2" fmla="*/ 0 w 10000"/>
              <a:gd name="connsiteY2" fmla="*/ 0 h 11976"/>
              <a:gd name="connsiteX3" fmla="*/ 10000 w 10000"/>
              <a:gd name="connsiteY3" fmla="*/ 4181 h 11976"/>
              <a:gd name="connsiteX4" fmla="*/ 10000 w 10000"/>
              <a:gd name="connsiteY4" fmla="*/ 11976 h 11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976">
                <a:moveTo>
                  <a:pt x="10000" y="11976"/>
                </a:moveTo>
                <a:lnTo>
                  <a:pt x="0" y="5518"/>
                </a:lnTo>
                <a:lnTo>
                  <a:pt x="0" y="0"/>
                </a:lnTo>
                <a:lnTo>
                  <a:pt x="10000" y="4181"/>
                </a:lnTo>
                <a:lnTo>
                  <a:pt x="10000" y="1197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43" name="Title 1">
            <a:extLst>
              <a:ext uri="{FF2B5EF4-FFF2-40B4-BE49-F238E27FC236}">
                <a16:creationId xmlns:a16="http://schemas.microsoft.com/office/drawing/2014/main" id="{AD91F152-2193-1543-82A7-2237D2A9F1C7}"/>
              </a:ext>
            </a:extLst>
          </p:cNvPr>
          <p:cNvSpPr>
            <a:spLocks noGrp="1"/>
          </p:cNvSpPr>
          <p:nvPr>
            <p:ph type="title"/>
          </p:nvPr>
        </p:nvSpPr>
        <p:spPr>
          <a:xfrm>
            <a:off x="276303" y="240653"/>
            <a:ext cx="11639394" cy="1101213"/>
          </a:xfrm>
        </p:spPr>
        <p:txBody>
          <a:bodyPr vert="horz" lIns="91440" tIns="45720" rIns="91440" bIns="45720" rtlCol="0" anchor="ctr" anchorCtr="0">
            <a:noAutofit/>
          </a:bodyPr>
          <a:lstStyle/>
          <a:p>
            <a:r>
              <a:rPr lang="en-US">
                <a:latin typeface="Calibri"/>
                <a:cs typeface="Calibri"/>
              </a:rPr>
              <a:t>Table of contents </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7939061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9492DE-F064-3349-A498-D70562A126BD}"/>
              </a:ext>
            </a:extLst>
          </p:cNvPr>
          <p:cNvSpPr>
            <a:spLocks noGrp="1"/>
          </p:cNvSpPr>
          <p:nvPr>
            <p:ph type="title"/>
          </p:nvPr>
        </p:nvSpPr>
        <p:spPr/>
        <p:txBody>
          <a:bodyPr/>
          <a:lstStyle/>
          <a:p>
            <a:r>
              <a:rPr lang="en-US"/>
              <a:t>Before we start, let’s align on key terminology</a:t>
            </a:r>
          </a:p>
        </p:txBody>
      </p:sp>
      <p:grpSp>
        <p:nvGrpSpPr>
          <p:cNvPr id="37" name="Group 36">
            <a:extLst>
              <a:ext uri="{FF2B5EF4-FFF2-40B4-BE49-F238E27FC236}">
                <a16:creationId xmlns:a16="http://schemas.microsoft.com/office/drawing/2014/main" id="{E815912F-34CE-5B48-A230-63A3D8087A1E}"/>
              </a:ext>
            </a:extLst>
          </p:cNvPr>
          <p:cNvGrpSpPr/>
          <p:nvPr/>
        </p:nvGrpSpPr>
        <p:grpSpPr>
          <a:xfrm>
            <a:off x="654503" y="1341866"/>
            <a:ext cx="10882991" cy="4631280"/>
            <a:chOff x="734769" y="1508261"/>
            <a:chExt cx="10646245" cy="6302968"/>
          </a:xfrm>
        </p:grpSpPr>
        <p:sp>
          <p:nvSpPr>
            <p:cNvPr id="4" name="Rectangle 3">
              <a:extLst>
                <a:ext uri="{FF2B5EF4-FFF2-40B4-BE49-F238E27FC236}">
                  <a16:creationId xmlns:a16="http://schemas.microsoft.com/office/drawing/2014/main" id="{C833FCBC-A00F-1548-A508-464CF78357FE}"/>
                </a:ext>
              </a:extLst>
            </p:cNvPr>
            <p:cNvSpPr/>
            <p:nvPr/>
          </p:nvSpPr>
          <p:spPr>
            <a:xfrm>
              <a:off x="734769" y="1508261"/>
              <a:ext cx="1659450" cy="84686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gmentation &amp; Targeting</a:t>
              </a:r>
            </a:p>
          </p:txBody>
        </p:sp>
        <p:sp>
          <p:nvSpPr>
            <p:cNvPr id="5" name="Rectangle 4">
              <a:extLst>
                <a:ext uri="{FF2B5EF4-FFF2-40B4-BE49-F238E27FC236}">
                  <a16:creationId xmlns:a16="http://schemas.microsoft.com/office/drawing/2014/main" id="{E281A5EE-0D43-9040-BB12-5F5BE43F02B6}"/>
                </a:ext>
              </a:extLst>
            </p:cNvPr>
            <p:cNvSpPr/>
            <p:nvPr/>
          </p:nvSpPr>
          <p:spPr>
            <a:xfrm>
              <a:off x="734769" y="5147843"/>
              <a:ext cx="1659450" cy="8468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Engagement model archetype</a:t>
              </a:r>
            </a:p>
          </p:txBody>
        </p:sp>
        <p:sp>
          <p:nvSpPr>
            <p:cNvPr id="8" name="Rectangle 7">
              <a:extLst>
                <a:ext uri="{FF2B5EF4-FFF2-40B4-BE49-F238E27FC236}">
                  <a16:creationId xmlns:a16="http://schemas.microsoft.com/office/drawing/2014/main" id="{D78B87EE-C058-F64A-B26E-B6634D464A14}"/>
                </a:ext>
              </a:extLst>
            </p:cNvPr>
            <p:cNvSpPr/>
            <p:nvPr/>
          </p:nvSpPr>
          <p:spPr>
            <a:xfrm>
              <a:off x="734770" y="3324640"/>
              <a:ext cx="1659450" cy="84686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CP / Touchpoint journeys</a:t>
              </a:r>
            </a:p>
          </p:txBody>
        </p:sp>
        <p:sp>
          <p:nvSpPr>
            <p:cNvPr id="10" name="Rectangle 9">
              <a:extLst>
                <a:ext uri="{FF2B5EF4-FFF2-40B4-BE49-F238E27FC236}">
                  <a16:creationId xmlns:a16="http://schemas.microsoft.com/office/drawing/2014/main" id="{60C89724-F0F7-0248-ABA6-2238A41A38C6}"/>
                </a:ext>
              </a:extLst>
            </p:cNvPr>
            <p:cNvSpPr/>
            <p:nvPr/>
          </p:nvSpPr>
          <p:spPr>
            <a:xfrm>
              <a:off x="734770" y="4236242"/>
              <a:ext cx="1659450" cy="84686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o to market strategy</a:t>
              </a:r>
            </a:p>
          </p:txBody>
        </p:sp>
        <p:sp>
          <p:nvSpPr>
            <p:cNvPr id="13" name="Rectangle 12">
              <a:extLst>
                <a:ext uri="{FF2B5EF4-FFF2-40B4-BE49-F238E27FC236}">
                  <a16:creationId xmlns:a16="http://schemas.microsoft.com/office/drawing/2014/main" id="{63C4E1FE-0618-D948-89D6-255C582240C3}"/>
                </a:ext>
              </a:extLst>
            </p:cNvPr>
            <p:cNvSpPr/>
            <p:nvPr/>
          </p:nvSpPr>
          <p:spPr>
            <a:xfrm>
              <a:off x="734770" y="6054078"/>
              <a:ext cx="1659450" cy="8468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Customer engagement model</a:t>
              </a:r>
            </a:p>
          </p:txBody>
        </p:sp>
        <p:sp>
          <p:nvSpPr>
            <p:cNvPr id="28" name="Rectangle 27">
              <a:extLst>
                <a:ext uri="{FF2B5EF4-FFF2-40B4-BE49-F238E27FC236}">
                  <a16:creationId xmlns:a16="http://schemas.microsoft.com/office/drawing/2014/main" id="{C93AD3B1-1C10-184E-A918-25436AA554D3}"/>
                </a:ext>
              </a:extLst>
            </p:cNvPr>
            <p:cNvSpPr/>
            <p:nvPr/>
          </p:nvSpPr>
          <p:spPr>
            <a:xfrm>
              <a:off x="734770" y="2415613"/>
              <a:ext cx="1659450" cy="84686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Adoption ladder</a:t>
              </a:r>
            </a:p>
          </p:txBody>
        </p:sp>
        <p:sp>
          <p:nvSpPr>
            <p:cNvPr id="26" name="Rectangle 25">
              <a:extLst>
                <a:ext uri="{FF2B5EF4-FFF2-40B4-BE49-F238E27FC236}">
                  <a16:creationId xmlns:a16="http://schemas.microsoft.com/office/drawing/2014/main" id="{7F0762A7-AE82-4D46-8FEB-13B7DA9BC43E}"/>
                </a:ext>
              </a:extLst>
            </p:cNvPr>
            <p:cNvSpPr/>
            <p:nvPr/>
          </p:nvSpPr>
          <p:spPr>
            <a:xfrm>
              <a:off x="2484773" y="1508261"/>
              <a:ext cx="8896241" cy="846867"/>
            </a:xfrm>
            <a:prstGeom prst="rect">
              <a:avLst/>
            </a:prstGeom>
            <a:solidFill>
              <a:schemeClr val="bg1">
                <a:lumMod val="95000"/>
              </a:schemeClr>
            </a:solidFill>
            <a:ln>
              <a:noFill/>
            </a:ln>
            <a:effectLst/>
          </p:spPr>
          <p:txBody>
            <a:bodyPr wrap="square" lIns="180000" anchor="ctr">
              <a:noAutofit/>
            </a:bodyPr>
            <a:lstStyle/>
            <a:p>
              <a:pPr algn="ctr"/>
              <a:r>
                <a:rPr lang="en-GB" sz="1200">
                  <a:solidFill>
                    <a:srgbClr val="333333"/>
                  </a:solidFill>
                  <a:latin typeface="Segoe UI" panose="020B0502040204020203" pitchFamily="34" charset="0"/>
                </a:rPr>
                <a:t>The process of dividing customers into groups that share the same characteristics. Can be based on value/potential to drive targeting and HCP attitudes to describe prescribing attitudes (Mavericks, Compassionates, Pragmatists etc). </a:t>
              </a:r>
              <a:endParaRPr lang="en-US" sz="1200">
                <a:solidFill>
                  <a:srgbClr val="333333"/>
                </a:solidFill>
                <a:latin typeface="Segoe UI" panose="020B0502040204020203" pitchFamily="34" charset="0"/>
              </a:endParaRPr>
            </a:p>
          </p:txBody>
        </p:sp>
        <p:sp>
          <p:nvSpPr>
            <p:cNvPr id="30" name="Rectangle 29">
              <a:extLst>
                <a:ext uri="{FF2B5EF4-FFF2-40B4-BE49-F238E27FC236}">
                  <a16:creationId xmlns:a16="http://schemas.microsoft.com/office/drawing/2014/main" id="{924E6F51-7D02-6044-A22B-EEAFD5C1DCA9}"/>
                </a:ext>
              </a:extLst>
            </p:cNvPr>
            <p:cNvSpPr/>
            <p:nvPr/>
          </p:nvSpPr>
          <p:spPr>
            <a:xfrm>
              <a:off x="2484772" y="5153726"/>
              <a:ext cx="8896241" cy="846867"/>
            </a:xfrm>
            <a:prstGeom prst="rect">
              <a:avLst/>
            </a:prstGeom>
            <a:solidFill>
              <a:schemeClr val="bg1">
                <a:lumMod val="95000"/>
              </a:schemeClr>
            </a:solidFill>
            <a:ln>
              <a:noFill/>
            </a:ln>
            <a:effectLst/>
          </p:spPr>
          <p:txBody>
            <a:bodyPr wrap="square" lIns="180000" anchor="ctr">
              <a:noAutofit/>
            </a:bodyPr>
            <a:lstStyle/>
            <a:p>
              <a:pPr algn="ctr"/>
              <a:r>
                <a:rPr lang="en-GB" sz="1200">
                  <a:solidFill>
                    <a:srgbClr val="333333"/>
                  </a:solidFill>
                  <a:latin typeface="Segoe UI" panose="020B0502040204020203" pitchFamily="34" charset="0"/>
                </a:rPr>
                <a:t>Describes two main engagement types that drive customer engagement model design. These are HCP level and account-based planning. The customer engagement model will need to be adapted based on what model is right for each market</a:t>
              </a:r>
              <a:endParaRPr lang="en-US" sz="1200">
                <a:solidFill>
                  <a:srgbClr val="333333"/>
                </a:solidFill>
                <a:latin typeface="Segoe UI" panose="020B0502040204020203" pitchFamily="34" charset="0"/>
              </a:endParaRPr>
            </a:p>
          </p:txBody>
        </p:sp>
        <p:sp>
          <p:nvSpPr>
            <p:cNvPr id="31" name="Rectangle 30">
              <a:extLst>
                <a:ext uri="{FF2B5EF4-FFF2-40B4-BE49-F238E27FC236}">
                  <a16:creationId xmlns:a16="http://schemas.microsoft.com/office/drawing/2014/main" id="{614747EB-2111-C046-A083-AEB9E486A8CE}"/>
                </a:ext>
              </a:extLst>
            </p:cNvPr>
            <p:cNvSpPr/>
            <p:nvPr/>
          </p:nvSpPr>
          <p:spPr>
            <a:xfrm>
              <a:off x="2484772" y="3324639"/>
              <a:ext cx="8896241" cy="846867"/>
            </a:xfrm>
            <a:prstGeom prst="rect">
              <a:avLst/>
            </a:prstGeom>
            <a:solidFill>
              <a:schemeClr val="bg1">
                <a:lumMod val="95000"/>
              </a:schemeClr>
            </a:solidFill>
            <a:ln>
              <a:noFill/>
            </a:ln>
            <a:effectLst/>
          </p:spPr>
          <p:txBody>
            <a:bodyPr wrap="square" lIns="180000" anchor="ctr">
              <a:noAutofit/>
            </a:bodyPr>
            <a:lstStyle/>
            <a:p>
              <a:pPr algn="ctr"/>
              <a:r>
                <a:rPr lang="en-GB" sz="1200">
                  <a:solidFill>
                    <a:srgbClr val="333333"/>
                  </a:solidFill>
                  <a:latin typeface="Segoe UI" panose="020B0502040204020203" pitchFamily="34" charset="0"/>
                </a:rPr>
                <a:t>This is mapping out the touchpoints, messages and channels required to move HCPs up the adoption ladder.</a:t>
              </a:r>
              <a:endParaRPr lang="en-US" sz="1200">
                <a:solidFill>
                  <a:srgbClr val="333333"/>
                </a:solidFill>
                <a:latin typeface="Segoe UI" panose="020B0502040204020203" pitchFamily="34" charset="0"/>
              </a:endParaRPr>
            </a:p>
          </p:txBody>
        </p:sp>
        <p:sp>
          <p:nvSpPr>
            <p:cNvPr id="32" name="Rectangle 31">
              <a:extLst>
                <a:ext uri="{FF2B5EF4-FFF2-40B4-BE49-F238E27FC236}">
                  <a16:creationId xmlns:a16="http://schemas.microsoft.com/office/drawing/2014/main" id="{64094861-C0C7-AA43-BA4B-F63F725E8170}"/>
                </a:ext>
              </a:extLst>
            </p:cNvPr>
            <p:cNvSpPr/>
            <p:nvPr/>
          </p:nvSpPr>
          <p:spPr>
            <a:xfrm>
              <a:off x="2484773" y="2420314"/>
              <a:ext cx="8896241" cy="846867"/>
            </a:xfrm>
            <a:prstGeom prst="rect">
              <a:avLst/>
            </a:prstGeom>
            <a:solidFill>
              <a:schemeClr val="bg1">
                <a:lumMod val="95000"/>
              </a:schemeClr>
            </a:solidFill>
            <a:ln>
              <a:noFill/>
            </a:ln>
            <a:effectLst/>
          </p:spPr>
          <p:txBody>
            <a:bodyPr wrap="square" lIns="180000" anchor="ctr">
              <a:noAutofit/>
            </a:bodyPr>
            <a:lstStyle/>
            <a:p>
              <a:pPr algn="ctr"/>
              <a:r>
                <a:rPr lang="en-GB" sz="1200">
                  <a:solidFill>
                    <a:srgbClr val="333333"/>
                  </a:solidFill>
                  <a:latin typeface="Segoe UI" panose="020B0502040204020203" pitchFamily="34" charset="0"/>
                </a:rPr>
                <a:t>The 5 stages of of HCP adoption for a Galapagos product. Each stage contains the Galapagos goal, relevant barriers and key messages required.</a:t>
              </a:r>
              <a:endParaRPr lang="en-US" sz="1200">
                <a:solidFill>
                  <a:srgbClr val="333333"/>
                </a:solidFill>
                <a:latin typeface="Segoe UI" panose="020B0502040204020203" pitchFamily="34" charset="0"/>
              </a:endParaRPr>
            </a:p>
          </p:txBody>
        </p:sp>
        <p:sp>
          <p:nvSpPr>
            <p:cNvPr id="33" name="Rectangle 32">
              <a:extLst>
                <a:ext uri="{FF2B5EF4-FFF2-40B4-BE49-F238E27FC236}">
                  <a16:creationId xmlns:a16="http://schemas.microsoft.com/office/drawing/2014/main" id="{D8A7BE65-7C7A-9C41-BFA0-280773DE9331}"/>
                </a:ext>
              </a:extLst>
            </p:cNvPr>
            <p:cNvSpPr/>
            <p:nvPr/>
          </p:nvSpPr>
          <p:spPr>
            <a:xfrm>
              <a:off x="2484772" y="4236241"/>
              <a:ext cx="8896241" cy="846867"/>
            </a:xfrm>
            <a:prstGeom prst="rect">
              <a:avLst/>
            </a:prstGeom>
            <a:solidFill>
              <a:schemeClr val="bg1">
                <a:lumMod val="95000"/>
              </a:schemeClr>
            </a:solidFill>
            <a:ln>
              <a:noFill/>
            </a:ln>
            <a:effectLst/>
          </p:spPr>
          <p:txBody>
            <a:bodyPr wrap="square" lIns="180000" anchor="ctr">
              <a:noAutofit/>
            </a:bodyPr>
            <a:lstStyle/>
            <a:p>
              <a:pPr algn="ctr"/>
              <a:r>
                <a:rPr lang="en-GB" sz="1200">
                  <a:solidFill>
                    <a:srgbClr val="333333"/>
                  </a:solidFill>
                  <a:latin typeface="Segoe UI" panose="020B0502040204020203" pitchFamily="34" charset="0"/>
                </a:rPr>
                <a:t>The Galapagos strategy that details how it plans to organise itself to service its customers. This includes field team structure, size, territory alignment, roles and responsibilities.</a:t>
              </a:r>
              <a:endParaRPr lang="en-US" sz="1200">
                <a:solidFill>
                  <a:srgbClr val="333333"/>
                </a:solidFill>
                <a:latin typeface="Segoe UI" panose="020B0502040204020203" pitchFamily="34" charset="0"/>
              </a:endParaRPr>
            </a:p>
          </p:txBody>
        </p:sp>
        <p:sp>
          <p:nvSpPr>
            <p:cNvPr id="34" name="Rectangle 33">
              <a:extLst>
                <a:ext uri="{FF2B5EF4-FFF2-40B4-BE49-F238E27FC236}">
                  <a16:creationId xmlns:a16="http://schemas.microsoft.com/office/drawing/2014/main" id="{A744C2B0-9658-4F4E-BE2B-0519B297F8F9}"/>
                </a:ext>
              </a:extLst>
            </p:cNvPr>
            <p:cNvSpPr/>
            <p:nvPr/>
          </p:nvSpPr>
          <p:spPr>
            <a:xfrm>
              <a:off x="2484772" y="6054078"/>
              <a:ext cx="8896241" cy="846867"/>
            </a:xfrm>
            <a:prstGeom prst="rect">
              <a:avLst/>
            </a:prstGeom>
            <a:solidFill>
              <a:schemeClr val="bg1">
                <a:lumMod val="95000"/>
              </a:schemeClr>
            </a:solidFill>
            <a:ln>
              <a:noFill/>
            </a:ln>
            <a:effectLst/>
          </p:spPr>
          <p:txBody>
            <a:bodyPr wrap="square" lIns="180000" anchor="ctr">
              <a:noAutofit/>
            </a:bodyPr>
            <a:lstStyle/>
            <a:p>
              <a:pPr algn="ctr"/>
              <a:r>
                <a:rPr lang="en-GB" sz="1200">
                  <a:solidFill>
                    <a:srgbClr val="333333"/>
                  </a:solidFill>
                  <a:latin typeface="Segoe UI" panose="020B0502040204020203" pitchFamily="34" charset="0"/>
                </a:rPr>
                <a:t>The detailed plan of who will do what to engage HCPs and deliver on the HCP / touchpoint journeys. This involves a rep level activity plan that describes the day/cycle in the life of a rep and MCCP</a:t>
              </a:r>
              <a:endParaRPr lang="en-US" sz="1200"/>
            </a:p>
          </p:txBody>
        </p:sp>
        <p:sp>
          <p:nvSpPr>
            <p:cNvPr id="35" name="Rectangle 34">
              <a:extLst>
                <a:ext uri="{FF2B5EF4-FFF2-40B4-BE49-F238E27FC236}">
                  <a16:creationId xmlns:a16="http://schemas.microsoft.com/office/drawing/2014/main" id="{8F51EE95-D62A-8042-8723-7052A9BDC65B}"/>
                </a:ext>
              </a:extLst>
            </p:cNvPr>
            <p:cNvSpPr/>
            <p:nvPr/>
          </p:nvSpPr>
          <p:spPr>
            <a:xfrm>
              <a:off x="734770" y="6964362"/>
              <a:ext cx="1659450" cy="8468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Customer engagement framework</a:t>
              </a:r>
            </a:p>
          </p:txBody>
        </p:sp>
        <p:sp>
          <p:nvSpPr>
            <p:cNvPr id="36" name="Rectangle 35">
              <a:extLst>
                <a:ext uri="{FF2B5EF4-FFF2-40B4-BE49-F238E27FC236}">
                  <a16:creationId xmlns:a16="http://schemas.microsoft.com/office/drawing/2014/main" id="{D3451BAE-1096-C845-85C6-2D640AA0D8F3}"/>
                </a:ext>
              </a:extLst>
            </p:cNvPr>
            <p:cNvSpPr/>
            <p:nvPr/>
          </p:nvSpPr>
          <p:spPr>
            <a:xfrm>
              <a:off x="2484772" y="6964362"/>
              <a:ext cx="8896241" cy="846867"/>
            </a:xfrm>
            <a:prstGeom prst="rect">
              <a:avLst/>
            </a:prstGeom>
            <a:solidFill>
              <a:schemeClr val="bg1">
                <a:lumMod val="95000"/>
              </a:schemeClr>
            </a:solidFill>
            <a:ln>
              <a:noFill/>
            </a:ln>
            <a:effectLst/>
          </p:spPr>
          <p:txBody>
            <a:bodyPr wrap="square" lIns="180000" anchor="ctr">
              <a:noAutofit/>
            </a:bodyPr>
            <a:lstStyle/>
            <a:p>
              <a:pPr algn="ctr"/>
              <a:r>
                <a:rPr lang="en-GB" sz="1200">
                  <a:solidFill>
                    <a:srgbClr val="333333"/>
                  </a:solidFill>
                  <a:latin typeface="Segoe UI" panose="020B0502040204020203" pitchFamily="34" charset="0"/>
                </a:rPr>
                <a:t>The overall framework that describes what the customer engagement model is, but also defines the methodology (process, people, platforms) for creating this and how to empower field teams to execute effectively in the market</a:t>
              </a:r>
              <a:endParaRPr lang="en-US" sz="1200"/>
            </a:p>
          </p:txBody>
        </p:sp>
      </p:grpSp>
      <p:cxnSp>
        <p:nvCxnSpPr>
          <p:cNvPr id="27" name="Straight Arrow Connector 26">
            <a:extLst>
              <a:ext uri="{FF2B5EF4-FFF2-40B4-BE49-F238E27FC236}">
                <a16:creationId xmlns:a16="http://schemas.microsoft.com/office/drawing/2014/main" id="{572931A2-B35A-4F4A-8520-802A24946238}"/>
              </a:ext>
            </a:extLst>
          </p:cNvPr>
          <p:cNvCxnSpPr>
            <a:cxnSpLocks/>
          </p:cNvCxnSpPr>
          <p:nvPr/>
        </p:nvCxnSpPr>
        <p:spPr>
          <a:xfrm>
            <a:off x="474975" y="2014836"/>
            <a:ext cx="0" cy="261258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FF9B76B-CCC7-4C45-8DEE-3B9A05CD61A8}"/>
              </a:ext>
            </a:extLst>
          </p:cNvPr>
          <p:cNvCxnSpPr>
            <a:cxnSpLocks/>
          </p:cNvCxnSpPr>
          <p:nvPr/>
        </p:nvCxnSpPr>
        <p:spPr>
          <a:xfrm>
            <a:off x="472407" y="1338970"/>
            <a:ext cx="0" cy="64058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6EDA61E-DA78-9947-ACBB-392012C004CE}"/>
              </a:ext>
            </a:extLst>
          </p:cNvPr>
          <p:cNvCxnSpPr>
            <a:cxnSpLocks/>
          </p:cNvCxnSpPr>
          <p:nvPr/>
        </p:nvCxnSpPr>
        <p:spPr>
          <a:xfrm>
            <a:off x="478418" y="4690455"/>
            <a:ext cx="0" cy="128896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FDF3685-1801-0546-828E-9DEA86C8C9B9}"/>
              </a:ext>
            </a:extLst>
          </p:cNvPr>
          <p:cNvSpPr txBox="1"/>
          <p:nvPr/>
        </p:nvSpPr>
        <p:spPr>
          <a:xfrm rot="16200000">
            <a:off x="283765" y="1589194"/>
            <a:ext cx="404264" cy="140334"/>
          </a:xfrm>
          <a:prstGeom prst="rect">
            <a:avLst/>
          </a:prstGeom>
          <a:solidFill>
            <a:schemeClr val="bg1"/>
          </a:solidFill>
        </p:spPr>
        <p:txBody>
          <a:bodyPr wrap="square" lIns="0" tIns="0" rIns="0" bIns="0"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100" i="1"/>
              <a:t>Insight</a:t>
            </a:r>
          </a:p>
        </p:txBody>
      </p:sp>
      <p:sp>
        <p:nvSpPr>
          <p:cNvPr id="40" name="TextBox 39">
            <a:extLst>
              <a:ext uri="{FF2B5EF4-FFF2-40B4-BE49-F238E27FC236}">
                <a16:creationId xmlns:a16="http://schemas.microsoft.com/office/drawing/2014/main" id="{8BF37D0C-DBC3-D54F-946E-CA7B7291B19C}"/>
              </a:ext>
            </a:extLst>
          </p:cNvPr>
          <p:cNvSpPr txBox="1"/>
          <p:nvPr/>
        </p:nvSpPr>
        <p:spPr>
          <a:xfrm rot="16200000">
            <a:off x="128310" y="3254103"/>
            <a:ext cx="688194" cy="231154"/>
          </a:xfrm>
          <a:prstGeom prst="rect">
            <a:avLst/>
          </a:prstGeom>
          <a:solidFill>
            <a:schemeClr val="bg1"/>
          </a:solid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100" i="1"/>
              <a:t>Strategy</a:t>
            </a:r>
          </a:p>
        </p:txBody>
      </p:sp>
      <p:sp>
        <p:nvSpPr>
          <p:cNvPr id="41" name="TextBox 40">
            <a:extLst>
              <a:ext uri="{FF2B5EF4-FFF2-40B4-BE49-F238E27FC236}">
                <a16:creationId xmlns:a16="http://schemas.microsoft.com/office/drawing/2014/main" id="{C0CEEDCB-ACD6-8846-AE10-A001AE36E37D}"/>
              </a:ext>
            </a:extLst>
          </p:cNvPr>
          <p:cNvSpPr txBox="1"/>
          <p:nvPr/>
        </p:nvSpPr>
        <p:spPr>
          <a:xfrm rot="16200000">
            <a:off x="141799" y="5194982"/>
            <a:ext cx="688196" cy="231154"/>
          </a:xfrm>
          <a:prstGeom prst="rect">
            <a:avLst/>
          </a:prstGeom>
          <a:solidFill>
            <a:schemeClr val="bg1"/>
          </a:solid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100" i="1"/>
              <a:t>Planning</a:t>
            </a:r>
          </a:p>
        </p:txBody>
      </p:sp>
      <p:sp>
        <p:nvSpPr>
          <p:cNvPr id="24" name="Rectangle 23">
            <a:extLst>
              <a:ext uri="{FF2B5EF4-FFF2-40B4-BE49-F238E27FC236}">
                <a16:creationId xmlns:a16="http://schemas.microsoft.com/office/drawing/2014/main" id="{DE6B82B8-F1BF-A04B-94D2-37D254CA88AD}"/>
              </a:ext>
            </a:extLst>
          </p:cNvPr>
          <p:cNvSpPr/>
          <p:nvPr/>
        </p:nvSpPr>
        <p:spPr>
          <a:xfrm>
            <a:off x="1813701" y="6417733"/>
            <a:ext cx="904100" cy="2727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Focus of the proposed project</a:t>
            </a:r>
          </a:p>
        </p:txBody>
      </p:sp>
    </p:spTree>
    <p:extLst>
      <p:ext uri="{BB962C8B-B14F-4D97-AF65-F5344CB8AC3E}">
        <p14:creationId xmlns:p14="http://schemas.microsoft.com/office/powerpoint/2010/main" val="40337732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FD804-A5B5-5E40-903F-C807E5B7979C}"/>
              </a:ext>
            </a:extLst>
          </p:cNvPr>
          <p:cNvSpPr>
            <a:spLocks noGrp="1"/>
          </p:cNvSpPr>
          <p:nvPr>
            <p:ph type="title"/>
          </p:nvPr>
        </p:nvSpPr>
        <p:spPr/>
        <p:txBody>
          <a:bodyPr vert="horz" lIns="91440" tIns="45720" rIns="91440" bIns="45720" rtlCol="0" anchor="ctr" anchorCtr="0">
            <a:noAutofit/>
          </a:bodyPr>
          <a:lstStyle/>
          <a:p>
            <a:r>
              <a:rPr lang="en-US">
                <a:latin typeface="Calibri"/>
                <a:cs typeface="Calibri"/>
              </a:rPr>
              <a:t>Table of contents </a:t>
            </a:r>
            <a:endParaRPr lang="en-US">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E63846A2-97D5-A74B-8D41-58AF367343B6}"/>
              </a:ext>
            </a:extLst>
          </p:cNvPr>
          <p:cNvSpPr/>
          <p:nvPr/>
        </p:nvSpPr>
        <p:spPr>
          <a:xfrm>
            <a:off x="2882977" y="1351499"/>
            <a:ext cx="7750346" cy="85534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a:defRPr/>
            </a:pPr>
            <a:r>
              <a:rPr lang="en-US">
                <a:solidFill>
                  <a:srgbClr val="646569"/>
                </a:solidFill>
                <a:cs typeface="Calibri"/>
              </a:rPr>
              <a:t>Galapagos Context &amp; Customer Engagement Challenge</a:t>
            </a:r>
            <a:endParaRPr lang="en-US">
              <a:cs typeface="Calibri"/>
            </a:endParaRPr>
          </a:p>
        </p:txBody>
      </p:sp>
      <p:sp>
        <p:nvSpPr>
          <p:cNvPr id="20" name="Rectangle 19">
            <a:extLst>
              <a:ext uri="{FF2B5EF4-FFF2-40B4-BE49-F238E27FC236}">
                <a16:creationId xmlns:a16="http://schemas.microsoft.com/office/drawing/2014/main" id="{66303206-DBF6-9844-8EA7-E0E0782D5346}"/>
              </a:ext>
            </a:extLst>
          </p:cNvPr>
          <p:cNvSpPr/>
          <p:nvPr/>
        </p:nvSpPr>
        <p:spPr>
          <a:xfrm>
            <a:off x="2882977" y="2290546"/>
            <a:ext cx="7750344" cy="86439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a:defRPr/>
            </a:pPr>
            <a:r>
              <a:rPr lang="en-US">
                <a:solidFill>
                  <a:srgbClr val="646569"/>
                </a:solidFill>
                <a:cs typeface="Calibri"/>
              </a:rPr>
              <a:t>Our Point of View </a:t>
            </a:r>
          </a:p>
        </p:txBody>
      </p:sp>
      <p:sp>
        <p:nvSpPr>
          <p:cNvPr id="21" name="Rectangle 20">
            <a:extLst>
              <a:ext uri="{FF2B5EF4-FFF2-40B4-BE49-F238E27FC236}">
                <a16:creationId xmlns:a16="http://schemas.microsoft.com/office/drawing/2014/main" id="{E5EE434B-77A8-5746-8CD8-743B52A9D667}"/>
              </a:ext>
            </a:extLst>
          </p:cNvPr>
          <p:cNvSpPr/>
          <p:nvPr/>
        </p:nvSpPr>
        <p:spPr>
          <a:xfrm>
            <a:off x="2882977" y="3217210"/>
            <a:ext cx="7750344" cy="864399"/>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rPr>
              <a:t>Proposed Solution &amp; Approach</a:t>
            </a:r>
          </a:p>
        </p:txBody>
      </p:sp>
      <p:sp>
        <p:nvSpPr>
          <p:cNvPr id="22" name="Rectangle 21">
            <a:extLst>
              <a:ext uri="{FF2B5EF4-FFF2-40B4-BE49-F238E27FC236}">
                <a16:creationId xmlns:a16="http://schemas.microsoft.com/office/drawing/2014/main" id="{F934385D-7FAF-664F-BC1C-D3DD8532802F}"/>
              </a:ext>
            </a:extLst>
          </p:cNvPr>
          <p:cNvSpPr/>
          <p:nvPr/>
        </p:nvSpPr>
        <p:spPr>
          <a:xfrm>
            <a:off x="2882977" y="4181556"/>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rPr>
              <a:t>Team, Price and Why Veeva</a:t>
            </a:r>
          </a:p>
        </p:txBody>
      </p:sp>
      <p:sp>
        <p:nvSpPr>
          <p:cNvPr id="5" name="AutoShape 22">
            <a:extLst>
              <a:ext uri="{FF2B5EF4-FFF2-40B4-BE49-F238E27FC236}">
                <a16:creationId xmlns:a16="http://schemas.microsoft.com/office/drawing/2014/main" id="{04529597-5F11-B640-9474-D9A15358386C}"/>
              </a:ext>
            </a:extLst>
          </p:cNvPr>
          <p:cNvSpPr>
            <a:spLocks noChangeAspect="1" noChangeArrowheads="1" noTextEdit="1"/>
          </p:cNvSpPr>
          <p:nvPr/>
        </p:nvSpPr>
        <p:spPr bwMode="auto">
          <a:xfrm>
            <a:off x="1739333" y="1254162"/>
            <a:ext cx="1980550" cy="3636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6" name="Freeform 24">
            <a:extLst>
              <a:ext uri="{FF2B5EF4-FFF2-40B4-BE49-F238E27FC236}">
                <a16:creationId xmlns:a16="http://schemas.microsoft.com/office/drawing/2014/main" id="{0FDB15C5-99F2-3749-BD24-AFAF8C3EFA20}"/>
              </a:ext>
            </a:extLst>
          </p:cNvPr>
          <p:cNvSpPr>
            <a:spLocks/>
          </p:cNvSpPr>
          <p:nvPr/>
        </p:nvSpPr>
        <p:spPr bwMode="auto">
          <a:xfrm>
            <a:off x="1957054" y="1350735"/>
            <a:ext cx="1172040" cy="863153"/>
          </a:xfrm>
          <a:custGeom>
            <a:avLst/>
            <a:gdLst>
              <a:gd name="T0" fmla="*/ 4210 w 4210"/>
              <a:gd name="T1" fmla="*/ 414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2 h 831"/>
              <a:gd name="T24" fmla="*/ 4210 w 4210"/>
              <a:gd name="T25" fmla="*/ 414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4"/>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2"/>
                </a:lnTo>
                <a:lnTo>
                  <a:pt x="4210" y="414"/>
                </a:lnTo>
                <a:close/>
              </a:path>
            </a:pathLst>
          </a:custGeom>
          <a:solidFill>
            <a:srgbClr val="FECA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7" name="Freeform 25">
            <a:extLst>
              <a:ext uri="{FF2B5EF4-FFF2-40B4-BE49-F238E27FC236}">
                <a16:creationId xmlns:a16="http://schemas.microsoft.com/office/drawing/2014/main" id="{CC534512-0C4F-5841-AF6C-06CADF5F3A09}"/>
              </a:ext>
            </a:extLst>
          </p:cNvPr>
          <p:cNvSpPr>
            <a:spLocks/>
          </p:cNvSpPr>
          <p:nvPr/>
        </p:nvSpPr>
        <p:spPr bwMode="auto">
          <a:xfrm>
            <a:off x="1957054" y="2291789"/>
            <a:ext cx="1172040" cy="863153"/>
          </a:xfrm>
          <a:custGeom>
            <a:avLst/>
            <a:gdLst>
              <a:gd name="T0" fmla="*/ 4210 w 4210"/>
              <a:gd name="T1" fmla="*/ 417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3 h 831"/>
              <a:gd name="T24" fmla="*/ 4210 w 4210"/>
              <a:gd name="T25" fmla="*/ 4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7"/>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3"/>
                </a:lnTo>
                <a:lnTo>
                  <a:pt x="4210" y="417"/>
                </a:lnTo>
                <a:close/>
              </a:path>
            </a:pathLst>
          </a:custGeom>
          <a:solidFill>
            <a:srgbClr val="FF9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8" name="Freeform 26">
            <a:extLst>
              <a:ext uri="{FF2B5EF4-FFF2-40B4-BE49-F238E27FC236}">
                <a16:creationId xmlns:a16="http://schemas.microsoft.com/office/drawing/2014/main" id="{D3EA815F-0FCA-1A44-B168-14BEEFF1B62C}"/>
              </a:ext>
            </a:extLst>
          </p:cNvPr>
          <p:cNvSpPr>
            <a:spLocks/>
          </p:cNvSpPr>
          <p:nvPr/>
        </p:nvSpPr>
        <p:spPr bwMode="auto">
          <a:xfrm>
            <a:off x="1957054" y="3220326"/>
            <a:ext cx="1172040" cy="866270"/>
          </a:xfrm>
          <a:custGeom>
            <a:avLst/>
            <a:gdLst>
              <a:gd name="T0" fmla="*/ 4210 w 4210"/>
              <a:gd name="T1" fmla="*/ 417 h 834"/>
              <a:gd name="T2" fmla="*/ 4039 w 4210"/>
              <a:gd name="T3" fmla="*/ 209 h 834"/>
              <a:gd name="T4" fmla="*/ 3868 w 4210"/>
              <a:gd name="T5" fmla="*/ 0 h 834"/>
              <a:gd name="T6" fmla="*/ 3868 w 4210"/>
              <a:gd name="T7" fmla="*/ 0 h 834"/>
              <a:gd name="T8" fmla="*/ 0 w 4210"/>
              <a:gd name="T9" fmla="*/ 0 h 834"/>
              <a:gd name="T10" fmla="*/ 0 w 4210"/>
              <a:gd name="T11" fmla="*/ 834 h 834"/>
              <a:gd name="T12" fmla="*/ 3868 w 4210"/>
              <a:gd name="T13" fmla="*/ 834 h 834"/>
              <a:gd name="T14" fmla="*/ 3868 w 4210"/>
              <a:gd name="T15" fmla="*/ 834 h 834"/>
              <a:gd name="T16" fmla="*/ 3868 w 4210"/>
              <a:gd name="T17" fmla="*/ 834 h 834"/>
              <a:gd name="T18" fmla="*/ 3868 w 4210"/>
              <a:gd name="T19" fmla="*/ 834 h 834"/>
              <a:gd name="T20" fmla="*/ 3868 w 4210"/>
              <a:gd name="T21" fmla="*/ 834 h 834"/>
              <a:gd name="T22" fmla="*/ 4039 w 4210"/>
              <a:gd name="T23" fmla="*/ 626 h 834"/>
              <a:gd name="T24" fmla="*/ 4210 w 4210"/>
              <a:gd name="T25" fmla="*/ 417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4">
                <a:moveTo>
                  <a:pt x="4210" y="417"/>
                </a:moveTo>
                <a:lnTo>
                  <a:pt x="4039" y="209"/>
                </a:lnTo>
                <a:lnTo>
                  <a:pt x="3868" y="0"/>
                </a:lnTo>
                <a:lnTo>
                  <a:pt x="3868" y="0"/>
                </a:lnTo>
                <a:lnTo>
                  <a:pt x="0" y="0"/>
                </a:lnTo>
                <a:lnTo>
                  <a:pt x="0" y="834"/>
                </a:lnTo>
                <a:lnTo>
                  <a:pt x="3868" y="834"/>
                </a:lnTo>
                <a:lnTo>
                  <a:pt x="3868" y="834"/>
                </a:lnTo>
                <a:lnTo>
                  <a:pt x="3868" y="834"/>
                </a:lnTo>
                <a:lnTo>
                  <a:pt x="3868" y="834"/>
                </a:lnTo>
                <a:lnTo>
                  <a:pt x="3868" y="834"/>
                </a:lnTo>
                <a:lnTo>
                  <a:pt x="4039" y="626"/>
                </a:lnTo>
                <a:lnTo>
                  <a:pt x="4210" y="4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9" name="Freeform 27">
            <a:extLst>
              <a:ext uri="{FF2B5EF4-FFF2-40B4-BE49-F238E27FC236}">
                <a16:creationId xmlns:a16="http://schemas.microsoft.com/office/drawing/2014/main" id="{D20D892A-B6A5-7748-867B-DEADF13B6495}"/>
              </a:ext>
            </a:extLst>
          </p:cNvPr>
          <p:cNvSpPr>
            <a:spLocks/>
          </p:cNvSpPr>
          <p:nvPr/>
        </p:nvSpPr>
        <p:spPr bwMode="auto">
          <a:xfrm>
            <a:off x="1957054" y="4184671"/>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0" name="Freeform 28">
            <a:extLst>
              <a:ext uri="{FF2B5EF4-FFF2-40B4-BE49-F238E27FC236}">
                <a16:creationId xmlns:a16="http://schemas.microsoft.com/office/drawing/2014/main" id="{E322C452-69E3-284D-9C6B-2F4256929077}"/>
              </a:ext>
            </a:extLst>
          </p:cNvPr>
          <p:cNvSpPr>
            <a:spLocks/>
          </p:cNvSpPr>
          <p:nvPr/>
        </p:nvSpPr>
        <p:spPr bwMode="auto">
          <a:xfrm>
            <a:off x="1558676" y="1350735"/>
            <a:ext cx="398378" cy="1107246"/>
          </a:xfrm>
          <a:custGeom>
            <a:avLst/>
            <a:gdLst>
              <a:gd name="T0" fmla="*/ 372 w 372"/>
              <a:gd name="T1" fmla="*/ 0 h 1066"/>
              <a:gd name="T2" fmla="*/ 0 w 372"/>
              <a:gd name="T3" fmla="*/ 467 h 1066"/>
              <a:gd name="T4" fmla="*/ 0 w 372"/>
              <a:gd name="T5" fmla="*/ 1066 h 1066"/>
              <a:gd name="T6" fmla="*/ 372 w 372"/>
              <a:gd name="T7" fmla="*/ 831 h 1066"/>
              <a:gd name="T8" fmla="*/ 372 w 372"/>
              <a:gd name="T9" fmla="*/ 0 h 1066"/>
            </a:gdLst>
            <a:ahLst/>
            <a:cxnLst>
              <a:cxn ang="0">
                <a:pos x="T0" y="T1"/>
              </a:cxn>
              <a:cxn ang="0">
                <a:pos x="T2" y="T3"/>
              </a:cxn>
              <a:cxn ang="0">
                <a:pos x="T4" y="T5"/>
              </a:cxn>
              <a:cxn ang="0">
                <a:pos x="T6" y="T7"/>
              </a:cxn>
              <a:cxn ang="0">
                <a:pos x="T8" y="T9"/>
              </a:cxn>
            </a:cxnLst>
            <a:rect l="0" t="0" r="r" b="b"/>
            <a:pathLst>
              <a:path w="372" h="1066">
                <a:moveTo>
                  <a:pt x="372" y="0"/>
                </a:moveTo>
                <a:lnTo>
                  <a:pt x="0" y="467"/>
                </a:lnTo>
                <a:lnTo>
                  <a:pt x="0" y="1066"/>
                </a:lnTo>
                <a:lnTo>
                  <a:pt x="372" y="831"/>
                </a:lnTo>
                <a:lnTo>
                  <a:pt x="372" y="0"/>
                </a:lnTo>
                <a:close/>
              </a:path>
            </a:pathLst>
          </a:custGeom>
          <a:solidFill>
            <a:srgbClr val="D6A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1" name="Freeform 29">
            <a:extLst>
              <a:ext uri="{FF2B5EF4-FFF2-40B4-BE49-F238E27FC236}">
                <a16:creationId xmlns:a16="http://schemas.microsoft.com/office/drawing/2014/main" id="{184218E9-72EA-2C4D-B9C7-63DEF814D3D0}"/>
              </a:ext>
            </a:extLst>
          </p:cNvPr>
          <p:cNvSpPr>
            <a:spLocks/>
          </p:cNvSpPr>
          <p:nvPr/>
        </p:nvSpPr>
        <p:spPr bwMode="auto">
          <a:xfrm>
            <a:off x="1558676" y="2291789"/>
            <a:ext cx="398378" cy="863153"/>
          </a:xfrm>
          <a:custGeom>
            <a:avLst/>
            <a:gdLst>
              <a:gd name="T0" fmla="*/ 372 w 372"/>
              <a:gd name="T1" fmla="*/ 831 h 831"/>
              <a:gd name="T2" fmla="*/ 0 w 372"/>
              <a:gd name="T3" fmla="*/ 831 h 831"/>
              <a:gd name="T4" fmla="*/ 0 w 372"/>
              <a:gd name="T5" fmla="*/ 235 h 831"/>
              <a:gd name="T6" fmla="*/ 372 w 372"/>
              <a:gd name="T7" fmla="*/ 0 h 831"/>
              <a:gd name="T8" fmla="*/ 372 w 372"/>
              <a:gd name="T9" fmla="*/ 831 h 831"/>
            </a:gdLst>
            <a:ahLst/>
            <a:cxnLst>
              <a:cxn ang="0">
                <a:pos x="T0" y="T1"/>
              </a:cxn>
              <a:cxn ang="0">
                <a:pos x="T2" y="T3"/>
              </a:cxn>
              <a:cxn ang="0">
                <a:pos x="T4" y="T5"/>
              </a:cxn>
              <a:cxn ang="0">
                <a:pos x="T6" y="T7"/>
              </a:cxn>
              <a:cxn ang="0">
                <a:pos x="T8" y="T9"/>
              </a:cxn>
            </a:cxnLst>
            <a:rect l="0" t="0" r="r" b="b"/>
            <a:pathLst>
              <a:path w="372" h="831">
                <a:moveTo>
                  <a:pt x="372" y="831"/>
                </a:moveTo>
                <a:lnTo>
                  <a:pt x="0" y="831"/>
                </a:lnTo>
                <a:lnTo>
                  <a:pt x="0" y="235"/>
                </a:lnTo>
                <a:lnTo>
                  <a:pt x="372" y="0"/>
                </a:lnTo>
                <a:lnTo>
                  <a:pt x="372" y="831"/>
                </a:lnTo>
                <a:close/>
              </a:path>
            </a:pathLst>
          </a:custGeom>
          <a:solidFill>
            <a:srgbClr val="D66E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2" name="Freeform 30">
            <a:extLst>
              <a:ext uri="{FF2B5EF4-FFF2-40B4-BE49-F238E27FC236}">
                <a16:creationId xmlns:a16="http://schemas.microsoft.com/office/drawing/2014/main" id="{B565CEB0-005E-4141-B3D7-7158E42BD4BB}"/>
              </a:ext>
            </a:extLst>
          </p:cNvPr>
          <p:cNvSpPr>
            <a:spLocks/>
          </p:cNvSpPr>
          <p:nvPr/>
        </p:nvSpPr>
        <p:spPr bwMode="auto">
          <a:xfrm>
            <a:off x="1558676" y="3943695"/>
            <a:ext cx="398378" cy="1107246"/>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Lst>
            <a:ahLst/>
            <a:cxnLst>
              <a:cxn ang="0">
                <a:pos x="T0" y="T1"/>
              </a:cxn>
              <a:cxn ang="0">
                <a:pos x="T2" y="T3"/>
              </a:cxn>
              <a:cxn ang="0">
                <a:pos x="T4" y="T5"/>
              </a:cxn>
              <a:cxn ang="0">
                <a:pos x="T6" y="T7"/>
              </a:cxn>
              <a:cxn ang="0">
                <a:pos x="T8" y="T9"/>
              </a:cxn>
            </a:cxnLst>
            <a:rect l="0" t="0" r="r" b="b"/>
            <a:pathLst>
              <a:path w="372" h="1066">
                <a:moveTo>
                  <a:pt x="372" y="1066"/>
                </a:moveTo>
                <a:lnTo>
                  <a:pt x="0" y="599"/>
                </a:lnTo>
                <a:lnTo>
                  <a:pt x="0" y="0"/>
                </a:lnTo>
                <a:lnTo>
                  <a:pt x="372" y="235"/>
                </a:lnTo>
                <a:lnTo>
                  <a:pt x="372" y="1066"/>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3" name="Freeform 31">
            <a:extLst>
              <a:ext uri="{FF2B5EF4-FFF2-40B4-BE49-F238E27FC236}">
                <a16:creationId xmlns:a16="http://schemas.microsoft.com/office/drawing/2014/main" id="{75D442ED-EFA4-A14A-9354-1DA5CDC3CDB6}"/>
              </a:ext>
            </a:extLst>
          </p:cNvPr>
          <p:cNvSpPr>
            <a:spLocks/>
          </p:cNvSpPr>
          <p:nvPr/>
        </p:nvSpPr>
        <p:spPr bwMode="auto">
          <a:xfrm>
            <a:off x="1558676" y="3220326"/>
            <a:ext cx="398378" cy="869385"/>
          </a:xfrm>
          <a:custGeom>
            <a:avLst/>
            <a:gdLst>
              <a:gd name="T0" fmla="*/ 372 w 372"/>
              <a:gd name="T1" fmla="*/ 0 h 837"/>
              <a:gd name="T2" fmla="*/ 0 w 372"/>
              <a:gd name="T3" fmla="*/ 0 h 837"/>
              <a:gd name="T4" fmla="*/ 0 w 372"/>
              <a:gd name="T5" fmla="*/ 602 h 837"/>
              <a:gd name="T6" fmla="*/ 372 w 372"/>
              <a:gd name="T7" fmla="*/ 837 h 837"/>
              <a:gd name="T8" fmla="*/ 372 w 372"/>
              <a:gd name="T9" fmla="*/ 0 h 837"/>
            </a:gdLst>
            <a:ahLst/>
            <a:cxnLst>
              <a:cxn ang="0">
                <a:pos x="T0" y="T1"/>
              </a:cxn>
              <a:cxn ang="0">
                <a:pos x="T2" y="T3"/>
              </a:cxn>
              <a:cxn ang="0">
                <a:pos x="T4" y="T5"/>
              </a:cxn>
              <a:cxn ang="0">
                <a:pos x="T6" y="T7"/>
              </a:cxn>
              <a:cxn ang="0">
                <a:pos x="T8" y="T9"/>
              </a:cxn>
            </a:cxnLst>
            <a:rect l="0" t="0" r="r" b="b"/>
            <a:pathLst>
              <a:path w="372" h="837">
                <a:moveTo>
                  <a:pt x="372" y="0"/>
                </a:moveTo>
                <a:lnTo>
                  <a:pt x="0" y="0"/>
                </a:lnTo>
                <a:lnTo>
                  <a:pt x="0" y="602"/>
                </a:lnTo>
                <a:lnTo>
                  <a:pt x="372" y="837"/>
                </a:lnTo>
                <a:lnTo>
                  <a:pt x="372" y="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4" name="Rectangle 23">
            <a:extLst>
              <a:ext uri="{FF2B5EF4-FFF2-40B4-BE49-F238E27FC236}">
                <a16:creationId xmlns:a16="http://schemas.microsoft.com/office/drawing/2014/main" id="{7661896D-674D-DB4C-AD48-AFDEB9963D3A}"/>
              </a:ext>
            </a:extLst>
          </p:cNvPr>
          <p:cNvSpPr>
            <a:spLocks noChangeArrowheads="1"/>
          </p:cNvSpPr>
          <p:nvPr/>
        </p:nvSpPr>
        <p:spPr bwMode="auto">
          <a:xfrm>
            <a:off x="2203257" y="1470644"/>
            <a:ext cx="57066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1</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15" name="Rectangle 24">
            <a:extLst>
              <a:ext uri="{FF2B5EF4-FFF2-40B4-BE49-F238E27FC236}">
                <a16:creationId xmlns:a16="http://schemas.microsoft.com/office/drawing/2014/main" id="{2501A357-3217-7E47-AC51-CF6EBCD67C0E}"/>
              </a:ext>
            </a:extLst>
          </p:cNvPr>
          <p:cNvSpPr>
            <a:spLocks noChangeArrowheads="1"/>
          </p:cNvSpPr>
          <p:nvPr/>
        </p:nvSpPr>
        <p:spPr bwMode="auto">
          <a:xfrm>
            <a:off x="2203257" y="2419658"/>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2</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16" name="Rectangle 25">
            <a:extLst>
              <a:ext uri="{FF2B5EF4-FFF2-40B4-BE49-F238E27FC236}">
                <a16:creationId xmlns:a16="http://schemas.microsoft.com/office/drawing/2014/main" id="{AE74B363-D166-C146-80A5-A7520DFBDFF9}"/>
              </a:ext>
            </a:extLst>
          </p:cNvPr>
          <p:cNvSpPr>
            <a:spLocks noChangeArrowheads="1"/>
          </p:cNvSpPr>
          <p:nvPr/>
        </p:nvSpPr>
        <p:spPr bwMode="auto">
          <a:xfrm>
            <a:off x="2203257" y="3334352"/>
            <a:ext cx="100008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3</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17" name="Rectangle 26">
            <a:extLst>
              <a:ext uri="{FF2B5EF4-FFF2-40B4-BE49-F238E27FC236}">
                <a16:creationId xmlns:a16="http://schemas.microsoft.com/office/drawing/2014/main" id="{06B829CC-9953-504A-9C42-FE9406B85B32}"/>
              </a:ext>
            </a:extLst>
          </p:cNvPr>
          <p:cNvSpPr>
            <a:spLocks noChangeArrowheads="1"/>
          </p:cNvSpPr>
          <p:nvPr/>
        </p:nvSpPr>
        <p:spPr bwMode="auto">
          <a:xfrm>
            <a:off x="2203257" y="4294003"/>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4</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23" name="Rectangle 22">
            <a:extLst>
              <a:ext uri="{FF2B5EF4-FFF2-40B4-BE49-F238E27FC236}">
                <a16:creationId xmlns:a16="http://schemas.microsoft.com/office/drawing/2014/main" id="{AE497C13-6756-9F4F-8A9B-C315903EEA5F}"/>
              </a:ext>
            </a:extLst>
          </p:cNvPr>
          <p:cNvSpPr/>
          <p:nvPr/>
        </p:nvSpPr>
        <p:spPr>
          <a:xfrm>
            <a:off x="2882977" y="5180468"/>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lvl="0">
              <a:defRPr/>
            </a:pPr>
            <a:r>
              <a:rPr lang="en-US">
                <a:solidFill>
                  <a:srgbClr val="646569"/>
                </a:solidFill>
                <a:latin typeface="Calibri" panose="020F0502020204030204" pitchFamily="34" charset="0"/>
                <a:cs typeface="Calibri" panose="020F0502020204030204" pitchFamily="34" charset="0"/>
              </a:rPr>
              <a:t>Appendix: Detailed breakdown of activities and deliverables &amp; Veeva Credentials</a:t>
            </a:r>
          </a:p>
        </p:txBody>
      </p:sp>
      <p:sp>
        <p:nvSpPr>
          <p:cNvPr id="24" name="Freeform 27">
            <a:extLst>
              <a:ext uri="{FF2B5EF4-FFF2-40B4-BE49-F238E27FC236}">
                <a16:creationId xmlns:a16="http://schemas.microsoft.com/office/drawing/2014/main" id="{D711D919-E4ED-4B45-8E05-E669277412E2}"/>
              </a:ext>
            </a:extLst>
          </p:cNvPr>
          <p:cNvSpPr>
            <a:spLocks/>
          </p:cNvSpPr>
          <p:nvPr/>
        </p:nvSpPr>
        <p:spPr bwMode="auto">
          <a:xfrm>
            <a:off x="1957054" y="5183583"/>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5" name="Rectangle 26">
            <a:extLst>
              <a:ext uri="{FF2B5EF4-FFF2-40B4-BE49-F238E27FC236}">
                <a16:creationId xmlns:a16="http://schemas.microsoft.com/office/drawing/2014/main" id="{A4F32A7B-15AC-4440-A2E2-001F139E3F3A}"/>
              </a:ext>
            </a:extLst>
          </p:cNvPr>
          <p:cNvSpPr>
            <a:spLocks noChangeArrowheads="1"/>
          </p:cNvSpPr>
          <p:nvPr/>
        </p:nvSpPr>
        <p:spPr bwMode="auto">
          <a:xfrm>
            <a:off x="2203257" y="5292915"/>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5</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26" name="Freeform 30">
            <a:extLst>
              <a:ext uri="{FF2B5EF4-FFF2-40B4-BE49-F238E27FC236}">
                <a16:creationId xmlns:a16="http://schemas.microsoft.com/office/drawing/2014/main" id="{103D1F6C-6D9E-BB47-9DCD-80529C54B7A9}"/>
              </a:ext>
            </a:extLst>
          </p:cNvPr>
          <p:cNvSpPr>
            <a:spLocks/>
          </p:cNvSpPr>
          <p:nvPr/>
        </p:nvSpPr>
        <p:spPr bwMode="auto">
          <a:xfrm>
            <a:off x="1558676" y="4724357"/>
            <a:ext cx="398378" cy="1326038"/>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 name="connsiteX0" fmla="*/ 10000 w 10000"/>
              <a:gd name="connsiteY0" fmla="*/ 11976 h 11976"/>
              <a:gd name="connsiteX1" fmla="*/ 0 w 10000"/>
              <a:gd name="connsiteY1" fmla="*/ 7595 h 11976"/>
              <a:gd name="connsiteX2" fmla="*/ 0 w 10000"/>
              <a:gd name="connsiteY2" fmla="*/ 0 h 11976"/>
              <a:gd name="connsiteX3" fmla="*/ 10000 w 10000"/>
              <a:gd name="connsiteY3" fmla="*/ 4181 h 11976"/>
              <a:gd name="connsiteX4" fmla="*/ 10000 w 10000"/>
              <a:gd name="connsiteY4" fmla="*/ 11976 h 11976"/>
              <a:gd name="connsiteX0" fmla="*/ 10000 w 10000"/>
              <a:gd name="connsiteY0" fmla="*/ 11976 h 11976"/>
              <a:gd name="connsiteX1" fmla="*/ 0 w 10000"/>
              <a:gd name="connsiteY1" fmla="*/ 5518 h 11976"/>
              <a:gd name="connsiteX2" fmla="*/ 0 w 10000"/>
              <a:gd name="connsiteY2" fmla="*/ 0 h 11976"/>
              <a:gd name="connsiteX3" fmla="*/ 10000 w 10000"/>
              <a:gd name="connsiteY3" fmla="*/ 4181 h 11976"/>
              <a:gd name="connsiteX4" fmla="*/ 10000 w 10000"/>
              <a:gd name="connsiteY4" fmla="*/ 11976 h 11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976">
                <a:moveTo>
                  <a:pt x="10000" y="11976"/>
                </a:moveTo>
                <a:lnTo>
                  <a:pt x="0" y="5518"/>
                </a:lnTo>
                <a:lnTo>
                  <a:pt x="0" y="0"/>
                </a:lnTo>
                <a:lnTo>
                  <a:pt x="10000" y="4181"/>
                </a:lnTo>
                <a:lnTo>
                  <a:pt x="10000" y="11976"/>
                </a:lnTo>
                <a:close/>
              </a:path>
            </a:pathLst>
          </a:custGeom>
          <a:solidFill>
            <a:srgbClr val="3C1A0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919687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D4CB4E5-C0BD-6D4E-9DFC-DFFDE2C9F617}"/>
              </a:ext>
            </a:extLst>
          </p:cNvPr>
          <p:cNvSpPr/>
          <p:nvPr/>
        </p:nvSpPr>
        <p:spPr>
          <a:xfrm>
            <a:off x="344038" y="1649286"/>
            <a:ext cx="8590749" cy="1959071"/>
          </a:xfrm>
          <a:prstGeom prst="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itle 44">
            <a:extLst>
              <a:ext uri="{FF2B5EF4-FFF2-40B4-BE49-F238E27FC236}">
                <a16:creationId xmlns:a16="http://schemas.microsoft.com/office/drawing/2014/main" id="{5F77FDCE-81E5-3445-8AB6-06322E3A2FB6}"/>
              </a:ext>
            </a:extLst>
          </p:cNvPr>
          <p:cNvSpPr>
            <a:spLocks noGrp="1"/>
          </p:cNvSpPr>
          <p:nvPr>
            <p:ph type="title"/>
          </p:nvPr>
        </p:nvSpPr>
        <p:spPr/>
        <p:txBody>
          <a:bodyPr vert="horz" lIns="91440" tIns="45720" rIns="91440" bIns="45720" rtlCol="0" anchor="ctr" anchorCtr="0">
            <a:noAutofit/>
          </a:bodyPr>
          <a:lstStyle/>
          <a:p>
            <a:r>
              <a:rPr lang="en-US"/>
              <a:t>We propose the following approach to support markets executing on the strategic elements defined so far</a:t>
            </a:r>
          </a:p>
        </p:txBody>
      </p:sp>
      <p:sp>
        <p:nvSpPr>
          <p:cNvPr id="11" name="Rounded Rectangle 10">
            <a:extLst>
              <a:ext uri="{FF2B5EF4-FFF2-40B4-BE49-F238E27FC236}">
                <a16:creationId xmlns:a16="http://schemas.microsoft.com/office/drawing/2014/main" id="{72364860-CF91-8A49-AFE1-493B02803BE4}"/>
              </a:ext>
            </a:extLst>
          </p:cNvPr>
          <p:cNvSpPr/>
          <p:nvPr/>
        </p:nvSpPr>
        <p:spPr>
          <a:xfrm>
            <a:off x="1335329" y="5283052"/>
            <a:ext cx="9470891" cy="887597"/>
          </a:xfrm>
          <a:prstGeom prst="round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F4F36D8D-B461-EA41-881F-026A1BFB06A2}"/>
              </a:ext>
            </a:extLst>
          </p:cNvPr>
          <p:cNvSpPr/>
          <p:nvPr/>
        </p:nvSpPr>
        <p:spPr>
          <a:xfrm>
            <a:off x="412469" y="1923044"/>
            <a:ext cx="2687600" cy="16095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p>
            <a:pPr algn="ctr"/>
            <a:r>
              <a:rPr lang="en-GB" sz="1600" b="1">
                <a:solidFill>
                  <a:schemeClr val="bg1"/>
                </a:solidFill>
              </a:rPr>
              <a:t>1. DEFINE THE CUSTOMER </a:t>
            </a:r>
            <a:endParaRPr lang="en-US">
              <a:solidFill>
                <a:schemeClr val="bg1"/>
              </a:solidFill>
            </a:endParaRPr>
          </a:p>
          <a:p>
            <a:pPr algn="ctr"/>
            <a:r>
              <a:rPr lang="en-GB" sz="1600" b="1">
                <a:solidFill>
                  <a:schemeClr val="bg1"/>
                </a:solidFill>
              </a:rPr>
              <a:t>ENGAGEMENT MODEL</a:t>
            </a:r>
            <a:endParaRPr lang="en-US">
              <a:solidFill>
                <a:schemeClr val="bg1"/>
              </a:solidFill>
              <a:cs typeface="Calibri"/>
            </a:endParaRPr>
          </a:p>
          <a:p>
            <a:pPr marL="342900" indent="-342900">
              <a:buAutoNum type="arabicPeriod"/>
            </a:pPr>
            <a:endParaRPr lang="en-GB" sz="600" b="1">
              <a:solidFill>
                <a:schemeClr val="bg1"/>
              </a:solidFill>
              <a:cs typeface="Calibri"/>
            </a:endParaRPr>
          </a:p>
        </p:txBody>
      </p:sp>
      <p:sp>
        <p:nvSpPr>
          <p:cNvPr id="70" name="Rectangle 69">
            <a:extLst>
              <a:ext uri="{FF2B5EF4-FFF2-40B4-BE49-F238E27FC236}">
                <a16:creationId xmlns:a16="http://schemas.microsoft.com/office/drawing/2014/main" id="{6B60FC1B-D555-2840-9870-52EFD8322387}"/>
              </a:ext>
            </a:extLst>
          </p:cNvPr>
          <p:cNvSpPr/>
          <p:nvPr/>
        </p:nvSpPr>
        <p:spPr>
          <a:xfrm>
            <a:off x="9073077" y="1923044"/>
            <a:ext cx="2687600" cy="16095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600" b="1">
                <a:solidFill>
                  <a:schemeClr val="bg1"/>
                </a:solidFill>
              </a:rPr>
              <a:t>4. TEST, LEARN &amp; ITERATE</a:t>
            </a:r>
          </a:p>
          <a:p>
            <a:pPr algn="ctr"/>
            <a:endParaRPr lang="en-GB" sz="1400" b="1">
              <a:solidFill>
                <a:schemeClr val="bg1"/>
              </a:solidFill>
            </a:endParaRPr>
          </a:p>
        </p:txBody>
      </p:sp>
      <p:grpSp>
        <p:nvGrpSpPr>
          <p:cNvPr id="6" name="Group 5">
            <a:extLst>
              <a:ext uri="{FF2B5EF4-FFF2-40B4-BE49-F238E27FC236}">
                <a16:creationId xmlns:a16="http://schemas.microsoft.com/office/drawing/2014/main" id="{DCF2325B-F887-6745-AA52-E94446E2A7D8}"/>
              </a:ext>
            </a:extLst>
          </p:cNvPr>
          <p:cNvGrpSpPr/>
          <p:nvPr/>
        </p:nvGrpSpPr>
        <p:grpSpPr>
          <a:xfrm>
            <a:off x="1380689" y="2058111"/>
            <a:ext cx="798700" cy="756102"/>
            <a:chOff x="1475071" y="1769973"/>
            <a:chExt cx="600075" cy="568070"/>
          </a:xfrm>
        </p:grpSpPr>
        <p:sp>
          <p:nvSpPr>
            <p:cNvPr id="71" name="Oval 70">
              <a:extLst>
                <a:ext uri="{FF2B5EF4-FFF2-40B4-BE49-F238E27FC236}">
                  <a16:creationId xmlns:a16="http://schemas.microsoft.com/office/drawing/2014/main" id="{EAA9EE2D-20FE-1540-9B15-09516D75F904}"/>
                </a:ext>
              </a:extLst>
            </p:cNvPr>
            <p:cNvSpPr/>
            <p:nvPr/>
          </p:nvSpPr>
          <p:spPr>
            <a:xfrm>
              <a:off x="1475071" y="1769973"/>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Graphic 71" descr="Treasure Map with solid fill">
              <a:extLst>
                <a:ext uri="{FF2B5EF4-FFF2-40B4-BE49-F238E27FC236}">
                  <a16:creationId xmlns:a16="http://schemas.microsoft.com/office/drawing/2014/main" id="{32D2BC8B-C9A7-A740-9044-4F6930D0D7D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537360" y="1819887"/>
              <a:ext cx="457200" cy="457200"/>
            </a:xfrm>
            <a:prstGeom prst="rect">
              <a:avLst/>
            </a:prstGeom>
          </p:spPr>
        </p:pic>
      </p:grpSp>
      <p:grpSp>
        <p:nvGrpSpPr>
          <p:cNvPr id="2" name="Group 1">
            <a:extLst>
              <a:ext uri="{FF2B5EF4-FFF2-40B4-BE49-F238E27FC236}">
                <a16:creationId xmlns:a16="http://schemas.microsoft.com/office/drawing/2014/main" id="{09DAD7BC-32BD-D248-A606-BC08759A175B}"/>
              </a:ext>
            </a:extLst>
          </p:cNvPr>
          <p:cNvGrpSpPr/>
          <p:nvPr/>
        </p:nvGrpSpPr>
        <p:grpSpPr>
          <a:xfrm>
            <a:off x="9997534" y="2058111"/>
            <a:ext cx="798700" cy="756102"/>
            <a:chOff x="10145308" y="1783419"/>
            <a:chExt cx="600075" cy="568070"/>
          </a:xfrm>
        </p:grpSpPr>
        <p:sp>
          <p:nvSpPr>
            <p:cNvPr id="22" name="Oval 21">
              <a:extLst>
                <a:ext uri="{FF2B5EF4-FFF2-40B4-BE49-F238E27FC236}">
                  <a16:creationId xmlns:a16="http://schemas.microsoft.com/office/drawing/2014/main" id="{1A7CAAF2-4421-E34A-B421-FD6309A4BE53}"/>
                </a:ext>
              </a:extLst>
            </p:cNvPr>
            <p:cNvSpPr/>
            <p:nvPr/>
          </p:nvSpPr>
          <p:spPr>
            <a:xfrm>
              <a:off x="10145308" y="1783419"/>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Rocket with solid fill">
              <a:extLst>
                <a:ext uri="{FF2B5EF4-FFF2-40B4-BE49-F238E27FC236}">
                  <a16:creationId xmlns:a16="http://schemas.microsoft.com/office/drawing/2014/main" id="{AB591FE1-1CFE-CC43-BB72-A610CDA5A6F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9027964">
              <a:off x="10208006" y="1870197"/>
              <a:ext cx="457200" cy="457200"/>
            </a:xfrm>
            <a:prstGeom prst="rect">
              <a:avLst/>
            </a:prstGeom>
          </p:spPr>
        </p:pic>
      </p:grpSp>
      <p:sp>
        <p:nvSpPr>
          <p:cNvPr id="24" name="Rectangle 23">
            <a:extLst>
              <a:ext uri="{FF2B5EF4-FFF2-40B4-BE49-F238E27FC236}">
                <a16:creationId xmlns:a16="http://schemas.microsoft.com/office/drawing/2014/main" id="{88723359-4E84-534A-95FA-2AEAA61E949C}"/>
              </a:ext>
            </a:extLst>
          </p:cNvPr>
          <p:cNvSpPr/>
          <p:nvPr/>
        </p:nvSpPr>
        <p:spPr>
          <a:xfrm>
            <a:off x="412469" y="3683675"/>
            <a:ext cx="2687600" cy="1180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ts val="600"/>
              </a:spcBef>
              <a:spcAft>
                <a:spcPts val="1200"/>
              </a:spcAft>
            </a:pPr>
            <a:r>
              <a:rPr lang="en-US" sz="1200" i="1">
                <a:solidFill>
                  <a:schemeClr val="tx1"/>
                </a:solidFill>
              </a:rPr>
              <a:t>A customer engagement model that reflects two types of engagement archetypes (account-based vs. HCP-based), and defines how field teams will engage HCPs to deliver business objectives</a:t>
            </a:r>
            <a:endParaRPr lang="en-GB" sz="1200" i="1">
              <a:solidFill>
                <a:schemeClr val="tx1"/>
              </a:solidFill>
            </a:endParaRPr>
          </a:p>
        </p:txBody>
      </p:sp>
      <p:sp>
        <p:nvSpPr>
          <p:cNvPr id="25" name="Rectangle 24">
            <a:extLst>
              <a:ext uri="{FF2B5EF4-FFF2-40B4-BE49-F238E27FC236}">
                <a16:creationId xmlns:a16="http://schemas.microsoft.com/office/drawing/2014/main" id="{47684C09-7519-F945-9D7E-328F60352011}"/>
              </a:ext>
            </a:extLst>
          </p:cNvPr>
          <p:cNvSpPr/>
          <p:nvPr/>
        </p:nvSpPr>
        <p:spPr>
          <a:xfrm>
            <a:off x="3299338" y="3683675"/>
            <a:ext cx="2687600" cy="1180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ts val="600"/>
              </a:spcBef>
              <a:spcAft>
                <a:spcPts val="1200"/>
              </a:spcAft>
            </a:pPr>
            <a:r>
              <a:rPr lang="en-GB" sz="1200" i="1">
                <a:solidFill>
                  <a:srgbClr val="646569"/>
                </a:solidFill>
              </a:rPr>
              <a:t>Best practice methodologies to execute the customer engagement model and then optimise and embed best practices throughout pre-call planning, in-call execution, post-call measurement and next best actions</a:t>
            </a:r>
          </a:p>
        </p:txBody>
      </p:sp>
      <p:sp>
        <p:nvSpPr>
          <p:cNvPr id="27" name="Rectangle 26">
            <a:extLst>
              <a:ext uri="{FF2B5EF4-FFF2-40B4-BE49-F238E27FC236}">
                <a16:creationId xmlns:a16="http://schemas.microsoft.com/office/drawing/2014/main" id="{36274887-C751-5A4F-98A3-AABD5D75E03E}"/>
              </a:ext>
            </a:extLst>
          </p:cNvPr>
          <p:cNvSpPr/>
          <p:nvPr/>
        </p:nvSpPr>
        <p:spPr>
          <a:xfrm>
            <a:off x="9073077" y="3683675"/>
            <a:ext cx="2687600" cy="1180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ts val="600"/>
              </a:spcBef>
              <a:spcAft>
                <a:spcPts val="1200"/>
              </a:spcAft>
            </a:pPr>
            <a:r>
              <a:rPr lang="en-GB" sz="1200" i="1">
                <a:solidFill>
                  <a:srgbClr val="646569"/>
                </a:solidFill>
              </a:rPr>
              <a:t>Tailored deployment for 2 markets, providing support and guidance during the first sales cycle, optimising the relevant materials based on learnings </a:t>
            </a:r>
          </a:p>
        </p:txBody>
      </p:sp>
      <p:sp>
        <p:nvSpPr>
          <p:cNvPr id="54" name="Rectangle 53">
            <a:extLst>
              <a:ext uri="{FF2B5EF4-FFF2-40B4-BE49-F238E27FC236}">
                <a16:creationId xmlns:a16="http://schemas.microsoft.com/office/drawing/2014/main" id="{4A7D9D7F-5C54-0A4F-952B-E8D67E42D25B}"/>
              </a:ext>
            </a:extLst>
          </p:cNvPr>
          <p:cNvSpPr/>
          <p:nvPr/>
        </p:nvSpPr>
        <p:spPr>
          <a:xfrm>
            <a:off x="6186207" y="3683675"/>
            <a:ext cx="2687600" cy="1180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1200"/>
              </a:spcAft>
            </a:pPr>
            <a:r>
              <a:rPr lang="en-US" sz="1200" i="1">
                <a:solidFill>
                  <a:srgbClr val="646569"/>
                </a:solidFill>
              </a:rPr>
              <a:t>An accelerated development journey and capability build, equipping the field force with the skills, knowledge and behaviors to mobilize and excel in execution</a:t>
            </a:r>
            <a:endParaRPr lang="en-GB" sz="1200" i="1">
              <a:solidFill>
                <a:srgbClr val="646569"/>
              </a:solidFill>
            </a:endParaRPr>
          </a:p>
        </p:txBody>
      </p:sp>
      <p:grpSp>
        <p:nvGrpSpPr>
          <p:cNvPr id="9" name="Group 8">
            <a:extLst>
              <a:ext uri="{FF2B5EF4-FFF2-40B4-BE49-F238E27FC236}">
                <a16:creationId xmlns:a16="http://schemas.microsoft.com/office/drawing/2014/main" id="{D5618B6F-0CEC-B241-8C26-9385C6D4086C}"/>
              </a:ext>
            </a:extLst>
          </p:cNvPr>
          <p:cNvGrpSpPr/>
          <p:nvPr/>
        </p:nvGrpSpPr>
        <p:grpSpPr>
          <a:xfrm>
            <a:off x="4591490" y="5152501"/>
            <a:ext cx="2958567" cy="807330"/>
            <a:chOff x="4786672" y="5009026"/>
            <a:chExt cx="2958567" cy="807330"/>
          </a:xfrm>
        </p:grpSpPr>
        <p:sp>
          <p:nvSpPr>
            <p:cNvPr id="7" name="TextBox 6">
              <a:extLst>
                <a:ext uri="{FF2B5EF4-FFF2-40B4-BE49-F238E27FC236}">
                  <a16:creationId xmlns:a16="http://schemas.microsoft.com/office/drawing/2014/main" id="{4A15953A-AC17-3D42-82D3-D8F103652851}"/>
                </a:ext>
              </a:extLst>
            </p:cNvPr>
            <p:cNvSpPr txBox="1"/>
            <p:nvPr/>
          </p:nvSpPr>
          <p:spPr>
            <a:xfrm>
              <a:off x="4786672" y="5009026"/>
              <a:ext cx="2958567" cy="344710"/>
            </a:xfrm>
            <a:prstGeom prst="rect">
              <a:avLst/>
            </a:prstGeom>
            <a:solidFill>
              <a:schemeClr val="bg1"/>
            </a:solidFill>
          </p:spPr>
          <p:txBody>
            <a:bodyPr wrap="non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2000" b="1">
                  <a:solidFill>
                    <a:schemeClr val="tx2"/>
                  </a:solidFill>
                </a:rPr>
                <a:t>OUR GUIDING PRINCIPLES</a:t>
              </a:r>
            </a:p>
          </p:txBody>
        </p:sp>
        <p:sp>
          <p:nvSpPr>
            <p:cNvPr id="8" name="TextBox 7">
              <a:extLst>
                <a:ext uri="{FF2B5EF4-FFF2-40B4-BE49-F238E27FC236}">
                  <a16:creationId xmlns:a16="http://schemas.microsoft.com/office/drawing/2014/main" id="{45569C34-2307-B540-8837-23CD26F831D7}"/>
                </a:ext>
              </a:extLst>
            </p:cNvPr>
            <p:cNvSpPr txBox="1"/>
            <p:nvPr/>
          </p:nvSpPr>
          <p:spPr>
            <a:xfrm>
              <a:off x="6173591" y="5522108"/>
              <a:ext cx="184730" cy="294248"/>
            </a:xfrm>
            <a:prstGeom prst="rect">
              <a:avLst/>
            </a:prstGeom>
            <a:noFill/>
          </p:spPr>
          <p:txBody>
            <a:bodyPr wrap="none" rtlCol="0">
              <a:spAutoFit/>
            </a:bodyPr>
            <a:lstStyle/>
            <a:p>
              <a:pPr algn="ctr">
                <a:lnSpc>
                  <a:spcPct val="80000"/>
                </a:lnSpc>
                <a:spcBef>
                  <a:spcPts val="1200"/>
                </a:spcBef>
                <a:buClr>
                  <a:schemeClr val="tx2"/>
                </a:buClr>
              </a:pPr>
              <a:endParaRPr lang="en-US" sz="1600"/>
            </a:p>
          </p:txBody>
        </p:sp>
      </p:grpSp>
      <p:sp>
        <p:nvSpPr>
          <p:cNvPr id="10" name="Oval 9">
            <a:extLst>
              <a:ext uri="{FF2B5EF4-FFF2-40B4-BE49-F238E27FC236}">
                <a16:creationId xmlns:a16="http://schemas.microsoft.com/office/drawing/2014/main" id="{57369655-787B-6046-8C27-047D7F5BE7FA}"/>
              </a:ext>
            </a:extLst>
          </p:cNvPr>
          <p:cNvSpPr/>
          <p:nvPr/>
        </p:nvSpPr>
        <p:spPr>
          <a:xfrm>
            <a:off x="4039245" y="5720088"/>
            <a:ext cx="101605" cy="10160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C72123ED-EF9B-544C-9E48-65A30933E957}"/>
              </a:ext>
            </a:extLst>
          </p:cNvPr>
          <p:cNvSpPr/>
          <p:nvPr/>
        </p:nvSpPr>
        <p:spPr>
          <a:xfrm>
            <a:off x="7978583" y="5720088"/>
            <a:ext cx="101605" cy="10160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A4D3900-1BE7-7C4B-8173-CC74E81918D0}"/>
              </a:ext>
            </a:extLst>
          </p:cNvPr>
          <p:cNvSpPr/>
          <p:nvPr/>
        </p:nvSpPr>
        <p:spPr>
          <a:xfrm>
            <a:off x="1552928" y="5592052"/>
            <a:ext cx="2402837" cy="338554"/>
          </a:xfrm>
          <a:prstGeom prst="rect">
            <a:avLst/>
          </a:prstGeom>
        </p:spPr>
        <p:txBody>
          <a:bodyPr wrap="none" anchor="ctr">
            <a:spAutoFit/>
          </a:bodyPr>
          <a:lstStyle/>
          <a:p>
            <a:r>
              <a:rPr lang="en-US" sz="1600"/>
              <a:t>BUILD ON EXISTING WORK</a:t>
            </a:r>
          </a:p>
        </p:txBody>
      </p:sp>
      <p:sp>
        <p:nvSpPr>
          <p:cNvPr id="13" name="Rectangle 12">
            <a:extLst>
              <a:ext uri="{FF2B5EF4-FFF2-40B4-BE49-F238E27FC236}">
                <a16:creationId xmlns:a16="http://schemas.microsoft.com/office/drawing/2014/main" id="{B70274A7-0BD4-FE45-90A9-EC936FFD0733}"/>
              </a:ext>
            </a:extLst>
          </p:cNvPr>
          <p:cNvSpPr/>
          <p:nvPr/>
        </p:nvSpPr>
        <p:spPr>
          <a:xfrm>
            <a:off x="4124517" y="5491329"/>
            <a:ext cx="3917226" cy="540000"/>
          </a:xfrm>
          <a:prstGeom prst="rect">
            <a:avLst/>
          </a:prstGeom>
        </p:spPr>
        <p:txBody>
          <a:bodyPr wrap="none" anchor="ctr">
            <a:spAutoFit/>
          </a:bodyPr>
          <a:lstStyle/>
          <a:p>
            <a:pPr algn="ctr"/>
            <a:r>
              <a:rPr lang="en-US" sz="1600"/>
              <a:t>GLOBALLY ALIGNED, LOCALLY EMPOWERED</a:t>
            </a:r>
          </a:p>
        </p:txBody>
      </p:sp>
      <p:sp>
        <p:nvSpPr>
          <p:cNvPr id="14" name="Rectangle 13">
            <a:extLst>
              <a:ext uri="{FF2B5EF4-FFF2-40B4-BE49-F238E27FC236}">
                <a16:creationId xmlns:a16="http://schemas.microsoft.com/office/drawing/2014/main" id="{3146E995-7AB4-0D4D-91A4-9D5F908A9266}"/>
              </a:ext>
            </a:extLst>
          </p:cNvPr>
          <p:cNvSpPr/>
          <p:nvPr/>
        </p:nvSpPr>
        <p:spPr>
          <a:xfrm>
            <a:off x="8169214" y="5491329"/>
            <a:ext cx="2304413" cy="540000"/>
          </a:xfrm>
          <a:prstGeom prst="rect">
            <a:avLst/>
          </a:prstGeom>
        </p:spPr>
        <p:txBody>
          <a:bodyPr wrap="none" anchor="ctr">
            <a:spAutoFit/>
          </a:bodyPr>
          <a:lstStyle/>
          <a:p>
            <a:pPr algn="ctr">
              <a:lnSpc>
                <a:spcPct val="80000"/>
              </a:lnSpc>
              <a:spcBef>
                <a:spcPts val="1200"/>
              </a:spcBef>
              <a:buClr>
                <a:schemeClr val="tx2"/>
              </a:buClr>
            </a:pPr>
            <a:r>
              <a:rPr lang="en-US" sz="1600"/>
              <a:t>FOCUSED ON EXECUTION</a:t>
            </a:r>
          </a:p>
        </p:txBody>
      </p:sp>
      <p:sp>
        <p:nvSpPr>
          <p:cNvPr id="35" name="Rectangle 34">
            <a:extLst>
              <a:ext uri="{FF2B5EF4-FFF2-40B4-BE49-F238E27FC236}">
                <a16:creationId xmlns:a16="http://schemas.microsoft.com/office/drawing/2014/main" id="{9F39C407-4355-954B-BAD5-E70AC2BE8F3D}"/>
              </a:ext>
            </a:extLst>
          </p:cNvPr>
          <p:cNvSpPr/>
          <p:nvPr/>
        </p:nvSpPr>
        <p:spPr>
          <a:xfrm>
            <a:off x="3299337" y="1923045"/>
            <a:ext cx="2660499" cy="1604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1600" b="1">
              <a:solidFill>
                <a:schemeClr val="bg1"/>
              </a:solidFill>
            </a:endParaRPr>
          </a:p>
          <a:p>
            <a:pPr algn="ctr"/>
            <a:endParaRPr lang="en-GB" sz="1600" b="1">
              <a:solidFill>
                <a:schemeClr val="bg1"/>
              </a:solidFill>
            </a:endParaRPr>
          </a:p>
          <a:p>
            <a:pPr algn="ctr"/>
            <a:endParaRPr lang="en-GB" sz="1600" b="1">
              <a:solidFill>
                <a:schemeClr val="bg1"/>
              </a:solidFill>
            </a:endParaRPr>
          </a:p>
          <a:p>
            <a:pPr algn="ctr"/>
            <a:r>
              <a:rPr lang="en-GB" sz="1600" b="1">
                <a:solidFill>
                  <a:schemeClr val="bg1"/>
                </a:solidFill>
              </a:rPr>
              <a:t>2. ENABLE EXECUTION</a:t>
            </a:r>
            <a:endParaRPr lang="en-GB">
              <a:solidFill>
                <a:schemeClr val="bg1"/>
              </a:solidFill>
            </a:endParaRPr>
          </a:p>
        </p:txBody>
      </p:sp>
      <p:sp>
        <p:nvSpPr>
          <p:cNvPr id="36" name="Rectangle 35">
            <a:extLst>
              <a:ext uri="{FF2B5EF4-FFF2-40B4-BE49-F238E27FC236}">
                <a16:creationId xmlns:a16="http://schemas.microsoft.com/office/drawing/2014/main" id="{4DB7062C-DA7D-CD46-9181-A8FE4E8C53A9}"/>
              </a:ext>
            </a:extLst>
          </p:cNvPr>
          <p:cNvSpPr/>
          <p:nvPr/>
        </p:nvSpPr>
        <p:spPr>
          <a:xfrm>
            <a:off x="6204583" y="1923045"/>
            <a:ext cx="2669223" cy="1604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1600" b="1">
              <a:solidFill>
                <a:schemeClr val="bg1"/>
              </a:solidFill>
            </a:endParaRPr>
          </a:p>
          <a:p>
            <a:pPr algn="ctr"/>
            <a:endParaRPr lang="en-GB" sz="1600" b="1">
              <a:solidFill>
                <a:schemeClr val="bg1"/>
              </a:solidFill>
            </a:endParaRPr>
          </a:p>
          <a:p>
            <a:pPr algn="ctr"/>
            <a:endParaRPr lang="en-GB" sz="1600" b="1">
              <a:solidFill>
                <a:schemeClr val="bg1"/>
              </a:solidFill>
            </a:endParaRPr>
          </a:p>
          <a:p>
            <a:pPr algn="ctr"/>
            <a:endParaRPr lang="en-GB" sz="1600" b="1">
              <a:solidFill>
                <a:schemeClr val="bg1"/>
              </a:solidFill>
            </a:endParaRPr>
          </a:p>
          <a:p>
            <a:pPr algn="ctr"/>
            <a:r>
              <a:rPr lang="en-GB" sz="1600" b="1">
                <a:solidFill>
                  <a:schemeClr val="bg1"/>
                </a:solidFill>
              </a:rPr>
              <a:t>3.</a:t>
            </a:r>
            <a:r>
              <a:rPr lang="en-US">
                <a:solidFill>
                  <a:schemeClr val="bg1"/>
                </a:solidFill>
              </a:rPr>
              <a:t> </a:t>
            </a:r>
            <a:r>
              <a:rPr lang="en-GB" sz="1600" b="1">
                <a:solidFill>
                  <a:schemeClr val="bg1"/>
                </a:solidFill>
              </a:rPr>
              <a:t>EMPOWER </a:t>
            </a:r>
          </a:p>
          <a:p>
            <a:pPr algn="ctr"/>
            <a:r>
              <a:rPr lang="en-GB" sz="1600" b="1">
                <a:solidFill>
                  <a:schemeClr val="bg1"/>
                </a:solidFill>
              </a:rPr>
              <a:t>THE HYBRID-REP</a:t>
            </a:r>
            <a:endParaRPr lang="en-GB">
              <a:solidFill>
                <a:schemeClr val="bg1"/>
              </a:solidFill>
            </a:endParaRPr>
          </a:p>
        </p:txBody>
      </p:sp>
      <p:grpSp>
        <p:nvGrpSpPr>
          <p:cNvPr id="37" name="Group 36">
            <a:extLst>
              <a:ext uri="{FF2B5EF4-FFF2-40B4-BE49-F238E27FC236}">
                <a16:creationId xmlns:a16="http://schemas.microsoft.com/office/drawing/2014/main" id="{8872E1CE-A7C3-B54F-BFF7-C5A63D40C7C0}"/>
              </a:ext>
            </a:extLst>
          </p:cNvPr>
          <p:cNvGrpSpPr/>
          <p:nvPr/>
        </p:nvGrpSpPr>
        <p:grpSpPr>
          <a:xfrm>
            <a:off x="7125253" y="2058111"/>
            <a:ext cx="798700" cy="756102"/>
            <a:chOff x="7190296" y="1783419"/>
            <a:chExt cx="600075" cy="568070"/>
          </a:xfrm>
        </p:grpSpPr>
        <p:sp>
          <p:nvSpPr>
            <p:cNvPr id="38" name="Oval 37">
              <a:extLst>
                <a:ext uri="{FF2B5EF4-FFF2-40B4-BE49-F238E27FC236}">
                  <a16:creationId xmlns:a16="http://schemas.microsoft.com/office/drawing/2014/main" id="{7E40057A-D3EF-B745-AE88-140A9BE49E55}"/>
                </a:ext>
              </a:extLst>
            </p:cNvPr>
            <p:cNvSpPr/>
            <p:nvPr/>
          </p:nvSpPr>
          <p:spPr>
            <a:xfrm>
              <a:off x="7190296" y="1783419"/>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Graphic 38" descr="Podium with solid fill">
              <a:extLst>
                <a:ext uri="{FF2B5EF4-FFF2-40B4-BE49-F238E27FC236}">
                  <a16:creationId xmlns:a16="http://schemas.microsoft.com/office/drawing/2014/main" id="{36E4B5A3-419B-354D-B586-0F0249CA9BD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92599" y="1869719"/>
              <a:ext cx="395469" cy="395469"/>
            </a:xfrm>
            <a:prstGeom prst="rect">
              <a:avLst/>
            </a:prstGeom>
          </p:spPr>
        </p:pic>
      </p:grpSp>
      <p:sp>
        <p:nvSpPr>
          <p:cNvPr id="3" name="Chevron 2">
            <a:extLst>
              <a:ext uri="{FF2B5EF4-FFF2-40B4-BE49-F238E27FC236}">
                <a16:creationId xmlns:a16="http://schemas.microsoft.com/office/drawing/2014/main" id="{622C6660-A987-484D-AC8E-2058A9B27B5D}"/>
              </a:ext>
            </a:extLst>
          </p:cNvPr>
          <p:cNvSpPr/>
          <p:nvPr/>
        </p:nvSpPr>
        <p:spPr>
          <a:xfrm>
            <a:off x="2981804" y="2188729"/>
            <a:ext cx="408697" cy="110121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8" name="Chevron 77">
            <a:extLst>
              <a:ext uri="{FF2B5EF4-FFF2-40B4-BE49-F238E27FC236}">
                <a16:creationId xmlns:a16="http://schemas.microsoft.com/office/drawing/2014/main" id="{76C5208D-B97C-F042-822B-2814B8113FD3}"/>
              </a:ext>
            </a:extLst>
          </p:cNvPr>
          <p:cNvSpPr/>
          <p:nvPr/>
        </p:nvSpPr>
        <p:spPr>
          <a:xfrm>
            <a:off x="8815084" y="2188729"/>
            <a:ext cx="408697" cy="110121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 name="Group 4">
            <a:extLst>
              <a:ext uri="{FF2B5EF4-FFF2-40B4-BE49-F238E27FC236}">
                <a16:creationId xmlns:a16="http://schemas.microsoft.com/office/drawing/2014/main" id="{454A3092-ECE8-A540-BA33-2763691A04D3}"/>
              </a:ext>
            </a:extLst>
          </p:cNvPr>
          <p:cNvGrpSpPr/>
          <p:nvPr/>
        </p:nvGrpSpPr>
        <p:grpSpPr>
          <a:xfrm>
            <a:off x="4252971" y="2058111"/>
            <a:ext cx="798700" cy="756102"/>
            <a:chOff x="3520561" y="1810678"/>
            <a:chExt cx="798700" cy="756102"/>
          </a:xfrm>
        </p:grpSpPr>
        <p:sp>
          <p:nvSpPr>
            <p:cNvPr id="41" name="Oval 40">
              <a:extLst>
                <a:ext uri="{FF2B5EF4-FFF2-40B4-BE49-F238E27FC236}">
                  <a16:creationId xmlns:a16="http://schemas.microsoft.com/office/drawing/2014/main" id="{3A88A471-6B6D-354D-9B40-DB64D4652A11}"/>
                </a:ext>
              </a:extLst>
            </p:cNvPr>
            <p:cNvSpPr/>
            <p:nvPr/>
          </p:nvSpPr>
          <p:spPr>
            <a:xfrm>
              <a:off x="3520561" y="1810678"/>
              <a:ext cx="798700" cy="756102"/>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descr="Lights On with solid fill">
              <a:extLst>
                <a:ext uri="{FF2B5EF4-FFF2-40B4-BE49-F238E27FC236}">
                  <a16:creationId xmlns:a16="http://schemas.microsoft.com/office/drawing/2014/main" id="{12C5E058-777F-324A-B501-A09DE54241FD}"/>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39680" y="1884319"/>
              <a:ext cx="561353" cy="561353"/>
            </a:xfrm>
            <a:prstGeom prst="rect">
              <a:avLst/>
            </a:prstGeom>
          </p:spPr>
        </p:pic>
      </p:grpSp>
      <p:sp>
        <p:nvSpPr>
          <p:cNvPr id="4" name="TextBox 3">
            <a:extLst>
              <a:ext uri="{FF2B5EF4-FFF2-40B4-BE49-F238E27FC236}">
                <a16:creationId xmlns:a16="http://schemas.microsoft.com/office/drawing/2014/main" id="{8529BF84-C119-483B-82F2-B62BCDAE7CC1}"/>
              </a:ext>
            </a:extLst>
          </p:cNvPr>
          <p:cNvSpPr txBox="1"/>
          <p:nvPr/>
        </p:nvSpPr>
        <p:spPr>
          <a:xfrm>
            <a:off x="2498375" y="1489064"/>
            <a:ext cx="4148904" cy="319446"/>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182880" algn="ctr">
              <a:lnSpc>
                <a:spcPct val="80000"/>
              </a:lnSpc>
              <a:spcBef>
                <a:spcPts val="1200"/>
              </a:spcBef>
            </a:pPr>
            <a:r>
              <a:rPr lang="en-GB" b="1">
                <a:solidFill>
                  <a:srgbClr val="646569"/>
                </a:solidFill>
              </a:rPr>
              <a:t>CUSTOMER ENGAGEMENT FRAMEWORK</a:t>
            </a:r>
            <a:endParaRPr lang="en-US"/>
          </a:p>
        </p:txBody>
      </p:sp>
      <p:sp>
        <p:nvSpPr>
          <p:cNvPr id="40" name="Chevron 39">
            <a:extLst>
              <a:ext uri="{FF2B5EF4-FFF2-40B4-BE49-F238E27FC236}">
                <a16:creationId xmlns:a16="http://schemas.microsoft.com/office/drawing/2014/main" id="{80EC275A-442D-584A-9875-D83E631EE65A}"/>
              </a:ext>
            </a:extLst>
          </p:cNvPr>
          <p:cNvSpPr/>
          <p:nvPr/>
        </p:nvSpPr>
        <p:spPr>
          <a:xfrm>
            <a:off x="5877861" y="2171954"/>
            <a:ext cx="408697" cy="110121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13444658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E28E277-E125-5447-AA65-FE5CB486BCDE}"/>
              </a:ext>
            </a:extLst>
          </p:cNvPr>
          <p:cNvSpPr/>
          <p:nvPr/>
        </p:nvSpPr>
        <p:spPr>
          <a:xfrm>
            <a:off x="351722" y="1492573"/>
            <a:ext cx="8590749" cy="4700758"/>
          </a:xfrm>
          <a:prstGeom prst="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DD04ACF7-22C5-FC4C-9437-F800635DC519}"/>
              </a:ext>
            </a:extLst>
          </p:cNvPr>
          <p:cNvSpPr txBox="1"/>
          <p:nvPr/>
        </p:nvSpPr>
        <p:spPr>
          <a:xfrm>
            <a:off x="2525128" y="1400154"/>
            <a:ext cx="4148904" cy="319446"/>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182880" algn="ctr">
              <a:lnSpc>
                <a:spcPct val="80000"/>
              </a:lnSpc>
              <a:spcBef>
                <a:spcPts val="1200"/>
              </a:spcBef>
            </a:pPr>
            <a:r>
              <a:rPr lang="en-GB" b="1">
                <a:solidFill>
                  <a:srgbClr val="646569"/>
                </a:solidFill>
              </a:rPr>
              <a:t>CUSTOMER ENGAGEMENT FRAMEWORK</a:t>
            </a:r>
            <a:endParaRPr lang="en-US"/>
          </a:p>
        </p:txBody>
      </p:sp>
      <p:sp>
        <p:nvSpPr>
          <p:cNvPr id="45" name="Title 44">
            <a:extLst>
              <a:ext uri="{FF2B5EF4-FFF2-40B4-BE49-F238E27FC236}">
                <a16:creationId xmlns:a16="http://schemas.microsoft.com/office/drawing/2014/main" id="{5F77FDCE-81E5-3445-8AB6-06322E3A2FB6}"/>
              </a:ext>
            </a:extLst>
          </p:cNvPr>
          <p:cNvSpPr>
            <a:spLocks noGrp="1"/>
          </p:cNvSpPr>
          <p:nvPr>
            <p:ph type="title"/>
          </p:nvPr>
        </p:nvSpPr>
        <p:spPr/>
        <p:txBody>
          <a:bodyPr vert="horz" lIns="91440" tIns="45720" rIns="91440" bIns="45720" rtlCol="0" anchor="ctr" anchorCtr="0">
            <a:noAutofit/>
          </a:bodyPr>
          <a:lstStyle/>
          <a:p>
            <a:r>
              <a:rPr lang="en-US"/>
              <a:t>As a result, we would create following key elements to support the markets and the reps in the execution </a:t>
            </a:r>
          </a:p>
        </p:txBody>
      </p:sp>
      <p:sp>
        <p:nvSpPr>
          <p:cNvPr id="48" name="Rectangle 47">
            <a:extLst>
              <a:ext uri="{FF2B5EF4-FFF2-40B4-BE49-F238E27FC236}">
                <a16:creationId xmlns:a16="http://schemas.microsoft.com/office/drawing/2014/main" id="{F4F36D8D-B461-EA41-881F-026A1BFB06A2}"/>
              </a:ext>
            </a:extLst>
          </p:cNvPr>
          <p:cNvSpPr/>
          <p:nvPr/>
        </p:nvSpPr>
        <p:spPr>
          <a:xfrm>
            <a:off x="425054" y="1934913"/>
            <a:ext cx="2687600" cy="8288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600" b="1">
                <a:solidFill>
                  <a:schemeClr val="bg1"/>
                </a:solidFill>
              </a:rPr>
              <a:t>1. DEFINE THE </a:t>
            </a:r>
          </a:p>
          <a:p>
            <a:pPr algn="ctr"/>
            <a:r>
              <a:rPr lang="en-GB" sz="1600" b="1">
                <a:solidFill>
                  <a:schemeClr val="bg1"/>
                </a:solidFill>
              </a:rPr>
              <a:t>ENGAGEMENT MODEL</a:t>
            </a:r>
          </a:p>
        </p:txBody>
      </p:sp>
      <p:sp>
        <p:nvSpPr>
          <p:cNvPr id="70" name="Rectangle 69">
            <a:extLst>
              <a:ext uri="{FF2B5EF4-FFF2-40B4-BE49-F238E27FC236}">
                <a16:creationId xmlns:a16="http://schemas.microsoft.com/office/drawing/2014/main" id="{6B60FC1B-D555-2840-9870-52EFD8322387}"/>
              </a:ext>
            </a:extLst>
          </p:cNvPr>
          <p:cNvSpPr/>
          <p:nvPr/>
        </p:nvSpPr>
        <p:spPr>
          <a:xfrm>
            <a:off x="9085662" y="1934913"/>
            <a:ext cx="2687600" cy="8288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bg1"/>
              </a:solidFill>
            </a:endParaRPr>
          </a:p>
          <a:p>
            <a:pPr algn="ctr"/>
            <a:r>
              <a:rPr lang="en-GB" sz="1600" b="1">
                <a:solidFill>
                  <a:schemeClr val="bg1"/>
                </a:solidFill>
              </a:rPr>
              <a:t>4. TEST, LEARN &amp; ITERATE</a:t>
            </a:r>
          </a:p>
        </p:txBody>
      </p:sp>
      <p:sp>
        <p:nvSpPr>
          <p:cNvPr id="71" name="Oval 70">
            <a:extLst>
              <a:ext uri="{FF2B5EF4-FFF2-40B4-BE49-F238E27FC236}">
                <a16:creationId xmlns:a16="http://schemas.microsoft.com/office/drawing/2014/main" id="{EAA9EE2D-20FE-1540-9B15-09516D75F904}"/>
              </a:ext>
            </a:extLst>
          </p:cNvPr>
          <p:cNvSpPr/>
          <p:nvPr/>
        </p:nvSpPr>
        <p:spPr>
          <a:xfrm>
            <a:off x="1512252" y="1648786"/>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Graphic 71" descr="Treasure Map with solid fill">
            <a:extLst>
              <a:ext uri="{FF2B5EF4-FFF2-40B4-BE49-F238E27FC236}">
                <a16:creationId xmlns:a16="http://schemas.microsoft.com/office/drawing/2014/main" id="{32D2BC8B-C9A7-A740-9044-4F6930D0D7D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574541" y="1698700"/>
            <a:ext cx="457200" cy="457200"/>
          </a:xfrm>
          <a:prstGeom prst="rect">
            <a:avLst/>
          </a:prstGeom>
        </p:spPr>
      </p:pic>
      <p:sp>
        <p:nvSpPr>
          <p:cNvPr id="22" name="Oval 21">
            <a:extLst>
              <a:ext uri="{FF2B5EF4-FFF2-40B4-BE49-F238E27FC236}">
                <a16:creationId xmlns:a16="http://schemas.microsoft.com/office/drawing/2014/main" id="{1A7CAAF2-4421-E34A-B421-FD6309A4BE53}"/>
              </a:ext>
            </a:extLst>
          </p:cNvPr>
          <p:cNvSpPr/>
          <p:nvPr/>
        </p:nvSpPr>
        <p:spPr>
          <a:xfrm>
            <a:off x="10182489" y="1662232"/>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Rocket with solid fill">
            <a:extLst>
              <a:ext uri="{FF2B5EF4-FFF2-40B4-BE49-F238E27FC236}">
                <a16:creationId xmlns:a16="http://schemas.microsoft.com/office/drawing/2014/main" id="{AB591FE1-1CFE-CC43-BB72-A610CDA5A6F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9027964">
            <a:off x="10245187" y="1749010"/>
            <a:ext cx="457200" cy="457200"/>
          </a:xfrm>
          <a:prstGeom prst="rect">
            <a:avLst/>
          </a:prstGeom>
        </p:spPr>
      </p:pic>
      <p:grpSp>
        <p:nvGrpSpPr>
          <p:cNvPr id="2" name="Group 1">
            <a:extLst>
              <a:ext uri="{FF2B5EF4-FFF2-40B4-BE49-F238E27FC236}">
                <a16:creationId xmlns:a16="http://schemas.microsoft.com/office/drawing/2014/main" id="{7A13E73D-0589-3340-89A1-A334B50EDD7E}"/>
              </a:ext>
            </a:extLst>
          </p:cNvPr>
          <p:cNvGrpSpPr/>
          <p:nvPr/>
        </p:nvGrpSpPr>
        <p:grpSpPr>
          <a:xfrm>
            <a:off x="443717" y="2884790"/>
            <a:ext cx="11348206" cy="3177914"/>
            <a:chOff x="429737" y="2853251"/>
            <a:chExt cx="11348206" cy="2816220"/>
          </a:xfrm>
        </p:grpSpPr>
        <p:sp>
          <p:nvSpPr>
            <p:cNvPr id="59" name="Rounded Rectangle 58">
              <a:extLst>
                <a:ext uri="{FF2B5EF4-FFF2-40B4-BE49-F238E27FC236}">
                  <a16:creationId xmlns:a16="http://schemas.microsoft.com/office/drawing/2014/main" id="{280E67B7-E428-B046-9078-0135327B0403}"/>
                </a:ext>
              </a:extLst>
            </p:cNvPr>
            <p:cNvSpPr/>
            <p:nvPr/>
          </p:nvSpPr>
          <p:spPr>
            <a:xfrm>
              <a:off x="429737" y="3573247"/>
              <a:ext cx="2687599" cy="648000"/>
            </a:xfrm>
            <a:prstGeom prst="roundRect">
              <a:avLst/>
            </a:prstGeom>
            <a:solidFill>
              <a:schemeClr val="bg1"/>
            </a:solidFill>
            <a:ln>
              <a:solidFill>
                <a:schemeClr val="accent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      Define and build the rep activity allocation &amp; MCCP process including collaboration opportunities with medical</a:t>
              </a:r>
            </a:p>
          </p:txBody>
        </p:sp>
        <p:sp>
          <p:nvSpPr>
            <p:cNvPr id="57" name="Rounded Rectangle 56">
              <a:extLst>
                <a:ext uri="{FF2B5EF4-FFF2-40B4-BE49-F238E27FC236}">
                  <a16:creationId xmlns:a16="http://schemas.microsoft.com/office/drawing/2014/main" id="{347E3E4A-FACC-D449-8B8D-A1C6FEA73329}"/>
                </a:ext>
              </a:extLst>
            </p:cNvPr>
            <p:cNvSpPr/>
            <p:nvPr/>
          </p:nvSpPr>
          <p:spPr>
            <a:xfrm>
              <a:off x="429737" y="2853251"/>
              <a:ext cx="2687599" cy="648000"/>
            </a:xfrm>
            <a:prstGeom prst="roundRect">
              <a:avLst/>
            </a:prstGeom>
            <a:solidFill>
              <a:schemeClr val="bg1"/>
            </a:solidFill>
            <a:ln>
              <a:solidFill>
                <a:schemeClr val="accent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Define the 2 market archetypes (account based vs. HCP based) and key go-to-market considerations for each</a:t>
              </a:r>
              <a:endParaRPr lang="en-GB" sz="1100" strike="sngStrike">
                <a:solidFill>
                  <a:srgbClr val="FF0000"/>
                </a:solidFill>
              </a:endParaRPr>
            </a:p>
          </p:txBody>
        </p:sp>
        <p:sp>
          <p:nvSpPr>
            <p:cNvPr id="58" name="Rounded Rectangle 57">
              <a:extLst>
                <a:ext uri="{FF2B5EF4-FFF2-40B4-BE49-F238E27FC236}">
                  <a16:creationId xmlns:a16="http://schemas.microsoft.com/office/drawing/2014/main" id="{1CBB49DE-B3DB-1848-9F54-ACF128911A5E}"/>
                </a:ext>
              </a:extLst>
            </p:cNvPr>
            <p:cNvSpPr/>
            <p:nvPr/>
          </p:nvSpPr>
          <p:spPr>
            <a:xfrm>
              <a:off x="429737" y="4293243"/>
              <a:ext cx="2687599" cy="648000"/>
            </a:xfrm>
            <a:prstGeom prst="roundRect">
              <a:avLst/>
            </a:prstGeom>
            <a:solidFill>
              <a:schemeClr val="bg1"/>
            </a:solidFill>
            <a:ln>
              <a:solidFill>
                <a:schemeClr val="accent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 Design the engagement blueprint for the ‘day in the life’ of a hybrid rep through a sales cycle, capturing nuances for each archetype</a:t>
              </a:r>
            </a:p>
          </p:txBody>
        </p:sp>
        <p:sp>
          <p:nvSpPr>
            <p:cNvPr id="60" name="Rounded Rectangle 59">
              <a:extLst>
                <a:ext uri="{FF2B5EF4-FFF2-40B4-BE49-F238E27FC236}">
                  <a16:creationId xmlns:a16="http://schemas.microsoft.com/office/drawing/2014/main" id="{B681263C-62F7-164F-850C-69C31493311E}"/>
                </a:ext>
              </a:extLst>
            </p:cNvPr>
            <p:cNvSpPr/>
            <p:nvPr/>
          </p:nvSpPr>
          <p:spPr>
            <a:xfrm>
              <a:off x="3316606" y="2853251"/>
              <a:ext cx="2687599" cy="648000"/>
            </a:xfrm>
            <a:prstGeom prst="roundRect">
              <a:avLst/>
            </a:prstGeom>
            <a:solidFill>
              <a:schemeClr val="bg1"/>
            </a:solidFill>
            <a:ln>
              <a:solidFill>
                <a:schemeClr val="accent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Create pre-call plan, call execution and post-call best practice playbooks, detailing key insights for reps to gather</a:t>
              </a:r>
            </a:p>
          </p:txBody>
        </p:sp>
        <p:sp>
          <p:nvSpPr>
            <p:cNvPr id="61" name="Rounded Rectangle 60">
              <a:extLst>
                <a:ext uri="{FF2B5EF4-FFF2-40B4-BE49-F238E27FC236}">
                  <a16:creationId xmlns:a16="http://schemas.microsoft.com/office/drawing/2014/main" id="{DD70DFF8-55D5-0C42-A580-68196B7E6779}"/>
                </a:ext>
              </a:extLst>
            </p:cNvPr>
            <p:cNvSpPr/>
            <p:nvPr/>
          </p:nvSpPr>
          <p:spPr>
            <a:xfrm>
              <a:off x="3316606" y="3573247"/>
              <a:ext cx="2687599" cy="648000"/>
            </a:xfrm>
            <a:prstGeom prst="roundRect">
              <a:avLst/>
            </a:prstGeom>
            <a:solidFill>
              <a:schemeClr val="bg1"/>
            </a:solidFill>
            <a:ln>
              <a:solidFill>
                <a:schemeClr val="accent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Adapt sales choreography / objection handling guidance (with medical) to ensure these are fit for an omnichannel context </a:t>
              </a:r>
            </a:p>
          </p:txBody>
        </p:sp>
        <p:sp>
          <p:nvSpPr>
            <p:cNvPr id="62" name="Rounded Rectangle 61">
              <a:extLst>
                <a:ext uri="{FF2B5EF4-FFF2-40B4-BE49-F238E27FC236}">
                  <a16:creationId xmlns:a16="http://schemas.microsoft.com/office/drawing/2014/main" id="{C1C7DEA2-4E2B-334D-BC10-12E3DD586094}"/>
                </a:ext>
              </a:extLst>
            </p:cNvPr>
            <p:cNvSpPr/>
            <p:nvPr/>
          </p:nvSpPr>
          <p:spPr>
            <a:xfrm>
              <a:off x="3316606" y="4293243"/>
              <a:ext cx="2687599" cy="648000"/>
            </a:xfrm>
            <a:prstGeom prst="roundRect">
              <a:avLst/>
            </a:prstGeom>
            <a:solidFill>
              <a:schemeClr val="bg1"/>
            </a:solidFill>
            <a:ln>
              <a:solidFill>
                <a:schemeClr val="accent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Configure Veeva CRM to optimise execution of the engagement model</a:t>
              </a:r>
              <a:endParaRPr lang="en-GB" sz="1100">
                <a:solidFill>
                  <a:schemeClr val="tx1"/>
                </a:solidFill>
                <a:highlight>
                  <a:srgbClr val="FFFF00"/>
                </a:highlight>
              </a:endParaRPr>
            </a:p>
          </p:txBody>
        </p:sp>
        <p:sp>
          <p:nvSpPr>
            <p:cNvPr id="63" name="Rounded Rectangle 62">
              <a:extLst>
                <a:ext uri="{FF2B5EF4-FFF2-40B4-BE49-F238E27FC236}">
                  <a16:creationId xmlns:a16="http://schemas.microsoft.com/office/drawing/2014/main" id="{DB2A6E8F-8D5E-3746-B254-8EBC0A087D9C}"/>
                </a:ext>
              </a:extLst>
            </p:cNvPr>
            <p:cNvSpPr/>
            <p:nvPr/>
          </p:nvSpPr>
          <p:spPr>
            <a:xfrm>
              <a:off x="6203475" y="2853251"/>
              <a:ext cx="2687599" cy="648000"/>
            </a:xfrm>
            <a:prstGeom prst="roundRect">
              <a:avLst/>
            </a:prstGeom>
            <a:solidFill>
              <a:schemeClr val="bg1"/>
            </a:solidFill>
            <a:ln>
              <a:solidFill>
                <a:schemeClr val="accent5">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Create training materials to deliver an omnichannel experience building on ELITE and other existing trainings</a:t>
              </a:r>
            </a:p>
          </p:txBody>
        </p:sp>
        <p:sp>
          <p:nvSpPr>
            <p:cNvPr id="64" name="Rounded Rectangle 63">
              <a:extLst>
                <a:ext uri="{FF2B5EF4-FFF2-40B4-BE49-F238E27FC236}">
                  <a16:creationId xmlns:a16="http://schemas.microsoft.com/office/drawing/2014/main" id="{0B4DCB1E-2C4E-8840-B8CA-10FB39E2CA5A}"/>
                </a:ext>
              </a:extLst>
            </p:cNvPr>
            <p:cNvSpPr/>
            <p:nvPr/>
          </p:nvSpPr>
          <p:spPr>
            <a:xfrm>
              <a:off x="6203475" y="3573247"/>
              <a:ext cx="2687599" cy="648000"/>
            </a:xfrm>
            <a:prstGeom prst="roundRect">
              <a:avLst/>
            </a:prstGeom>
            <a:solidFill>
              <a:schemeClr val="bg1"/>
            </a:solidFill>
            <a:ln>
              <a:solidFill>
                <a:schemeClr val="accent5">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Prioritise and build the highest impact interventions, and deliver train-the trainer sessions</a:t>
              </a:r>
            </a:p>
          </p:txBody>
        </p:sp>
        <p:sp>
          <p:nvSpPr>
            <p:cNvPr id="65" name="Rounded Rectangle 64">
              <a:extLst>
                <a:ext uri="{FF2B5EF4-FFF2-40B4-BE49-F238E27FC236}">
                  <a16:creationId xmlns:a16="http://schemas.microsoft.com/office/drawing/2014/main" id="{81217C7F-25D8-884A-81F4-E429772777F7}"/>
                </a:ext>
              </a:extLst>
            </p:cNvPr>
            <p:cNvSpPr/>
            <p:nvPr/>
          </p:nvSpPr>
          <p:spPr>
            <a:xfrm>
              <a:off x="6203475" y="4293243"/>
              <a:ext cx="2687599" cy="648000"/>
            </a:xfrm>
            <a:prstGeom prst="roundRect">
              <a:avLst/>
            </a:prstGeom>
            <a:solidFill>
              <a:schemeClr val="bg1"/>
            </a:solidFill>
            <a:ln>
              <a:solidFill>
                <a:schemeClr val="accent5">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Update the learning &amp; development journey</a:t>
              </a:r>
            </a:p>
          </p:txBody>
        </p:sp>
        <p:sp>
          <p:nvSpPr>
            <p:cNvPr id="66" name="Rounded Rectangle 65">
              <a:extLst>
                <a:ext uri="{FF2B5EF4-FFF2-40B4-BE49-F238E27FC236}">
                  <a16:creationId xmlns:a16="http://schemas.microsoft.com/office/drawing/2014/main" id="{58849610-1C12-3C44-8316-4971CC8B0655}"/>
                </a:ext>
              </a:extLst>
            </p:cNvPr>
            <p:cNvSpPr/>
            <p:nvPr/>
          </p:nvSpPr>
          <p:spPr>
            <a:xfrm>
              <a:off x="9090344" y="2853251"/>
              <a:ext cx="2687599" cy="648000"/>
            </a:xfrm>
            <a:prstGeom prst="roundRect">
              <a:avLst/>
            </a:prstGeom>
            <a:solidFill>
              <a:schemeClr val="bg1"/>
            </a:solidFill>
            <a:ln>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 Build and execute a pilot for each market archetype and enhance engagement blueprints</a:t>
              </a:r>
            </a:p>
          </p:txBody>
        </p:sp>
        <p:sp>
          <p:nvSpPr>
            <p:cNvPr id="73" name="Rounded Rectangle 72">
              <a:extLst>
                <a:ext uri="{FF2B5EF4-FFF2-40B4-BE49-F238E27FC236}">
                  <a16:creationId xmlns:a16="http://schemas.microsoft.com/office/drawing/2014/main" id="{56248838-BCDB-A74D-8CED-40570558B039}"/>
                </a:ext>
              </a:extLst>
            </p:cNvPr>
            <p:cNvSpPr/>
            <p:nvPr/>
          </p:nvSpPr>
          <p:spPr>
            <a:xfrm>
              <a:off x="429737" y="5021471"/>
              <a:ext cx="2687599" cy="648000"/>
            </a:xfrm>
            <a:prstGeom prst="roundRect">
              <a:avLst/>
            </a:prstGeom>
            <a:solidFill>
              <a:schemeClr val="bg1"/>
            </a:solidFill>
            <a:ln>
              <a:solidFill>
                <a:schemeClr val="accent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Define the governance and adoption framework, including key metrics to be measured</a:t>
              </a:r>
            </a:p>
          </p:txBody>
        </p:sp>
      </p:grpSp>
      <p:sp>
        <p:nvSpPr>
          <p:cNvPr id="38" name="Rectangle 37">
            <a:extLst>
              <a:ext uri="{FF2B5EF4-FFF2-40B4-BE49-F238E27FC236}">
                <a16:creationId xmlns:a16="http://schemas.microsoft.com/office/drawing/2014/main" id="{65740819-7BB3-0644-B785-6F735978B7AC}"/>
              </a:ext>
            </a:extLst>
          </p:cNvPr>
          <p:cNvSpPr/>
          <p:nvPr/>
        </p:nvSpPr>
        <p:spPr>
          <a:xfrm>
            <a:off x="3322052" y="1934912"/>
            <a:ext cx="2687599" cy="8288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bg1"/>
              </a:solidFill>
            </a:endParaRPr>
          </a:p>
          <a:p>
            <a:pPr algn="ctr"/>
            <a:r>
              <a:rPr lang="en-GB" sz="1600" b="1">
                <a:solidFill>
                  <a:schemeClr val="bg1"/>
                </a:solidFill>
              </a:rPr>
              <a:t>2. ENABLE EXECUTION</a:t>
            </a:r>
          </a:p>
        </p:txBody>
      </p:sp>
      <p:sp>
        <p:nvSpPr>
          <p:cNvPr id="42" name="Rectangle 41">
            <a:extLst>
              <a:ext uri="{FF2B5EF4-FFF2-40B4-BE49-F238E27FC236}">
                <a16:creationId xmlns:a16="http://schemas.microsoft.com/office/drawing/2014/main" id="{10110E09-2909-9445-B4D8-C56A84F4EB6D}"/>
              </a:ext>
            </a:extLst>
          </p:cNvPr>
          <p:cNvSpPr/>
          <p:nvPr/>
        </p:nvSpPr>
        <p:spPr>
          <a:xfrm>
            <a:off x="6172130" y="1934912"/>
            <a:ext cx="2687599" cy="828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600" b="1">
                <a:solidFill>
                  <a:schemeClr val="bg1"/>
                </a:solidFill>
              </a:rPr>
              <a:t>3. EMPOWER </a:t>
            </a:r>
          </a:p>
          <a:p>
            <a:pPr algn="ctr"/>
            <a:r>
              <a:rPr lang="en-GB" sz="1600" b="1">
                <a:solidFill>
                  <a:schemeClr val="bg1"/>
                </a:solidFill>
              </a:rPr>
              <a:t>THE HYBRID-REP</a:t>
            </a:r>
          </a:p>
        </p:txBody>
      </p:sp>
      <p:grpSp>
        <p:nvGrpSpPr>
          <p:cNvPr id="3" name="Group 2">
            <a:extLst>
              <a:ext uri="{FF2B5EF4-FFF2-40B4-BE49-F238E27FC236}">
                <a16:creationId xmlns:a16="http://schemas.microsoft.com/office/drawing/2014/main" id="{D15989EB-23CF-D843-968A-AD4A11BF4889}"/>
              </a:ext>
            </a:extLst>
          </p:cNvPr>
          <p:cNvGrpSpPr/>
          <p:nvPr/>
        </p:nvGrpSpPr>
        <p:grpSpPr>
          <a:xfrm>
            <a:off x="4365814" y="1643265"/>
            <a:ext cx="600075" cy="568070"/>
            <a:chOff x="3451733" y="1460510"/>
            <a:chExt cx="600075" cy="568070"/>
          </a:xfrm>
        </p:grpSpPr>
        <p:sp>
          <p:nvSpPr>
            <p:cNvPr id="39" name="Oval 38">
              <a:extLst>
                <a:ext uri="{FF2B5EF4-FFF2-40B4-BE49-F238E27FC236}">
                  <a16:creationId xmlns:a16="http://schemas.microsoft.com/office/drawing/2014/main" id="{74D72BBE-883E-0340-AF76-4F9CB29B835C}"/>
                </a:ext>
              </a:extLst>
            </p:cNvPr>
            <p:cNvSpPr/>
            <p:nvPr/>
          </p:nvSpPr>
          <p:spPr>
            <a:xfrm>
              <a:off x="3451733" y="1460510"/>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Graphic 42" descr="Lights On with solid fill">
              <a:extLst>
                <a:ext uri="{FF2B5EF4-FFF2-40B4-BE49-F238E27FC236}">
                  <a16:creationId xmlns:a16="http://schemas.microsoft.com/office/drawing/2014/main" id="{C0C913E4-430A-1249-B732-C4AFF56C10E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44407" y="1523400"/>
              <a:ext cx="432000" cy="432000"/>
            </a:xfrm>
            <a:prstGeom prst="rect">
              <a:avLst/>
            </a:prstGeom>
          </p:spPr>
        </p:pic>
      </p:grpSp>
      <p:sp>
        <p:nvSpPr>
          <p:cNvPr id="32" name="Chevron 31">
            <a:extLst>
              <a:ext uri="{FF2B5EF4-FFF2-40B4-BE49-F238E27FC236}">
                <a16:creationId xmlns:a16="http://schemas.microsoft.com/office/drawing/2014/main" id="{A4B13AC5-D28A-5C49-A1D7-1FF9816C4804}"/>
              </a:ext>
            </a:extLst>
          </p:cNvPr>
          <p:cNvSpPr/>
          <p:nvPr/>
        </p:nvSpPr>
        <p:spPr>
          <a:xfrm>
            <a:off x="8863347" y="2086561"/>
            <a:ext cx="279145" cy="51283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hevron 32">
            <a:extLst>
              <a:ext uri="{FF2B5EF4-FFF2-40B4-BE49-F238E27FC236}">
                <a16:creationId xmlns:a16="http://schemas.microsoft.com/office/drawing/2014/main" id="{0465C081-030C-9E4E-8E86-635F0CEF1114}"/>
              </a:ext>
            </a:extLst>
          </p:cNvPr>
          <p:cNvSpPr/>
          <p:nvPr/>
        </p:nvSpPr>
        <p:spPr>
          <a:xfrm>
            <a:off x="3059165" y="2086561"/>
            <a:ext cx="279145" cy="51283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4" name="Group 3">
            <a:extLst>
              <a:ext uri="{FF2B5EF4-FFF2-40B4-BE49-F238E27FC236}">
                <a16:creationId xmlns:a16="http://schemas.microsoft.com/office/drawing/2014/main" id="{C4B7A13C-094D-C340-9DE3-89AB941BEE01}"/>
              </a:ext>
            </a:extLst>
          </p:cNvPr>
          <p:cNvGrpSpPr/>
          <p:nvPr/>
        </p:nvGrpSpPr>
        <p:grpSpPr>
          <a:xfrm>
            <a:off x="7215892" y="1649337"/>
            <a:ext cx="600075" cy="568070"/>
            <a:chOff x="7110821" y="1466582"/>
            <a:chExt cx="600075" cy="568070"/>
          </a:xfrm>
        </p:grpSpPr>
        <p:sp>
          <p:nvSpPr>
            <p:cNvPr id="34" name="Oval 33">
              <a:extLst>
                <a:ext uri="{FF2B5EF4-FFF2-40B4-BE49-F238E27FC236}">
                  <a16:creationId xmlns:a16="http://schemas.microsoft.com/office/drawing/2014/main" id="{B4F16E7B-3CB2-8F4A-A100-2A9384A9CA82}"/>
                </a:ext>
              </a:extLst>
            </p:cNvPr>
            <p:cNvSpPr/>
            <p:nvPr/>
          </p:nvSpPr>
          <p:spPr>
            <a:xfrm>
              <a:off x="7110821" y="1466582"/>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descr="Podium with solid fill">
              <a:extLst>
                <a:ext uri="{FF2B5EF4-FFF2-40B4-BE49-F238E27FC236}">
                  <a16:creationId xmlns:a16="http://schemas.microsoft.com/office/drawing/2014/main" id="{A3EB953B-3924-A540-897C-78448A58A6BD}"/>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188656" y="1539351"/>
              <a:ext cx="437754" cy="437755"/>
            </a:xfrm>
            <a:prstGeom prst="rect">
              <a:avLst/>
            </a:prstGeom>
          </p:spPr>
        </p:pic>
      </p:grpSp>
      <p:sp>
        <p:nvSpPr>
          <p:cNvPr id="36" name="Chevron 35">
            <a:extLst>
              <a:ext uri="{FF2B5EF4-FFF2-40B4-BE49-F238E27FC236}">
                <a16:creationId xmlns:a16="http://schemas.microsoft.com/office/drawing/2014/main" id="{934AF075-5541-0643-8188-FE32CFC00640}"/>
              </a:ext>
            </a:extLst>
          </p:cNvPr>
          <p:cNvSpPr/>
          <p:nvPr/>
        </p:nvSpPr>
        <p:spPr>
          <a:xfrm>
            <a:off x="5935116" y="2086561"/>
            <a:ext cx="279145" cy="51283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Oval 4">
            <a:extLst>
              <a:ext uri="{FF2B5EF4-FFF2-40B4-BE49-F238E27FC236}">
                <a16:creationId xmlns:a16="http://schemas.microsoft.com/office/drawing/2014/main" id="{A6828BC9-92BD-434B-B56B-CDEEEC756B72}"/>
              </a:ext>
            </a:extLst>
          </p:cNvPr>
          <p:cNvSpPr/>
          <p:nvPr/>
        </p:nvSpPr>
        <p:spPr>
          <a:xfrm>
            <a:off x="342294" y="2819304"/>
            <a:ext cx="248321" cy="24832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1.1</a:t>
            </a:r>
          </a:p>
        </p:txBody>
      </p:sp>
      <p:sp>
        <p:nvSpPr>
          <p:cNvPr id="37" name="Oval 36">
            <a:extLst>
              <a:ext uri="{FF2B5EF4-FFF2-40B4-BE49-F238E27FC236}">
                <a16:creationId xmlns:a16="http://schemas.microsoft.com/office/drawing/2014/main" id="{F37D7E32-28D1-284E-A6BE-86CD72E0CEBC}"/>
              </a:ext>
            </a:extLst>
          </p:cNvPr>
          <p:cNvSpPr/>
          <p:nvPr/>
        </p:nvSpPr>
        <p:spPr>
          <a:xfrm>
            <a:off x="348709" y="3653085"/>
            <a:ext cx="248321" cy="24832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1.2</a:t>
            </a:r>
          </a:p>
        </p:txBody>
      </p:sp>
      <p:sp>
        <p:nvSpPr>
          <p:cNvPr id="40" name="Oval 39">
            <a:extLst>
              <a:ext uri="{FF2B5EF4-FFF2-40B4-BE49-F238E27FC236}">
                <a16:creationId xmlns:a16="http://schemas.microsoft.com/office/drawing/2014/main" id="{B7407651-35D9-0A4F-9762-3F8AA354D465}"/>
              </a:ext>
            </a:extLst>
          </p:cNvPr>
          <p:cNvSpPr/>
          <p:nvPr/>
        </p:nvSpPr>
        <p:spPr>
          <a:xfrm>
            <a:off x="355124" y="4433885"/>
            <a:ext cx="248321" cy="24832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1.3</a:t>
            </a:r>
          </a:p>
        </p:txBody>
      </p:sp>
      <p:sp>
        <p:nvSpPr>
          <p:cNvPr id="41" name="Oval 40">
            <a:extLst>
              <a:ext uri="{FF2B5EF4-FFF2-40B4-BE49-F238E27FC236}">
                <a16:creationId xmlns:a16="http://schemas.microsoft.com/office/drawing/2014/main" id="{514D3578-8FFD-C144-B34E-A088DE24062A}"/>
              </a:ext>
            </a:extLst>
          </p:cNvPr>
          <p:cNvSpPr/>
          <p:nvPr/>
        </p:nvSpPr>
        <p:spPr>
          <a:xfrm>
            <a:off x="361539" y="5267666"/>
            <a:ext cx="248321" cy="24832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1.4</a:t>
            </a:r>
          </a:p>
        </p:txBody>
      </p:sp>
      <p:sp>
        <p:nvSpPr>
          <p:cNvPr id="44" name="Oval 43">
            <a:extLst>
              <a:ext uri="{FF2B5EF4-FFF2-40B4-BE49-F238E27FC236}">
                <a16:creationId xmlns:a16="http://schemas.microsoft.com/office/drawing/2014/main" id="{CF31A525-28AB-634A-B4E6-276BA76A2A1A}"/>
              </a:ext>
            </a:extLst>
          </p:cNvPr>
          <p:cNvSpPr/>
          <p:nvPr/>
        </p:nvSpPr>
        <p:spPr>
          <a:xfrm>
            <a:off x="3222922" y="2842198"/>
            <a:ext cx="248321" cy="24832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2.1</a:t>
            </a:r>
          </a:p>
        </p:txBody>
      </p:sp>
      <p:sp>
        <p:nvSpPr>
          <p:cNvPr id="46" name="Oval 45">
            <a:extLst>
              <a:ext uri="{FF2B5EF4-FFF2-40B4-BE49-F238E27FC236}">
                <a16:creationId xmlns:a16="http://schemas.microsoft.com/office/drawing/2014/main" id="{ED487776-AB29-CE40-BBAF-FFF8FF0AF1C8}"/>
              </a:ext>
            </a:extLst>
          </p:cNvPr>
          <p:cNvSpPr/>
          <p:nvPr/>
        </p:nvSpPr>
        <p:spPr>
          <a:xfrm>
            <a:off x="3229337" y="3675979"/>
            <a:ext cx="248321" cy="24832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2.2</a:t>
            </a:r>
          </a:p>
        </p:txBody>
      </p:sp>
      <p:sp>
        <p:nvSpPr>
          <p:cNvPr id="47" name="Oval 46">
            <a:extLst>
              <a:ext uri="{FF2B5EF4-FFF2-40B4-BE49-F238E27FC236}">
                <a16:creationId xmlns:a16="http://schemas.microsoft.com/office/drawing/2014/main" id="{C280BC23-BDFA-D04B-BD36-EB9D2C884CCF}"/>
              </a:ext>
            </a:extLst>
          </p:cNvPr>
          <p:cNvSpPr/>
          <p:nvPr/>
        </p:nvSpPr>
        <p:spPr>
          <a:xfrm>
            <a:off x="3235752" y="4456779"/>
            <a:ext cx="248321" cy="24832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2.3</a:t>
            </a:r>
          </a:p>
        </p:txBody>
      </p:sp>
      <p:sp>
        <p:nvSpPr>
          <p:cNvPr id="49" name="Oval 48">
            <a:extLst>
              <a:ext uri="{FF2B5EF4-FFF2-40B4-BE49-F238E27FC236}">
                <a16:creationId xmlns:a16="http://schemas.microsoft.com/office/drawing/2014/main" id="{DD9695BC-C46A-5746-85EB-2668E6982A07}"/>
              </a:ext>
            </a:extLst>
          </p:cNvPr>
          <p:cNvSpPr/>
          <p:nvPr/>
        </p:nvSpPr>
        <p:spPr>
          <a:xfrm>
            <a:off x="9034077" y="2825591"/>
            <a:ext cx="248321" cy="2483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4.1</a:t>
            </a:r>
          </a:p>
        </p:txBody>
      </p:sp>
      <p:sp>
        <p:nvSpPr>
          <p:cNvPr id="50" name="Oval 49">
            <a:extLst>
              <a:ext uri="{FF2B5EF4-FFF2-40B4-BE49-F238E27FC236}">
                <a16:creationId xmlns:a16="http://schemas.microsoft.com/office/drawing/2014/main" id="{9F39DDE3-F20E-CA4F-85EB-B4E8545C1A0A}"/>
              </a:ext>
            </a:extLst>
          </p:cNvPr>
          <p:cNvSpPr/>
          <p:nvPr/>
        </p:nvSpPr>
        <p:spPr>
          <a:xfrm>
            <a:off x="6118918" y="2842198"/>
            <a:ext cx="248321" cy="248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3.1</a:t>
            </a:r>
          </a:p>
        </p:txBody>
      </p:sp>
      <p:sp>
        <p:nvSpPr>
          <p:cNvPr id="51" name="Oval 50">
            <a:extLst>
              <a:ext uri="{FF2B5EF4-FFF2-40B4-BE49-F238E27FC236}">
                <a16:creationId xmlns:a16="http://schemas.microsoft.com/office/drawing/2014/main" id="{66D1E714-1E9B-5C4D-B453-5CB30AF80F34}"/>
              </a:ext>
            </a:extLst>
          </p:cNvPr>
          <p:cNvSpPr/>
          <p:nvPr/>
        </p:nvSpPr>
        <p:spPr>
          <a:xfrm>
            <a:off x="6125333" y="3675979"/>
            <a:ext cx="248321" cy="248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3.2</a:t>
            </a:r>
          </a:p>
        </p:txBody>
      </p:sp>
      <p:sp>
        <p:nvSpPr>
          <p:cNvPr id="52" name="Oval 51">
            <a:extLst>
              <a:ext uri="{FF2B5EF4-FFF2-40B4-BE49-F238E27FC236}">
                <a16:creationId xmlns:a16="http://schemas.microsoft.com/office/drawing/2014/main" id="{04948384-406B-7F4E-B8B4-817023DE346E}"/>
              </a:ext>
            </a:extLst>
          </p:cNvPr>
          <p:cNvSpPr/>
          <p:nvPr/>
        </p:nvSpPr>
        <p:spPr>
          <a:xfrm>
            <a:off x="6131748" y="4456779"/>
            <a:ext cx="248321" cy="248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3.3</a:t>
            </a:r>
          </a:p>
        </p:txBody>
      </p:sp>
    </p:spTree>
    <p:extLst>
      <p:ext uri="{BB962C8B-B14F-4D97-AF65-F5344CB8AC3E}">
        <p14:creationId xmlns:p14="http://schemas.microsoft.com/office/powerpoint/2010/main" val="55279289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7F20359-6702-974F-BD21-EA3B73BAF1FF}"/>
              </a:ext>
            </a:extLst>
          </p:cNvPr>
          <p:cNvSpPr/>
          <p:nvPr/>
        </p:nvSpPr>
        <p:spPr>
          <a:xfrm>
            <a:off x="6284229" y="1607093"/>
            <a:ext cx="1167951" cy="4381132"/>
          </a:xfrm>
          <a:prstGeom prst="rect">
            <a:avLst/>
          </a:prstGeom>
          <a:pattFill prst="dkUpDiag">
            <a:fgClr>
              <a:schemeClr val="bg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a:solidFill>
                  <a:schemeClr val="tx1"/>
                </a:solidFill>
              </a:rPr>
              <a:t>Lighter support due to Galapagos’ holiday period </a:t>
            </a:r>
          </a:p>
        </p:txBody>
      </p:sp>
      <p:sp>
        <p:nvSpPr>
          <p:cNvPr id="3" name="Title 2">
            <a:extLst>
              <a:ext uri="{FF2B5EF4-FFF2-40B4-BE49-F238E27FC236}">
                <a16:creationId xmlns:a16="http://schemas.microsoft.com/office/drawing/2014/main" id="{15C3942F-1347-2E43-8434-3C91D2DDFE07}"/>
              </a:ext>
            </a:extLst>
          </p:cNvPr>
          <p:cNvSpPr>
            <a:spLocks noGrp="1"/>
          </p:cNvSpPr>
          <p:nvPr>
            <p:ph type="title"/>
          </p:nvPr>
        </p:nvSpPr>
        <p:spPr>
          <a:xfrm>
            <a:off x="276303" y="240653"/>
            <a:ext cx="11639394" cy="808277"/>
          </a:xfrm>
        </p:spPr>
        <p:txBody>
          <a:bodyPr vert="horz" lIns="91440" tIns="45720" rIns="91440" bIns="45720" rtlCol="0" anchor="ctr" anchorCtr="0">
            <a:noAutofit/>
          </a:bodyPr>
          <a:lstStyle/>
          <a:p>
            <a:r>
              <a:rPr lang="en-US"/>
              <a:t>Based on our experience working with Galapagos, we believe a ‘long &amp; thin’ support model would work best</a:t>
            </a:r>
          </a:p>
        </p:txBody>
      </p:sp>
      <p:graphicFrame>
        <p:nvGraphicFramePr>
          <p:cNvPr id="4" name="Table 4">
            <a:extLst>
              <a:ext uri="{FF2B5EF4-FFF2-40B4-BE49-F238E27FC236}">
                <a16:creationId xmlns:a16="http://schemas.microsoft.com/office/drawing/2014/main" id="{91A09B56-DD76-A746-9A26-CA8BA2860427}"/>
              </a:ext>
            </a:extLst>
          </p:cNvPr>
          <p:cNvGraphicFramePr>
            <a:graphicFrameLocks noGrp="1"/>
          </p:cNvGraphicFramePr>
          <p:nvPr>
            <p:extLst>
              <p:ext uri="{D42A27DB-BD31-4B8C-83A1-F6EECF244321}">
                <p14:modId xmlns:p14="http://schemas.microsoft.com/office/powerpoint/2010/main" val="4116776579"/>
              </p:ext>
            </p:extLst>
          </p:nvPr>
        </p:nvGraphicFramePr>
        <p:xfrm>
          <a:off x="1240078" y="1142497"/>
          <a:ext cx="10525830" cy="457200"/>
        </p:xfrm>
        <a:graphic>
          <a:graphicData uri="http://schemas.openxmlformats.org/drawingml/2006/table">
            <a:tbl>
              <a:tblPr firstRow="1" bandRow="1">
                <a:tableStyleId>{5C22544A-7EE6-4342-B048-85BDC9FD1C3A}</a:tableStyleId>
              </a:tblPr>
              <a:tblGrid>
                <a:gridCol w="350861">
                  <a:extLst>
                    <a:ext uri="{9D8B030D-6E8A-4147-A177-3AD203B41FA5}">
                      <a16:colId xmlns:a16="http://schemas.microsoft.com/office/drawing/2014/main" val="667201313"/>
                    </a:ext>
                  </a:extLst>
                </a:gridCol>
                <a:gridCol w="350861">
                  <a:extLst>
                    <a:ext uri="{9D8B030D-6E8A-4147-A177-3AD203B41FA5}">
                      <a16:colId xmlns:a16="http://schemas.microsoft.com/office/drawing/2014/main" val="480980154"/>
                    </a:ext>
                  </a:extLst>
                </a:gridCol>
                <a:gridCol w="350861">
                  <a:extLst>
                    <a:ext uri="{9D8B030D-6E8A-4147-A177-3AD203B41FA5}">
                      <a16:colId xmlns:a16="http://schemas.microsoft.com/office/drawing/2014/main" val="1182155189"/>
                    </a:ext>
                  </a:extLst>
                </a:gridCol>
                <a:gridCol w="350861">
                  <a:extLst>
                    <a:ext uri="{9D8B030D-6E8A-4147-A177-3AD203B41FA5}">
                      <a16:colId xmlns:a16="http://schemas.microsoft.com/office/drawing/2014/main" val="2887901740"/>
                    </a:ext>
                  </a:extLst>
                </a:gridCol>
                <a:gridCol w="350861">
                  <a:extLst>
                    <a:ext uri="{9D8B030D-6E8A-4147-A177-3AD203B41FA5}">
                      <a16:colId xmlns:a16="http://schemas.microsoft.com/office/drawing/2014/main" val="1587467825"/>
                    </a:ext>
                  </a:extLst>
                </a:gridCol>
                <a:gridCol w="350861">
                  <a:extLst>
                    <a:ext uri="{9D8B030D-6E8A-4147-A177-3AD203B41FA5}">
                      <a16:colId xmlns:a16="http://schemas.microsoft.com/office/drawing/2014/main" val="1914280829"/>
                    </a:ext>
                  </a:extLst>
                </a:gridCol>
                <a:gridCol w="350861">
                  <a:extLst>
                    <a:ext uri="{9D8B030D-6E8A-4147-A177-3AD203B41FA5}">
                      <a16:colId xmlns:a16="http://schemas.microsoft.com/office/drawing/2014/main" val="2023042662"/>
                    </a:ext>
                  </a:extLst>
                </a:gridCol>
                <a:gridCol w="350861">
                  <a:extLst>
                    <a:ext uri="{9D8B030D-6E8A-4147-A177-3AD203B41FA5}">
                      <a16:colId xmlns:a16="http://schemas.microsoft.com/office/drawing/2014/main" val="222395687"/>
                    </a:ext>
                  </a:extLst>
                </a:gridCol>
                <a:gridCol w="350861">
                  <a:extLst>
                    <a:ext uri="{9D8B030D-6E8A-4147-A177-3AD203B41FA5}">
                      <a16:colId xmlns:a16="http://schemas.microsoft.com/office/drawing/2014/main" val="1980508386"/>
                    </a:ext>
                  </a:extLst>
                </a:gridCol>
                <a:gridCol w="350861">
                  <a:extLst>
                    <a:ext uri="{9D8B030D-6E8A-4147-A177-3AD203B41FA5}">
                      <a16:colId xmlns:a16="http://schemas.microsoft.com/office/drawing/2014/main" val="3506417920"/>
                    </a:ext>
                  </a:extLst>
                </a:gridCol>
                <a:gridCol w="350861">
                  <a:extLst>
                    <a:ext uri="{9D8B030D-6E8A-4147-A177-3AD203B41FA5}">
                      <a16:colId xmlns:a16="http://schemas.microsoft.com/office/drawing/2014/main" val="4180936157"/>
                    </a:ext>
                  </a:extLst>
                </a:gridCol>
                <a:gridCol w="350861">
                  <a:extLst>
                    <a:ext uri="{9D8B030D-6E8A-4147-A177-3AD203B41FA5}">
                      <a16:colId xmlns:a16="http://schemas.microsoft.com/office/drawing/2014/main" val="2632387108"/>
                    </a:ext>
                  </a:extLst>
                </a:gridCol>
                <a:gridCol w="350861">
                  <a:extLst>
                    <a:ext uri="{9D8B030D-6E8A-4147-A177-3AD203B41FA5}">
                      <a16:colId xmlns:a16="http://schemas.microsoft.com/office/drawing/2014/main" val="843764358"/>
                    </a:ext>
                  </a:extLst>
                </a:gridCol>
                <a:gridCol w="350861">
                  <a:extLst>
                    <a:ext uri="{9D8B030D-6E8A-4147-A177-3AD203B41FA5}">
                      <a16:colId xmlns:a16="http://schemas.microsoft.com/office/drawing/2014/main" val="3122703730"/>
                    </a:ext>
                  </a:extLst>
                </a:gridCol>
                <a:gridCol w="350861">
                  <a:extLst>
                    <a:ext uri="{9D8B030D-6E8A-4147-A177-3AD203B41FA5}">
                      <a16:colId xmlns:a16="http://schemas.microsoft.com/office/drawing/2014/main" val="3843770611"/>
                    </a:ext>
                  </a:extLst>
                </a:gridCol>
                <a:gridCol w="350861">
                  <a:extLst>
                    <a:ext uri="{9D8B030D-6E8A-4147-A177-3AD203B41FA5}">
                      <a16:colId xmlns:a16="http://schemas.microsoft.com/office/drawing/2014/main" val="3794003650"/>
                    </a:ext>
                  </a:extLst>
                </a:gridCol>
                <a:gridCol w="350861">
                  <a:extLst>
                    <a:ext uri="{9D8B030D-6E8A-4147-A177-3AD203B41FA5}">
                      <a16:colId xmlns:a16="http://schemas.microsoft.com/office/drawing/2014/main" val="528617934"/>
                    </a:ext>
                  </a:extLst>
                </a:gridCol>
                <a:gridCol w="350861">
                  <a:extLst>
                    <a:ext uri="{9D8B030D-6E8A-4147-A177-3AD203B41FA5}">
                      <a16:colId xmlns:a16="http://schemas.microsoft.com/office/drawing/2014/main" val="321780068"/>
                    </a:ext>
                  </a:extLst>
                </a:gridCol>
                <a:gridCol w="350861">
                  <a:extLst>
                    <a:ext uri="{9D8B030D-6E8A-4147-A177-3AD203B41FA5}">
                      <a16:colId xmlns:a16="http://schemas.microsoft.com/office/drawing/2014/main" val="685294393"/>
                    </a:ext>
                  </a:extLst>
                </a:gridCol>
                <a:gridCol w="350861">
                  <a:extLst>
                    <a:ext uri="{9D8B030D-6E8A-4147-A177-3AD203B41FA5}">
                      <a16:colId xmlns:a16="http://schemas.microsoft.com/office/drawing/2014/main" val="4055136119"/>
                    </a:ext>
                  </a:extLst>
                </a:gridCol>
                <a:gridCol w="350861">
                  <a:extLst>
                    <a:ext uri="{9D8B030D-6E8A-4147-A177-3AD203B41FA5}">
                      <a16:colId xmlns:a16="http://schemas.microsoft.com/office/drawing/2014/main" val="4061402704"/>
                    </a:ext>
                  </a:extLst>
                </a:gridCol>
                <a:gridCol w="350861">
                  <a:extLst>
                    <a:ext uri="{9D8B030D-6E8A-4147-A177-3AD203B41FA5}">
                      <a16:colId xmlns:a16="http://schemas.microsoft.com/office/drawing/2014/main" val="3537116331"/>
                    </a:ext>
                  </a:extLst>
                </a:gridCol>
                <a:gridCol w="350861">
                  <a:extLst>
                    <a:ext uri="{9D8B030D-6E8A-4147-A177-3AD203B41FA5}">
                      <a16:colId xmlns:a16="http://schemas.microsoft.com/office/drawing/2014/main" val="3477389719"/>
                    </a:ext>
                  </a:extLst>
                </a:gridCol>
                <a:gridCol w="350861">
                  <a:extLst>
                    <a:ext uri="{9D8B030D-6E8A-4147-A177-3AD203B41FA5}">
                      <a16:colId xmlns:a16="http://schemas.microsoft.com/office/drawing/2014/main" val="984730967"/>
                    </a:ext>
                  </a:extLst>
                </a:gridCol>
                <a:gridCol w="350861">
                  <a:extLst>
                    <a:ext uri="{9D8B030D-6E8A-4147-A177-3AD203B41FA5}">
                      <a16:colId xmlns:a16="http://schemas.microsoft.com/office/drawing/2014/main" val="1781397837"/>
                    </a:ext>
                  </a:extLst>
                </a:gridCol>
                <a:gridCol w="350861">
                  <a:extLst>
                    <a:ext uri="{9D8B030D-6E8A-4147-A177-3AD203B41FA5}">
                      <a16:colId xmlns:a16="http://schemas.microsoft.com/office/drawing/2014/main" val="2001103712"/>
                    </a:ext>
                  </a:extLst>
                </a:gridCol>
                <a:gridCol w="350861">
                  <a:extLst>
                    <a:ext uri="{9D8B030D-6E8A-4147-A177-3AD203B41FA5}">
                      <a16:colId xmlns:a16="http://schemas.microsoft.com/office/drawing/2014/main" val="3902816113"/>
                    </a:ext>
                  </a:extLst>
                </a:gridCol>
                <a:gridCol w="350861">
                  <a:extLst>
                    <a:ext uri="{9D8B030D-6E8A-4147-A177-3AD203B41FA5}">
                      <a16:colId xmlns:a16="http://schemas.microsoft.com/office/drawing/2014/main" val="3186439381"/>
                    </a:ext>
                  </a:extLst>
                </a:gridCol>
                <a:gridCol w="350861">
                  <a:extLst>
                    <a:ext uri="{9D8B030D-6E8A-4147-A177-3AD203B41FA5}">
                      <a16:colId xmlns:a16="http://schemas.microsoft.com/office/drawing/2014/main" val="3256140342"/>
                    </a:ext>
                  </a:extLst>
                </a:gridCol>
                <a:gridCol w="350861">
                  <a:extLst>
                    <a:ext uri="{9D8B030D-6E8A-4147-A177-3AD203B41FA5}">
                      <a16:colId xmlns:a16="http://schemas.microsoft.com/office/drawing/2014/main" val="4045226826"/>
                    </a:ext>
                  </a:extLst>
                </a:gridCol>
              </a:tblGrid>
              <a:tr h="172800">
                <a:tc gridSpan="5">
                  <a:txBody>
                    <a:bodyPr/>
                    <a:lstStyle/>
                    <a:p>
                      <a:pPr algn="ctr"/>
                      <a:r>
                        <a:rPr lang="en-US" sz="1000"/>
                        <a:t>May</a:t>
                      </a:r>
                    </a:p>
                  </a:txBody>
                  <a:tcPr marL="45720" marR="45720">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r>
                        <a:rPr lang="en-US" sz="1000"/>
                        <a:t>June</a:t>
                      </a:r>
                    </a:p>
                  </a:txBody>
                  <a:tcPr marL="45720" marR="45720">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r>
                        <a:rPr lang="en-US" sz="1000"/>
                        <a:t>July</a:t>
                      </a:r>
                    </a:p>
                  </a:txBody>
                  <a:tcPr marL="45720" marR="45720">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lang="en-US" sz="1000"/>
                        <a:t>August</a:t>
                      </a:r>
                    </a:p>
                  </a:txBody>
                  <a:tcPr marL="45720" marR="45720">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r>
                        <a:rPr lang="en-US" sz="1000"/>
                        <a:t>September</a:t>
                      </a:r>
                    </a:p>
                  </a:txBody>
                  <a:tcPr marL="45720" marR="45720">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r>
                        <a:rPr lang="en-US" sz="1000"/>
                        <a:t>October</a:t>
                      </a:r>
                    </a:p>
                  </a:txBody>
                  <a:tcPr marL="45720" marR="45720">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r>
                        <a:rPr lang="en-US" sz="1000"/>
                        <a:t>November</a:t>
                      </a:r>
                    </a:p>
                  </a:txBody>
                  <a:tcPr marL="45720" marR="45720">
                    <a:solidFill>
                      <a:schemeClr val="tx1"/>
                    </a:solidFill>
                  </a:tcPr>
                </a:tc>
                <a:tc hMerge="1">
                  <a:txBody>
                    <a:bodyPr/>
                    <a:lstStyle/>
                    <a:p>
                      <a:pPr algn="ctr"/>
                      <a:endParaRPr lang="en-US" sz="1000"/>
                    </a:p>
                  </a:txBody>
                  <a:tcPr marL="45720" marR="45720">
                    <a:solidFill>
                      <a:schemeClr val="bg1">
                        <a:lumMod val="65000"/>
                      </a:schemeClr>
                    </a:solidFill>
                  </a:tcPr>
                </a:tc>
                <a:tc hMerge="1">
                  <a:txBody>
                    <a:bodyPr/>
                    <a:lstStyle/>
                    <a:p>
                      <a:pPr algn="ctr"/>
                      <a:endParaRPr lang="en-US" sz="1000"/>
                    </a:p>
                  </a:txBody>
                  <a:tcPr marL="45720" marR="45720">
                    <a:solidFill>
                      <a:schemeClr val="bg1">
                        <a:lumMod val="65000"/>
                      </a:schemeClr>
                    </a:solidFill>
                  </a:tcPr>
                </a:tc>
                <a:tc hMerge="1">
                  <a:txBody>
                    <a:bodyPr/>
                    <a:lstStyle/>
                    <a:p>
                      <a:pPr algn="ctr"/>
                      <a:endParaRPr lang="en-US" sz="1000"/>
                    </a:p>
                  </a:txBody>
                  <a:tcPr marL="45720" marR="45720">
                    <a:solidFill>
                      <a:schemeClr val="bg1">
                        <a:lumMod val="65000"/>
                      </a:schemeClr>
                    </a:solidFill>
                  </a:tcPr>
                </a:tc>
                <a:extLst>
                  <a:ext uri="{0D108BD9-81ED-4DB2-BD59-A6C34878D82A}">
                    <a16:rowId xmlns:a16="http://schemas.microsoft.com/office/drawing/2014/main" val="1158258509"/>
                  </a:ext>
                </a:extLst>
              </a:tr>
              <a:tr h="151200">
                <a:tc>
                  <a:txBody>
                    <a:bodyPr/>
                    <a:lstStyle/>
                    <a:p>
                      <a:pPr algn="ctr"/>
                      <a:r>
                        <a:rPr lang="en-US" sz="800"/>
                        <a:t>1</a:t>
                      </a:r>
                    </a:p>
                  </a:txBody>
                  <a:tcPr marL="45720" marR="45720">
                    <a:solidFill>
                      <a:schemeClr val="bg1">
                        <a:lumMod val="95000"/>
                      </a:schemeClr>
                    </a:solidFill>
                  </a:tcPr>
                </a:tc>
                <a:tc>
                  <a:txBody>
                    <a:bodyPr/>
                    <a:lstStyle/>
                    <a:p>
                      <a:pPr algn="ctr"/>
                      <a:r>
                        <a:rPr lang="en-US" sz="800"/>
                        <a:t>2</a:t>
                      </a:r>
                    </a:p>
                  </a:txBody>
                  <a:tcPr marL="45720" marR="45720">
                    <a:solidFill>
                      <a:schemeClr val="bg1">
                        <a:lumMod val="95000"/>
                      </a:schemeClr>
                    </a:solidFill>
                  </a:tcPr>
                </a:tc>
                <a:tc>
                  <a:txBody>
                    <a:bodyPr/>
                    <a:lstStyle/>
                    <a:p>
                      <a:pPr algn="ctr"/>
                      <a:r>
                        <a:rPr lang="en-US" sz="800"/>
                        <a:t>3</a:t>
                      </a:r>
                    </a:p>
                  </a:txBody>
                  <a:tcPr marL="45720" marR="45720">
                    <a:solidFill>
                      <a:schemeClr val="bg1">
                        <a:lumMod val="95000"/>
                      </a:schemeClr>
                    </a:solidFill>
                  </a:tcPr>
                </a:tc>
                <a:tc>
                  <a:txBody>
                    <a:bodyPr/>
                    <a:lstStyle/>
                    <a:p>
                      <a:pPr algn="ctr"/>
                      <a:r>
                        <a:rPr lang="en-US" sz="800"/>
                        <a:t>4</a:t>
                      </a:r>
                    </a:p>
                  </a:txBody>
                  <a:tcPr marL="45720" marR="45720">
                    <a:solidFill>
                      <a:schemeClr val="bg1">
                        <a:lumMod val="95000"/>
                      </a:schemeClr>
                    </a:solidFill>
                  </a:tcPr>
                </a:tc>
                <a:tc>
                  <a:txBody>
                    <a:bodyPr/>
                    <a:lstStyle/>
                    <a:p>
                      <a:pPr algn="ctr"/>
                      <a:r>
                        <a:rPr lang="en-US" sz="800"/>
                        <a:t>5</a:t>
                      </a:r>
                    </a:p>
                  </a:txBody>
                  <a:tcPr marL="45720" marR="45720">
                    <a:solidFill>
                      <a:schemeClr val="bg1">
                        <a:lumMod val="95000"/>
                      </a:schemeClr>
                    </a:solidFill>
                  </a:tcPr>
                </a:tc>
                <a:tc>
                  <a:txBody>
                    <a:bodyPr/>
                    <a:lstStyle/>
                    <a:p>
                      <a:pPr algn="ctr"/>
                      <a:r>
                        <a:rPr lang="en-US" sz="800"/>
                        <a:t>6</a:t>
                      </a:r>
                    </a:p>
                  </a:txBody>
                  <a:tcPr marL="45720" marR="45720">
                    <a:solidFill>
                      <a:schemeClr val="bg1">
                        <a:lumMod val="95000"/>
                      </a:schemeClr>
                    </a:solidFill>
                  </a:tcPr>
                </a:tc>
                <a:tc>
                  <a:txBody>
                    <a:bodyPr/>
                    <a:lstStyle/>
                    <a:p>
                      <a:pPr algn="ctr"/>
                      <a:r>
                        <a:rPr lang="en-US" sz="800"/>
                        <a:t>7</a:t>
                      </a:r>
                    </a:p>
                  </a:txBody>
                  <a:tcPr marL="45720" marR="45720">
                    <a:solidFill>
                      <a:schemeClr val="bg1">
                        <a:lumMod val="95000"/>
                      </a:schemeClr>
                    </a:solidFill>
                  </a:tcPr>
                </a:tc>
                <a:tc>
                  <a:txBody>
                    <a:bodyPr/>
                    <a:lstStyle/>
                    <a:p>
                      <a:pPr algn="ctr"/>
                      <a:r>
                        <a:rPr lang="en-US" sz="800"/>
                        <a:t>8</a:t>
                      </a:r>
                    </a:p>
                  </a:txBody>
                  <a:tcPr marL="45720" marR="45720">
                    <a:solidFill>
                      <a:schemeClr val="bg1">
                        <a:lumMod val="95000"/>
                      </a:schemeClr>
                    </a:solidFill>
                  </a:tcPr>
                </a:tc>
                <a:tc>
                  <a:txBody>
                    <a:bodyPr/>
                    <a:lstStyle/>
                    <a:p>
                      <a:pPr algn="ctr"/>
                      <a:r>
                        <a:rPr lang="en-US" sz="800"/>
                        <a:t>9</a:t>
                      </a:r>
                    </a:p>
                  </a:txBody>
                  <a:tcPr marL="45720" marR="45720">
                    <a:solidFill>
                      <a:schemeClr val="bg1">
                        <a:lumMod val="95000"/>
                      </a:schemeClr>
                    </a:solidFill>
                  </a:tcPr>
                </a:tc>
                <a:tc>
                  <a:txBody>
                    <a:bodyPr/>
                    <a:lstStyle/>
                    <a:p>
                      <a:pPr algn="ctr"/>
                      <a:r>
                        <a:rPr lang="en-US" sz="800"/>
                        <a:t>10</a:t>
                      </a:r>
                    </a:p>
                  </a:txBody>
                  <a:tcPr marL="45720" marR="45720">
                    <a:solidFill>
                      <a:schemeClr val="bg1">
                        <a:lumMod val="95000"/>
                      </a:schemeClr>
                    </a:solidFill>
                  </a:tcPr>
                </a:tc>
                <a:tc>
                  <a:txBody>
                    <a:bodyPr/>
                    <a:lstStyle/>
                    <a:p>
                      <a:pPr algn="ctr"/>
                      <a:r>
                        <a:rPr lang="en-US" sz="800"/>
                        <a:t>11</a:t>
                      </a:r>
                    </a:p>
                  </a:txBody>
                  <a:tcPr marL="45720" marR="45720">
                    <a:solidFill>
                      <a:schemeClr val="bg1">
                        <a:lumMod val="95000"/>
                      </a:schemeClr>
                    </a:solidFill>
                  </a:tcPr>
                </a:tc>
                <a:tc>
                  <a:txBody>
                    <a:bodyPr/>
                    <a:lstStyle/>
                    <a:p>
                      <a:pPr algn="ctr"/>
                      <a:r>
                        <a:rPr lang="en-US" sz="800"/>
                        <a:t>12</a:t>
                      </a:r>
                    </a:p>
                  </a:txBody>
                  <a:tcPr marL="45720" marR="45720">
                    <a:solidFill>
                      <a:schemeClr val="bg1">
                        <a:lumMod val="95000"/>
                      </a:schemeClr>
                    </a:solidFill>
                  </a:tcPr>
                </a:tc>
                <a:tc>
                  <a:txBody>
                    <a:bodyPr/>
                    <a:lstStyle/>
                    <a:p>
                      <a:pPr algn="ctr"/>
                      <a:r>
                        <a:rPr lang="en-US" sz="800"/>
                        <a:t>13</a:t>
                      </a:r>
                    </a:p>
                  </a:txBody>
                  <a:tcPr marL="45720" marR="45720">
                    <a:solidFill>
                      <a:schemeClr val="bg1">
                        <a:lumMod val="95000"/>
                      </a:schemeClr>
                    </a:solidFill>
                  </a:tcPr>
                </a:tc>
                <a:tc>
                  <a:txBody>
                    <a:bodyPr/>
                    <a:lstStyle/>
                    <a:p>
                      <a:pPr algn="ctr"/>
                      <a:r>
                        <a:rPr lang="en-US" sz="800"/>
                        <a:t>14</a:t>
                      </a:r>
                    </a:p>
                  </a:txBody>
                  <a:tcPr marL="45720" marR="45720">
                    <a:solidFill>
                      <a:schemeClr val="bg1">
                        <a:lumMod val="95000"/>
                      </a:schemeClr>
                    </a:solidFill>
                  </a:tcPr>
                </a:tc>
                <a:tc>
                  <a:txBody>
                    <a:bodyPr/>
                    <a:lstStyle/>
                    <a:p>
                      <a:pPr algn="ctr"/>
                      <a:r>
                        <a:rPr lang="en-US" sz="800"/>
                        <a:t>15</a:t>
                      </a:r>
                    </a:p>
                  </a:txBody>
                  <a:tcPr marL="45720" marR="45720">
                    <a:solidFill>
                      <a:schemeClr val="bg1">
                        <a:lumMod val="95000"/>
                      </a:schemeClr>
                    </a:solidFill>
                  </a:tcPr>
                </a:tc>
                <a:tc>
                  <a:txBody>
                    <a:bodyPr/>
                    <a:lstStyle/>
                    <a:p>
                      <a:pPr algn="ctr"/>
                      <a:r>
                        <a:rPr lang="en-US" sz="800"/>
                        <a:t>16</a:t>
                      </a:r>
                    </a:p>
                  </a:txBody>
                  <a:tcPr marL="45720" marR="45720">
                    <a:solidFill>
                      <a:schemeClr val="bg1">
                        <a:lumMod val="95000"/>
                      </a:schemeClr>
                    </a:solidFill>
                  </a:tcPr>
                </a:tc>
                <a:tc>
                  <a:txBody>
                    <a:bodyPr/>
                    <a:lstStyle/>
                    <a:p>
                      <a:pPr algn="ctr"/>
                      <a:r>
                        <a:rPr lang="en-US" sz="800"/>
                        <a:t>17</a:t>
                      </a:r>
                    </a:p>
                  </a:txBody>
                  <a:tcPr marL="45720" marR="45720">
                    <a:solidFill>
                      <a:schemeClr val="bg1">
                        <a:lumMod val="95000"/>
                      </a:schemeClr>
                    </a:solidFill>
                  </a:tcPr>
                </a:tc>
                <a:tc>
                  <a:txBody>
                    <a:bodyPr/>
                    <a:lstStyle/>
                    <a:p>
                      <a:pPr algn="ctr"/>
                      <a:r>
                        <a:rPr lang="en-US" sz="800"/>
                        <a:t>18</a:t>
                      </a:r>
                    </a:p>
                  </a:txBody>
                  <a:tcPr marL="45720" marR="45720">
                    <a:solidFill>
                      <a:schemeClr val="bg1">
                        <a:lumMod val="95000"/>
                      </a:schemeClr>
                    </a:solidFill>
                  </a:tcPr>
                </a:tc>
                <a:tc>
                  <a:txBody>
                    <a:bodyPr/>
                    <a:lstStyle/>
                    <a:p>
                      <a:pPr algn="ctr"/>
                      <a:r>
                        <a:rPr lang="en-US" sz="800"/>
                        <a:t>19</a:t>
                      </a:r>
                    </a:p>
                  </a:txBody>
                  <a:tcPr marL="45720" marR="45720">
                    <a:solidFill>
                      <a:schemeClr val="bg1">
                        <a:lumMod val="95000"/>
                      </a:schemeClr>
                    </a:solidFill>
                  </a:tcPr>
                </a:tc>
                <a:tc>
                  <a:txBody>
                    <a:bodyPr/>
                    <a:lstStyle/>
                    <a:p>
                      <a:pPr algn="ctr"/>
                      <a:r>
                        <a:rPr lang="en-US" sz="800"/>
                        <a:t>20</a:t>
                      </a:r>
                    </a:p>
                  </a:txBody>
                  <a:tcPr marL="45720" marR="45720">
                    <a:solidFill>
                      <a:schemeClr val="bg1">
                        <a:lumMod val="95000"/>
                      </a:schemeClr>
                    </a:solidFill>
                  </a:tcPr>
                </a:tc>
                <a:tc>
                  <a:txBody>
                    <a:bodyPr/>
                    <a:lstStyle/>
                    <a:p>
                      <a:pPr algn="ctr"/>
                      <a:r>
                        <a:rPr lang="en-US" sz="800"/>
                        <a:t>21</a:t>
                      </a:r>
                    </a:p>
                  </a:txBody>
                  <a:tcPr marL="45720" marR="45720">
                    <a:solidFill>
                      <a:schemeClr val="bg1">
                        <a:lumMod val="95000"/>
                      </a:schemeClr>
                    </a:solidFill>
                  </a:tcPr>
                </a:tc>
                <a:tc>
                  <a:txBody>
                    <a:bodyPr/>
                    <a:lstStyle/>
                    <a:p>
                      <a:pPr algn="ctr"/>
                      <a:r>
                        <a:rPr lang="en-US" sz="800"/>
                        <a:t>22</a:t>
                      </a:r>
                    </a:p>
                  </a:txBody>
                  <a:tcPr marL="45720" marR="45720">
                    <a:solidFill>
                      <a:schemeClr val="bg1">
                        <a:lumMod val="95000"/>
                      </a:schemeClr>
                    </a:solidFill>
                  </a:tcPr>
                </a:tc>
                <a:tc>
                  <a:txBody>
                    <a:bodyPr/>
                    <a:lstStyle/>
                    <a:p>
                      <a:pPr algn="ctr"/>
                      <a:r>
                        <a:rPr lang="en-US" sz="800"/>
                        <a:t>23</a:t>
                      </a:r>
                    </a:p>
                  </a:txBody>
                  <a:tcPr marL="45720" marR="45720">
                    <a:solidFill>
                      <a:schemeClr val="bg1">
                        <a:lumMod val="95000"/>
                      </a:schemeClr>
                    </a:solidFill>
                  </a:tcPr>
                </a:tc>
                <a:tc>
                  <a:txBody>
                    <a:bodyPr/>
                    <a:lstStyle/>
                    <a:p>
                      <a:pPr algn="ctr"/>
                      <a:r>
                        <a:rPr lang="en-US" sz="800"/>
                        <a:t>24</a:t>
                      </a:r>
                    </a:p>
                  </a:txBody>
                  <a:tcPr marL="45720" marR="45720">
                    <a:solidFill>
                      <a:schemeClr val="bg1">
                        <a:lumMod val="95000"/>
                      </a:schemeClr>
                    </a:solidFill>
                  </a:tcPr>
                </a:tc>
                <a:tc>
                  <a:txBody>
                    <a:bodyPr/>
                    <a:lstStyle/>
                    <a:p>
                      <a:pPr algn="ctr"/>
                      <a:r>
                        <a:rPr lang="en-US" sz="800"/>
                        <a:t>25</a:t>
                      </a:r>
                    </a:p>
                  </a:txBody>
                  <a:tcPr marL="45720" marR="45720">
                    <a:solidFill>
                      <a:schemeClr val="bg1">
                        <a:lumMod val="95000"/>
                      </a:schemeClr>
                    </a:solidFill>
                  </a:tcPr>
                </a:tc>
                <a:tc>
                  <a:txBody>
                    <a:bodyPr/>
                    <a:lstStyle/>
                    <a:p>
                      <a:pPr algn="ctr"/>
                      <a:r>
                        <a:rPr lang="en-US" sz="800"/>
                        <a:t>26</a:t>
                      </a:r>
                    </a:p>
                  </a:txBody>
                  <a:tcPr marL="45720" marR="45720">
                    <a:solidFill>
                      <a:schemeClr val="bg1">
                        <a:lumMod val="95000"/>
                      </a:schemeClr>
                    </a:solidFill>
                  </a:tcPr>
                </a:tc>
                <a:tc>
                  <a:txBody>
                    <a:bodyPr/>
                    <a:lstStyle/>
                    <a:p>
                      <a:pPr algn="ctr"/>
                      <a:r>
                        <a:rPr lang="en-US" sz="800"/>
                        <a:t>27</a:t>
                      </a:r>
                    </a:p>
                  </a:txBody>
                  <a:tcPr marL="45720" marR="45720">
                    <a:solidFill>
                      <a:schemeClr val="bg1">
                        <a:lumMod val="95000"/>
                      </a:schemeClr>
                    </a:solidFill>
                  </a:tcPr>
                </a:tc>
                <a:tc>
                  <a:txBody>
                    <a:bodyPr/>
                    <a:lstStyle/>
                    <a:p>
                      <a:pPr algn="ctr"/>
                      <a:r>
                        <a:rPr lang="en-US" sz="800"/>
                        <a:t>28</a:t>
                      </a:r>
                    </a:p>
                  </a:txBody>
                  <a:tcPr marL="45720" marR="45720">
                    <a:solidFill>
                      <a:schemeClr val="bg1">
                        <a:lumMod val="95000"/>
                      </a:schemeClr>
                    </a:solidFill>
                  </a:tcPr>
                </a:tc>
                <a:tc>
                  <a:txBody>
                    <a:bodyPr/>
                    <a:lstStyle/>
                    <a:p>
                      <a:pPr algn="ctr"/>
                      <a:r>
                        <a:rPr lang="en-US" sz="800"/>
                        <a:t>29</a:t>
                      </a:r>
                    </a:p>
                  </a:txBody>
                  <a:tcPr marL="45720" marR="45720">
                    <a:solidFill>
                      <a:schemeClr val="bg1">
                        <a:lumMod val="95000"/>
                      </a:schemeClr>
                    </a:solidFill>
                  </a:tcPr>
                </a:tc>
                <a:tc>
                  <a:txBody>
                    <a:bodyPr/>
                    <a:lstStyle/>
                    <a:p>
                      <a:pPr algn="ctr"/>
                      <a:r>
                        <a:rPr lang="en-US" sz="800"/>
                        <a:t>30</a:t>
                      </a:r>
                    </a:p>
                  </a:txBody>
                  <a:tcPr marL="45720" marR="45720">
                    <a:solidFill>
                      <a:schemeClr val="bg1">
                        <a:lumMod val="95000"/>
                      </a:schemeClr>
                    </a:solidFill>
                  </a:tcPr>
                </a:tc>
                <a:extLst>
                  <a:ext uri="{0D108BD9-81ED-4DB2-BD59-A6C34878D82A}">
                    <a16:rowId xmlns:a16="http://schemas.microsoft.com/office/drawing/2014/main" val="3415463598"/>
                  </a:ext>
                </a:extLst>
              </a:tr>
            </a:tbl>
          </a:graphicData>
        </a:graphic>
      </p:graphicFrame>
      <p:sp>
        <p:nvSpPr>
          <p:cNvPr id="6" name="Rectangle 5">
            <a:extLst>
              <a:ext uri="{FF2B5EF4-FFF2-40B4-BE49-F238E27FC236}">
                <a16:creationId xmlns:a16="http://schemas.microsoft.com/office/drawing/2014/main" id="{5000113E-7F82-404F-BBDF-9119DC699654}"/>
              </a:ext>
            </a:extLst>
          </p:cNvPr>
          <p:cNvSpPr/>
          <p:nvPr/>
        </p:nvSpPr>
        <p:spPr>
          <a:xfrm>
            <a:off x="276304" y="1648425"/>
            <a:ext cx="963774" cy="14406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100" b="1">
                <a:solidFill>
                  <a:schemeClr val="bg1"/>
                </a:solidFill>
              </a:rPr>
              <a:t>1. Define the Customer Engagement Model</a:t>
            </a:r>
          </a:p>
        </p:txBody>
      </p:sp>
      <p:sp>
        <p:nvSpPr>
          <p:cNvPr id="9" name="Rectangle 8">
            <a:extLst>
              <a:ext uri="{FF2B5EF4-FFF2-40B4-BE49-F238E27FC236}">
                <a16:creationId xmlns:a16="http://schemas.microsoft.com/office/drawing/2014/main" id="{AE66CAFA-6BEB-364E-A4D6-78EE96935E1D}"/>
              </a:ext>
            </a:extLst>
          </p:cNvPr>
          <p:cNvSpPr/>
          <p:nvPr/>
        </p:nvSpPr>
        <p:spPr>
          <a:xfrm>
            <a:off x="276304" y="5036112"/>
            <a:ext cx="963774" cy="7193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100" b="1">
                <a:solidFill>
                  <a:schemeClr val="bg1"/>
                </a:solidFill>
              </a:rPr>
              <a:t>4. Test, learn &amp; iterate</a:t>
            </a:r>
          </a:p>
        </p:txBody>
      </p:sp>
      <p:sp>
        <p:nvSpPr>
          <p:cNvPr id="5" name="TextBox 4">
            <a:extLst>
              <a:ext uri="{FF2B5EF4-FFF2-40B4-BE49-F238E27FC236}">
                <a16:creationId xmlns:a16="http://schemas.microsoft.com/office/drawing/2014/main" id="{A0CBBACE-CD01-4F49-9CC1-CD08FE8F36EF}"/>
              </a:ext>
            </a:extLst>
          </p:cNvPr>
          <p:cNvSpPr txBox="1"/>
          <p:nvPr/>
        </p:nvSpPr>
        <p:spPr>
          <a:xfrm>
            <a:off x="10727869" y="928413"/>
            <a:ext cx="1528175" cy="21852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00" u="sng"/>
              <a:t>Indicative</a:t>
            </a:r>
          </a:p>
        </p:txBody>
      </p:sp>
      <p:sp>
        <p:nvSpPr>
          <p:cNvPr id="8" name="Rectangle 7">
            <a:extLst>
              <a:ext uri="{FF2B5EF4-FFF2-40B4-BE49-F238E27FC236}">
                <a16:creationId xmlns:a16="http://schemas.microsoft.com/office/drawing/2014/main" id="{B9597157-722F-9143-B986-58BEF4799132}"/>
              </a:ext>
            </a:extLst>
          </p:cNvPr>
          <p:cNvSpPr/>
          <p:nvPr/>
        </p:nvSpPr>
        <p:spPr>
          <a:xfrm>
            <a:off x="276304" y="3181537"/>
            <a:ext cx="963774" cy="10190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100" b="1">
                <a:solidFill>
                  <a:schemeClr val="bg1"/>
                </a:solidFill>
              </a:rPr>
              <a:t>2. Enable execution</a:t>
            </a:r>
          </a:p>
        </p:txBody>
      </p:sp>
      <p:sp>
        <p:nvSpPr>
          <p:cNvPr id="7" name="Rectangle 6">
            <a:extLst>
              <a:ext uri="{FF2B5EF4-FFF2-40B4-BE49-F238E27FC236}">
                <a16:creationId xmlns:a16="http://schemas.microsoft.com/office/drawing/2014/main" id="{DAA43542-EDCF-B745-AD42-96F64CC688A2}"/>
              </a:ext>
            </a:extLst>
          </p:cNvPr>
          <p:cNvSpPr/>
          <p:nvPr/>
        </p:nvSpPr>
        <p:spPr>
          <a:xfrm>
            <a:off x="276304" y="4277896"/>
            <a:ext cx="963774" cy="6962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100" b="1">
                <a:solidFill>
                  <a:schemeClr val="bg1"/>
                </a:solidFill>
              </a:rPr>
              <a:t>3. Empower the hybrid-rep</a:t>
            </a:r>
          </a:p>
        </p:txBody>
      </p:sp>
      <p:sp>
        <p:nvSpPr>
          <p:cNvPr id="51" name="TextBox 50">
            <a:extLst>
              <a:ext uri="{FF2B5EF4-FFF2-40B4-BE49-F238E27FC236}">
                <a16:creationId xmlns:a16="http://schemas.microsoft.com/office/drawing/2014/main" id="{3714F1B1-733F-C44C-8C4E-C1B6A158FB7F}"/>
              </a:ext>
            </a:extLst>
          </p:cNvPr>
          <p:cNvSpPr txBox="1"/>
          <p:nvPr/>
        </p:nvSpPr>
        <p:spPr>
          <a:xfrm>
            <a:off x="418320" y="5988226"/>
            <a:ext cx="881716" cy="243785"/>
          </a:xfrm>
          <a:prstGeom prst="rect">
            <a:avLst/>
          </a:prstGeom>
          <a:noFill/>
        </p:spPr>
        <p:txBody>
          <a:bodyPr wrap="non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1200" b="1" i="1"/>
              <a:t>Milestones</a:t>
            </a:r>
          </a:p>
        </p:txBody>
      </p:sp>
      <p:cxnSp>
        <p:nvCxnSpPr>
          <p:cNvPr id="52" name="Straight Connector 51">
            <a:extLst>
              <a:ext uri="{FF2B5EF4-FFF2-40B4-BE49-F238E27FC236}">
                <a16:creationId xmlns:a16="http://schemas.microsoft.com/office/drawing/2014/main" id="{93F79C80-C249-7A47-8102-2069AE08E26C}"/>
              </a:ext>
            </a:extLst>
          </p:cNvPr>
          <p:cNvCxnSpPr/>
          <p:nvPr/>
        </p:nvCxnSpPr>
        <p:spPr>
          <a:xfrm>
            <a:off x="1335024" y="6086532"/>
            <a:ext cx="1036229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Decision 56">
            <a:extLst>
              <a:ext uri="{FF2B5EF4-FFF2-40B4-BE49-F238E27FC236}">
                <a16:creationId xmlns:a16="http://schemas.microsoft.com/office/drawing/2014/main" id="{D77B5E13-158C-B145-8970-60EF9C587F72}"/>
              </a:ext>
            </a:extLst>
          </p:cNvPr>
          <p:cNvSpPr/>
          <p:nvPr/>
        </p:nvSpPr>
        <p:spPr>
          <a:xfrm>
            <a:off x="4581617" y="5950811"/>
            <a:ext cx="180251" cy="271442"/>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Decision 57">
            <a:extLst>
              <a:ext uri="{FF2B5EF4-FFF2-40B4-BE49-F238E27FC236}">
                <a16:creationId xmlns:a16="http://schemas.microsoft.com/office/drawing/2014/main" id="{6598F67C-773C-754D-BCE6-3384024D06CE}"/>
              </a:ext>
            </a:extLst>
          </p:cNvPr>
          <p:cNvSpPr/>
          <p:nvPr/>
        </p:nvSpPr>
        <p:spPr>
          <a:xfrm>
            <a:off x="3834467" y="5950811"/>
            <a:ext cx="180251" cy="271442"/>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5B0549A1-AD93-0047-A3BB-1F804E8067A7}"/>
              </a:ext>
            </a:extLst>
          </p:cNvPr>
          <p:cNvSpPr txBox="1"/>
          <p:nvPr/>
        </p:nvSpPr>
        <p:spPr>
          <a:xfrm>
            <a:off x="3460823" y="6288491"/>
            <a:ext cx="906845" cy="218521"/>
          </a:xfrm>
          <a:prstGeom prst="rect">
            <a:avLst/>
          </a:prstGeom>
          <a:noFill/>
        </p:spPr>
        <p:txBody>
          <a:bodyPr wrap="square" rtlCol="0" anchor="ctr">
            <a:no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800"/>
              <a:t>Market archetypes defined</a:t>
            </a:r>
          </a:p>
        </p:txBody>
      </p:sp>
      <p:sp>
        <p:nvSpPr>
          <p:cNvPr id="60" name="TextBox 59">
            <a:extLst>
              <a:ext uri="{FF2B5EF4-FFF2-40B4-BE49-F238E27FC236}">
                <a16:creationId xmlns:a16="http://schemas.microsoft.com/office/drawing/2014/main" id="{D57B631D-6A77-F74E-B396-65C7C6EA480B}"/>
              </a:ext>
            </a:extLst>
          </p:cNvPr>
          <p:cNvSpPr txBox="1"/>
          <p:nvPr/>
        </p:nvSpPr>
        <p:spPr>
          <a:xfrm>
            <a:off x="4060419" y="6283899"/>
            <a:ext cx="1207011" cy="218521"/>
          </a:xfrm>
          <a:prstGeom prst="rect">
            <a:avLst/>
          </a:prstGeom>
          <a:noFill/>
        </p:spPr>
        <p:txBody>
          <a:bodyPr wrap="square" rtlCol="0" anchor="ctr">
            <a:no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800"/>
              <a:t>Engagement blueprint with archetype nuances created &amp; governance framework defined</a:t>
            </a:r>
          </a:p>
        </p:txBody>
      </p:sp>
      <p:sp>
        <p:nvSpPr>
          <p:cNvPr id="61" name="Decision 60">
            <a:extLst>
              <a:ext uri="{FF2B5EF4-FFF2-40B4-BE49-F238E27FC236}">
                <a16:creationId xmlns:a16="http://schemas.microsoft.com/office/drawing/2014/main" id="{4C471276-DA61-3C46-B769-ED645FB72A59}"/>
              </a:ext>
            </a:extLst>
          </p:cNvPr>
          <p:cNvSpPr/>
          <p:nvPr/>
        </p:nvSpPr>
        <p:spPr>
          <a:xfrm>
            <a:off x="5936771" y="5933342"/>
            <a:ext cx="180251" cy="271442"/>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980C1EC0-251A-9E4C-9806-32A685ED41A7}"/>
              </a:ext>
            </a:extLst>
          </p:cNvPr>
          <p:cNvSpPr txBox="1"/>
          <p:nvPr/>
        </p:nvSpPr>
        <p:spPr>
          <a:xfrm>
            <a:off x="5351605" y="6283899"/>
            <a:ext cx="1327712" cy="218521"/>
          </a:xfrm>
          <a:prstGeom prst="rect">
            <a:avLst/>
          </a:prstGeom>
          <a:noFill/>
        </p:spPr>
        <p:txBody>
          <a:bodyPr wrap="square" rtlCol="0" anchor="ctr">
            <a:no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800"/>
              <a:t>Components for execution defined &amp; training materials created</a:t>
            </a:r>
          </a:p>
        </p:txBody>
      </p:sp>
      <p:sp>
        <p:nvSpPr>
          <p:cNvPr id="63" name="Decision 62">
            <a:extLst>
              <a:ext uri="{FF2B5EF4-FFF2-40B4-BE49-F238E27FC236}">
                <a16:creationId xmlns:a16="http://schemas.microsoft.com/office/drawing/2014/main" id="{F8F948E6-3157-D341-A512-6B933A910D10}"/>
              </a:ext>
            </a:extLst>
          </p:cNvPr>
          <p:cNvSpPr/>
          <p:nvPr/>
        </p:nvSpPr>
        <p:spPr>
          <a:xfrm>
            <a:off x="7179300" y="5964640"/>
            <a:ext cx="180251" cy="271442"/>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00C8388E-C94E-9D41-996F-6B38EA8FBD22}"/>
              </a:ext>
            </a:extLst>
          </p:cNvPr>
          <p:cNvSpPr txBox="1"/>
          <p:nvPr/>
        </p:nvSpPr>
        <p:spPr>
          <a:xfrm>
            <a:off x="6495153" y="6280011"/>
            <a:ext cx="1097283" cy="218521"/>
          </a:xfrm>
          <a:prstGeom prst="rect">
            <a:avLst/>
          </a:prstGeom>
          <a:noFill/>
        </p:spPr>
        <p:txBody>
          <a:bodyPr wrap="square" rtlCol="0" anchor="ctr">
            <a:no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800"/>
              <a:t>Pilots &amp; level of support agreed</a:t>
            </a:r>
          </a:p>
        </p:txBody>
      </p:sp>
      <p:sp>
        <p:nvSpPr>
          <p:cNvPr id="65" name="Decision 64">
            <a:extLst>
              <a:ext uri="{FF2B5EF4-FFF2-40B4-BE49-F238E27FC236}">
                <a16:creationId xmlns:a16="http://schemas.microsoft.com/office/drawing/2014/main" id="{4A16347D-CCEA-7746-96CD-280EA86190AD}"/>
              </a:ext>
            </a:extLst>
          </p:cNvPr>
          <p:cNvSpPr/>
          <p:nvPr/>
        </p:nvSpPr>
        <p:spPr>
          <a:xfrm>
            <a:off x="11311706" y="5950811"/>
            <a:ext cx="180251" cy="271442"/>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6E08CD5F-1024-4249-A681-FF8BB4146710}"/>
              </a:ext>
            </a:extLst>
          </p:cNvPr>
          <p:cNvSpPr txBox="1"/>
          <p:nvPr/>
        </p:nvSpPr>
        <p:spPr>
          <a:xfrm>
            <a:off x="10841755" y="6319952"/>
            <a:ext cx="1097283" cy="218521"/>
          </a:xfrm>
          <a:prstGeom prst="rect">
            <a:avLst/>
          </a:prstGeom>
          <a:noFill/>
        </p:spPr>
        <p:txBody>
          <a:bodyPr wrap="square" rtlCol="0" anchor="ctr">
            <a:no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800"/>
              <a:t>Blueprints updated based on learning from pilot</a:t>
            </a:r>
          </a:p>
        </p:txBody>
      </p:sp>
      <p:sp>
        <p:nvSpPr>
          <p:cNvPr id="69" name="Decision 68">
            <a:extLst>
              <a:ext uri="{FF2B5EF4-FFF2-40B4-BE49-F238E27FC236}">
                <a16:creationId xmlns:a16="http://schemas.microsoft.com/office/drawing/2014/main" id="{C719218D-23E7-B54C-8332-C82CD76DE12D}"/>
              </a:ext>
            </a:extLst>
          </p:cNvPr>
          <p:cNvSpPr/>
          <p:nvPr/>
        </p:nvSpPr>
        <p:spPr>
          <a:xfrm>
            <a:off x="7628189" y="5964640"/>
            <a:ext cx="180251" cy="271442"/>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B530AB46-41BB-4247-8A48-AC8C4F08DCAD}"/>
              </a:ext>
            </a:extLst>
          </p:cNvPr>
          <p:cNvSpPr txBox="1"/>
          <p:nvPr/>
        </p:nvSpPr>
        <p:spPr>
          <a:xfrm>
            <a:off x="7289359" y="6288490"/>
            <a:ext cx="1097283" cy="218521"/>
          </a:xfrm>
          <a:prstGeom prst="rect">
            <a:avLst/>
          </a:prstGeom>
          <a:noFill/>
        </p:spPr>
        <p:txBody>
          <a:bodyPr wrap="square" rtlCol="0" anchor="ctr">
            <a:no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800"/>
              <a:t>Train the trainer sessions delivered</a:t>
            </a:r>
          </a:p>
        </p:txBody>
      </p:sp>
      <p:sp>
        <p:nvSpPr>
          <p:cNvPr id="22" name="Pentagon 21">
            <a:extLst>
              <a:ext uri="{FF2B5EF4-FFF2-40B4-BE49-F238E27FC236}">
                <a16:creationId xmlns:a16="http://schemas.microsoft.com/office/drawing/2014/main" id="{3A9F96BE-57E9-9447-88D9-B5B4C13710CF}"/>
              </a:ext>
            </a:extLst>
          </p:cNvPr>
          <p:cNvSpPr/>
          <p:nvPr/>
        </p:nvSpPr>
        <p:spPr>
          <a:xfrm>
            <a:off x="2959012" y="2022651"/>
            <a:ext cx="1619281" cy="324000"/>
          </a:xfrm>
          <a:prstGeom prst="homePlate">
            <a:avLst>
              <a:gd name="adj" fmla="val 20334"/>
            </a:avLst>
          </a:prstGeom>
          <a:solidFill>
            <a:schemeClr val="bg1"/>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800">
                <a:solidFill>
                  <a:schemeClr val="accent5">
                    <a:lumMod val="75000"/>
                  </a:schemeClr>
                </a:solidFill>
              </a:rPr>
              <a:t> Define and build the rep activity allocation &amp; MCCP process</a:t>
            </a:r>
          </a:p>
        </p:txBody>
      </p:sp>
      <p:sp>
        <p:nvSpPr>
          <p:cNvPr id="10" name="Pentagon 9">
            <a:extLst>
              <a:ext uri="{FF2B5EF4-FFF2-40B4-BE49-F238E27FC236}">
                <a16:creationId xmlns:a16="http://schemas.microsoft.com/office/drawing/2014/main" id="{75A14410-BD13-FC46-9CA6-BC98540E3367}"/>
              </a:ext>
            </a:extLst>
          </p:cNvPr>
          <p:cNvSpPr/>
          <p:nvPr/>
        </p:nvSpPr>
        <p:spPr>
          <a:xfrm>
            <a:off x="3633338" y="4277896"/>
            <a:ext cx="2408259" cy="324000"/>
          </a:xfrm>
          <a:prstGeom prst="homePlate">
            <a:avLst>
              <a:gd name="adj" fmla="val 20334"/>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a:solidFill>
                  <a:schemeClr val="accent4"/>
                </a:solidFill>
              </a:rPr>
              <a:t>Create training materials to deliver an omnichannel experience building on ELITE and other existing trainings</a:t>
            </a:r>
          </a:p>
        </p:txBody>
      </p:sp>
      <p:sp>
        <p:nvSpPr>
          <p:cNvPr id="11" name="Pentagon 10">
            <a:extLst>
              <a:ext uri="{FF2B5EF4-FFF2-40B4-BE49-F238E27FC236}">
                <a16:creationId xmlns:a16="http://schemas.microsoft.com/office/drawing/2014/main" id="{7A044A67-9EF4-B744-9D8D-6438D1DCCF33}"/>
              </a:ext>
            </a:extLst>
          </p:cNvPr>
          <p:cNvSpPr/>
          <p:nvPr/>
        </p:nvSpPr>
        <p:spPr>
          <a:xfrm>
            <a:off x="3633339" y="3182595"/>
            <a:ext cx="2400676" cy="324000"/>
          </a:xfrm>
          <a:prstGeom prst="homePlate">
            <a:avLst>
              <a:gd name="adj" fmla="val 20334"/>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a:solidFill>
                  <a:schemeClr val="accent3">
                    <a:lumMod val="75000"/>
                  </a:schemeClr>
                </a:solidFill>
              </a:rPr>
              <a:t>Create pre-call plan, call execution and post-call best practice playbooks with key insights for reps to gather</a:t>
            </a:r>
          </a:p>
        </p:txBody>
      </p:sp>
      <p:sp>
        <p:nvSpPr>
          <p:cNvPr id="12" name="Pentagon 11">
            <a:extLst>
              <a:ext uri="{FF2B5EF4-FFF2-40B4-BE49-F238E27FC236}">
                <a16:creationId xmlns:a16="http://schemas.microsoft.com/office/drawing/2014/main" id="{392C9C96-19C7-464F-8C66-C399087E90DB}"/>
              </a:ext>
            </a:extLst>
          </p:cNvPr>
          <p:cNvSpPr/>
          <p:nvPr/>
        </p:nvSpPr>
        <p:spPr>
          <a:xfrm>
            <a:off x="6397953" y="5057527"/>
            <a:ext cx="1051938" cy="324000"/>
          </a:xfrm>
          <a:prstGeom prst="homePlate">
            <a:avLst>
              <a:gd name="adj" fmla="val 30761"/>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800">
                <a:solidFill>
                  <a:schemeClr val="bg1">
                    <a:lumMod val="50000"/>
                  </a:schemeClr>
                </a:solidFill>
              </a:rPr>
              <a:t>Agree on pilot markets and build roadmap</a:t>
            </a:r>
          </a:p>
        </p:txBody>
      </p:sp>
      <p:sp>
        <p:nvSpPr>
          <p:cNvPr id="21" name="Pentagon 20">
            <a:extLst>
              <a:ext uri="{FF2B5EF4-FFF2-40B4-BE49-F238E27FC236}">
                <a16:creationId xmlns:a16="http://schemas.microsoft.com/office/drawing/2014/main" id="{7616BC85-03A4-7240-A035-A3311402FF92}"/>
              </a:ext>
            </a:extLst>
          </p:cNvPr>
          <p:cNvSpPr/>
          <p:nvPr/>
        </p:nvSpPr>
        <p:spPr>
          <a:xfrm>
            <a:off x="2959012" y="2393840"/>
            <a:ext cx="1619281" cy="324000"/>
          </a:xfrm>
          <a:prstGeom prst="homePlate">
            <a:avLst>
              <a:gd name="adj" fmla="val 20334"/>
            </a:avLst>
          </a:prstGeom>
          <a:solidFill>
            <a:schemeClr val="bg1"/>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800">
                <a:solidFill>
                  <a:schemeClr val="accent5">
                    <a:lumMod val="75000"/>
                  </a:schemeClr>
                </a:solidFill>
              </a:rPr>
              <a:t>Design the engagement blueprint for the ‘day / cycle in the life’ of a hybrid rep through a sales cycle</a:t>
            </a:r>
          </a:p>
        </p:txBody>
      </p:sp>
      <p:sp>
        <p:nvSpPr>
          <p:cNvPr id="32" name="Pentagon 31">
            <a:extLst>
              <a:ext uri="{FF2B5EF4-FFF2-40B4-BE49-F238E27FC236}">
                <a16:creationId xmlns:a16="http://schemas.microsoft.com/office/drawing/2014/main" id="{57E09229-E96E-494A-8840-A7DC4BA8B134}"/>
              </a:ext>
            </a:extLst>
          </p:cNvPr>
          <p:cNvSpPr/>
          <p:nvPr/>
        </p:nvSpPr>
        <p:spPr>
          <a:xfrm>
            <a:off x="3633338" y="3539561"/>
            <a:ext cx="2400675" cy="324000"/>
          </a:xfrm>
          <a:prstGeom prst="homePlate">
            <a:avLst>
              <a:gd name="adj" fmla="val 20334"/>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a:solidFill>
                  <a:schemeClr val="accent3">
                    <a:lumMod val="75000"/>
                  </a:schemeClr>
                </a:solidFill>
              </a:rPr>
              <a:t>Adapt the sales choreography / objection handling guidance [with medical] fit for an omnichannel context </a:t>
            </a:r>
          </a:p>
        </p:txBody>
      </p:sp>
      <p:sp>
        <p:nvSpPr>
          <p:cNvPr id="33" name="Pentagon 32">
            <a:extLst>
              <a:ext uri="{FF2B5EF4-FFF2-40B4-BE49-F238E27FC236}">
                <a16:creationId xmlns:a16="http://schemas.microsoft.com/office/drawing/2014/main" id="{68CA19A2-0728-FD43-A238-7BDB9C027964}"/>
              </a:ext>
            </a:extLst>
          </p:cNvPr>
          <p:cNvSpPr/>
          <p:nvPr/>
        </p:nvSpPr>
        <p:spPr>
          <a:xfrm>
            <a:off x="4051739" y="3896528"/>
            <a:ext cx="4049076" cy="324000"/>
          </a:xfrm>
          <a:prstGeom prst="homePlate">
            <a:avLst>
              <a:gd name="adj" fmla="val 20334"/>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a:solidFill>
                  <a:schemeClr val="accent3">
                    <a:lumMod val="75000"/>
                  </a:schemeClr>
                </a:solidFill>
              </a:rPr>
              <a:t>Configure CRM to optimise execution</a:t>
            </a:r>
          </a:p>
        </p:txBody>
      </p:sp>
      <p:sp>
        <p:nvSpPr>
          <p:cNvPr id="43" name="Pentagon 42">
            <a:extLst>
              <a:ext uri="{FF2B5EF4-FFF2-40B4-BE49-F238E27FC236}">
                <a16:creationId xmlns:a16="http://schemas.microsoft.com/office/drawing/2014/main" id="{ED948800-03A2-5D40-B05D-25A8CFF63191}"/>
              </a:ext>
            </a:extLst>
          </p:cNvPr>
          <p:cNvSpPr/>
          <p:nvPr/>
        </p:nvSpPr>
        <p:spPr>
          <a:xfrm>
            <a:off x="4966658" y="4656047"/>
            <a:ext cx="1089779" cy="324000"/>
          </a:xfrm>
          <a:prstGeom prst="homePlate">
            <a:avLst>
              <a:gd name="adj" fmla="val 20334"/>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a:solidFill>
                  <a:schemeClr val="accent4"/>
                </a:solidFill>
              </a:rPr>
              <a:t>Update the learning &amp; development journey</a:t>
            </a:r>
          </a:p>
        </p:txBody>
      </p:sp>
      <p:sp>
        <p:nvSpPr>
          <p:cNvPr id="53" name="Chevron 52">
            <a:extLst>
              <a:ext uri="{FF2B5EF4-FFF2-40B4-BE49-F238E27FC236}">
                <a16:creationId xmlns:a16="http://schemas.microsoft.com/office/drawing/2014/main" id="{0116AB11-AD5E-3E42-8527-04033919DFA5}"/>
              </a:ext>
            </a:extLst>
          </p:cNvPr>
          <p:cNvSpPr/>
          <p:nvPr/>
        </p:nvSpPr>
        <p:spPr>
          <a:xfrm>
            <a:off x="7382097" y="5057527"/>
            <a:ext cx="1361173" cy="324000"/>
          </a:xfrm>
          <a:prstGeom prst="chevron">
            <a:avLst>
              <a:gd name="adj" fmla="val 32629"/>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800">
                <a:solidFill>
                  <a:schemeClr val="bg1">
                    <a:lumMod val="50000"/>
                  </a:schemeClr>
                </a:solidFill>
              </a:rPr>
              <a:t>Tailor rep activity allocation &amp; MCCP process to local context</a:t>
            </a:r>
          </a:p>
        </p:txBody>
      </p:sp>
      <p:sp>
        <p:nvSpPr>
          <p:cNvPr id="54" name="Pentagon 53">
            <a:extLst>
              <a:ext uri="{FF2B5EF4-FFF2-40B4-BE49-F238E27FC236}">
                <a16:creationId xmlns:a16="http://schemas.microsoft.com/office/drawing/2014/main" id="{684F4BC7-1288-6845-83A7-A5CEC29549A2}"/>
              </a:ext>
            </a:extLst>
          </p:cNvPr>
          <p:cNvSpPr/>
          <p:nvPr/>
        </p:nvSpPr>
        <p:spPr>
          <a:xfrm>
            <a:off x="2360481" y="2765028"/>
            <a:ext cx="2217812" cy="324000"/>
          </a:xfrm>
          <a:prstGeom prst="homePlate">
            <a:avLst>
              <a:gd name="adj" fmla="val 20334"/>
            </a:avLst>
          </a:prstGeom>
          <a:solidFill>
            <a:schemeClr val="bg1"/>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a:solidFill>
                  <a:schemeClr val="accent5">
                    <a:lumMod val="75000"/>
                  </a:schemeClr>
                </a:solidFill>
              </a:rPr>
              <a:t> Define the governance / adoption framework </a:t>
            </a:r>
          </a:p>
        </p:txBody>
      </p:sp>
      <p:sp>
        <p:nvSpPr>
          <p:cNvPr id="38" name="Pentagon 37">
            <a:extLst>
              <a:ext uri="{FF2B5EF4-FFF2-40B4-BE49-F238E27FC236}">
                <a16:creationId xmlns:a16="http://schemas.microsoft.com/office/drawing/2014/main" id="{249CC16F-FF1C-4D4F-94B3-79BE5FFDD61F}"/>
              </a:ext>
            </a:extLst>
          </p:cNvPr>
          <p:cNvSpPr/>
          <p:nvPr/>
        </p:nvSpPr>
        <p:spPr>
          <a:xfrm>
            <a:off x="1281518" y="1647539"/>
            <a:ext cx="1078963" cy="324000"/>
          </a:xfrm>
          <a:prstGeom prst="homePlate">
            <a:avLst>
              <a:gd name="adj" fmla="val 20334"/>
            </a:avLst>
          </a:prstGeom>
          <a:solidFill>
            <a:schemeClr val="bg1"/>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800">
                <a:solidFill>
                  <a:schemeClr val="accent5">
                    <a:lumMod val="75000"/>
                  </a:schemeClr>
                </a:solidFill>
              </a:rPr>
              <a:t>Define market archetypes and key characteristics</a:t>
            </a:r>
          </a:p>
        </p:txBody>
      </p:sp>
      <p:sp>
        <p:nvSpPr>
          <p:cNvPr id="39" name="Chevron 38">
            <a:extLst>
              <a:ext uri="{FF2B5EF4-FFF2-40B4-BE49-F238E27FC236}">
                <a16:creationId xmlns:a16="http://schemas.microsoft.com/office/drawing/2014/main" id="{D44C2E8E-A764-1149-BA72-D01BBC489D04}"/>
              </a:ext>
            </a:extLst>
          </p:cNvPr>
          <p:cNvSpPr/>
          <p:nvPr/>
        </p:nvSpPr>
        <p:spPr>
          <a:xfrm>
            <a:off x="3712737" y="1646953"/>
            <a:ext cx="865558" cy="324000"/>
          </a:xfrm>
          <a:prstGeom prst="chevron">
            <a:avLst>
              <a:gd name="adj" fmla="val 20257"/>
            </a:avLst>
          </a:prstGeom>
          <a:solidFill>
            <a:schemeClr val="bg1"/>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800">
                <a:solidFill>
                  <a:schemeClr val="accent5">
                    <a:lumMod val="75000"/>
                  </a:schemeClr>
                </a:solidFill>
              </a:rPr>
              <a:t>Map markets against archetypes</a:t>
            </a:r>
          </a:p>
        </p:txBody>
      </p:sp>
      <p:sp>
        <p:nvSpPr>
          <p:cNvPr id="40" name="Chevron 39">
            <a:extLst>
              <a:ext uri="{FF2B5EF4-FFF2-40B4-BE49-F238E27FC236}">
                <a16:creationId xmlns:a16="http://schemas.microsoft.com/office/drawing/2014/main" id="{479BD11E-7BC0-E148-BC75-2F735C1B27B4}"/>
              </a:ext>
            </a:extLst>
          </p:cNvPr>
          <p:cNvSpPr/>
          <p:nvPr/>
        </p:nvSpPr>
        <p:spPr>
          <a:xfrm>
            <a:off x="2360481" y="1649792"/>
            <a:ext cx="1352256" cy="324000"/>
          </a:xfrm>
          <a:prstGeom prst="chevron">
            <a:avLst>
              <a:gd name="adj" fmla="val 18898"/>
            </a:avLst>
          </a:prstGeom>
          <a:solidFill>
            <a:schemeClr val="bg1"/>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800">
                <a:solidFill>
                  <a:schemeClr val="accent5">
                    <a:lumMod val="75000"/>
                  </a:schemeClr>
                </a:solidFill>
              </a:rPr>
              <a:t>Define key implications in the go-to-market model based on archetype</a:t>
            </a:r>
          </a:p>
        </p:txBody>
      </p:sp>
      <p:sp>
        <p:nvSpPr>
          <p:cNvPr id="75" name="Chevron 74">
            <a:extLst>
              <a:ext uri="{FF2B5EF4-FFF2-40B4-BE49-F238E27FC236}">
                <a16:creationId xmlns:a16="http://schemas.microsoft.com/office/drawing/2014/main" id="{242BDB82-B190-D642-B84D-8BF4F35A3EF4}"/>
              </a:ext>
            </a:extLst>
          </p:cNvPr>
          <p:cNvSpPr/>
          <p:nvPr/>
        </p:nvSpPr>
        <p:spPr>
          <a:xfrm>
            <a:off x="6034013" y="4278930"/>
            <a:ext cx="1655731" cy="324000"/>
          </a:xfrm>
          <a:prstGeom prst="chevron">
            <a:avLst>
              <a:gd name="adj" fmla="val 20141"/>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a:solidFill>
                  <a:schemeClr val="accent4"/>
                </a:solidFill>
              </a:rPr>
              <a:t>Prioritise and build the highest impact interventions, and deliver train-the trainer sessions</a:t>
            </a:r>
          </a:p>
        </p:txBody>
      </p:sp>
      <p:sp>
        <p:nvSpPr>
          <p:cNvPr id="76" name="Decision 75">
            <a:extLst>
              <a:ext uri="{FF2B5EF4-FFF2-40B4-BE49-F238E27FC236}">
                <a16:creationId xmlns:a16="http://schemas.microsoft.com/office/drawing/2014/main" id="{FE43901C-7C50-9F4B-A1D2-454C74762F50}"/>
              </a:ext>
            </a:extLst>
          </p:cNvPr>
          <p:cNvSpPr/>
          <p:nvPr/>
        </p:nvSpPr>
        <p:spPr>
          <a:xfrm>
            <a:off x="1810599" y="6485205"/>
            <a:ext cx="123114" cy="168544"/>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0B85F5EF-8BE4-9841-AC35-E747FFC9178A}"/>
              </a:ext>
            </a:extLst>
          </p:cNvPr>
          <p:cNvSpPr txBox="1"/>
          <p:nvPr/>
        </p:nvSpPr>
        <p:spPr>
          <a:xfrm>
            <a:off x="1872156" y="6471245"/>
            <a:ext cx="906845" cy="218521"/>
          </a:xfrm>
          <a:prstGeom prst="rect">
            <a:avLst/>
          </a:prstGeom>
          <a:noFill/>
        </p:spPr>
        <p:txBody>
          <a:bodyPr wrap="square" rtlCol="0" anchor="ctr">
            <a:noAutofit/>
          </a:bodyPr>
          <a:lstStyle/>
          <a:p>
            <a:pPr marR="0" defTabSz="914400" rtl="0" eaLnBrk="1" fontAlgn="auto" latinLnBrk="0" hangingPunct="1">
              <a:lnSpc>
                <a:spcPct val="80000"/>
              </a:lnSpc>
              <a:spcBef>
                <a:spcPts val="1200"/>
              </a:spcBef>
              <a:spcAft>
                <a:spcPts val="0"/>
              </a:spcAft>
              <a:buClr>
                <a:schemeClr val="tx2"/>
              </a:buClr>
              <a:buSzTx/>
              <a:tabLst/>
            </a:pPr>
            <a:r>
              <a:rPr lang="en-US" sz="800" i="1"/>
              <a:t>Key events</a:t>
            </a:r>
          </a:p>
        </p:txBody>
      </p:sp>
      <p:sp>
        <p:nvSpPr>
          <p:cNvPr id="72" name="Pentagon 71">
            <a:extLst>
              <a:ext uri="{FF2B5EF4-FFF2-40B4-BE49-F238E27FC236}">
                <a16:creationId xmlns:a16="http://schemas.microsoft.com/office/drawing/2014/main" id="{526C9DCD-3D8E-F64B-BAD1-EB56A83A8E43}"/>
              </a:ext>
            </a:extLst>
          </p:cNvPr>
          <p:cNvSpPr/>
          <p:nvPr/>
        </p:nvSpPr>
        <p:spPr>
          <a:xfrm>
            <a:off x="7321543" y="5461151"/>
            <a:ext cx="1421727" cy="324000"/>
          </a:xfrm>
          <a:prstGeom prst="homePlate">
            <a:avLst>
              <a:gd name="adj" fmla="val 2782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i="1">
                <a:solidFill>
                  <a:schemeClr val="bg1">
                    <a:lumMod val="50000"/>
                  </a:schemeClr>
                </a:solidFill>
              </a:rPr>
              <a:t>Work with local team to adapt engagement blueprint</a:t>
            </a:r>
          </a:p>
        </p:txBody>
      </p:sp>
      <p:sp>
        <p:nvSpPr>
          <p:cNvPr id="73" name="Chevron 72">
            <a:extLst>
              <a:ext uri="{FF2B5EF4-FFF2-40B4-BE49-F238E27FC236}">
                <a16:creationId xmlns:a16="http://schemas.microsoft.com/office/drawing/2014/main" id="{8BF67AEB-B1EE-234F-9E99-64D0AF0BEE8F}"/>
              </a:ext>
            </a:extLst>
          </p:cNvPr>
          <p:cNvSpPr/>
          <p:nvPr/>
        </p:nvSpPr>
        <p:spPr>
          <a:xfrm>
            <a:off x="8668139" y="5057527"/>
            <a:ext cx="3247558" cy="324000"/>
          </a:xfrm>
          <a:prstGeom prst="chevron">
            <a:avLst>
              <a:gd name="adj" fmla="val 32721"/>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i="1">
                <a:solidFill>
                  <a:schemeClr val="bg1">
                    <a:lumMod val="50000"/>
                  </a:schemeClr>
                </a:solidFill>
              </a:rPr>
              <a:t>Hold regular check-ins and provide hands-on support &amp; clarification</a:t>
            </a:r>
          </a:p>
        </p:txBody>
      </p:sp>
      <p:sp>
        <p:nvSpPr>
          <p:cNvPr id="67" name="Chevron 66">
            <a:extLst>
              <a:ext uri="{FF2B5EF4-FFF2-40B4-BE49-F238E27FC236}">
                <a16:creationId xmlns:a16="http://schemas.microsoft.com/office/drawing/2014/main" id="{FE785D09-5E4D-A343-A73B-1AF682FDC2FA}"/>
              </a:ext>
            </a:extLst>
          </p:cNvPr>
          <p:cNvSpPr/>
          <p:nvPr/>
        </p:nvSpPr>
        <p:spPr>
          <a:xfrm>
            <a:off x="8691480" y="5461151"/>
            <a:ext cx="3247558" cy="324000"/>
          </a:xfrm>
          <a:prstGeom prst="chevron">
            <a:avLst>
              <a:gd name="adj" fmla="val 32721"/>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GB" sz="800">
                <a:solidFill>
                  <a:schemeClr val="bg1">
                    <a:lumMod val="50000"/>
                  </a:schemeClr>
                </a:solidFill>
              </a:rPr>
              <a:t>Record any lessons learnt from pilot deployment to enhance blueprints accordingly</a:t>
            </a:r>
          </a:p>
        </p:txBody>
      </p:sp>
      <p:sp>
        <p:nvSpPr>
          <p:cNvPr id="56" name="Decision 55">
            <a:extLst>
              <a:ext uri="{FF2B5EF4-FFF2-40B4-BE49-F238E27FC236}">
                <a16:creationId xmlns:a16="http://schemas.microsoft.com/office/drawing/2014/main" id="{1FA7E359-BBE3-FA4D-9760-20E5AD1E751D}"/>
              </a:ext>
            </a:extLst>
          </p:cNvPr>
          <p:cNvSpPr/>
          <p:nvPr/>
        </p:nvSpPr>
        <p:spPr>
          <a:xfrm>
            <a:off x="7339784" y="5086601"/>
            <a:ext cx="180251" cy="271442"/>
          </a:xfrm>
          <a:prstGeom prst="flowChartDecis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Decision 70">
            <a:extLst>
              <a:ext uri="{FF2B5EF4-FFF2-40B4-BE49-F238E27FC236}">
                <a16:creationId xmlns:a16="http://schemas.microsoft.com/office/drawing/2014/main" id="{A9250C12-BE95-2144-A8D0-079BBECA1DED}"/>
              </a:ext>
            </a:extLst>
          </p:cNvPr>
          <p:cNvSpPr/>
          <p:nvPr/>
        </p:nvSpPr>
        <p:spPr>
          <a:xfrm>
            <a:off x="7090071" y="5956415"/>
            <a:ext cx="180251" cy="271442"/>
          </a:xfrm>
          <a:prstGeom prst="flowChartDecisi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F71C7354-4A36-D24D-9616-F3DF7C4A2E4D}"/>
              </a:ext>
            </a:extLst>
          </p:cNvPr>
          <p:cNvSpPr txBox="1"/>
          <p:nvPr/>
        </p:nvSpPr>
        <p:spPr>
          <a:xfrm>
            <a:off x="6891621" y="4770534"/>
            <a:ext cx="1097283" cy="218521"/>
          </a:xfrm>
          <a:prstGeom prst="rect">
            <a:avLst/>
          </a:prstGeom>
          <a:noFill/>
        </p:spPr>
        <p:txBody>
          <a:bodyPr wrap="square" rtlCol="0" anchor="ctr">
            <a:no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800" b="1" i="1"/>
              <a:t>Identify level of support required for pilot execution </a:t>
            </a:r>
          </a:p>
        </p:txBody>
      </p:sp>
    </p:spTree>
    <p:extLst>
      <p:ext uri="{BB962C8B-B14F-4D97-AF65-F5344CB8AC3E}">
        <p14:creationId xmlns:p14="http://schemas.microsoft.com/office/powerpoint/2010/main" val="22281554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A749A0-AD32-C342-9AFB-4E714C050C4C}"/>
              </a:ext>
            </a:extLst>
          </p:cNvPr>
          <p:cNvSpPr>
            <a:spLocks noGrp="1"/>
          </p:cNvSpPr>
          <p:nvPr>
            <p:ph type="title"/>
          </p:nvPr>
        </p:nvSpPr>
        <p:spPr>
          <a:xfrm>
            <a:off x="276303" y="240653"/>
            <a:ext cx="11639394" cy="734003"/>
          </a:xfrm>
        </p:spPr>
        <p:txBody>
          <a:bodyPr vert="horz" lIns="91440" tIns="45720" rIns="91440" bIns="45720" rtlCol="0" anchor="ctr" anchorCtr="0">
            <a:noAutofit/>
          </a:bodyPr>
          <a:lstStyle/>
          <a:p>
            <a:r>
              <a:rPr lang="en-US"/>
              <a:t>What you can expect as an outcome of our work together</a:t>
            </a:r>
          </a:p>
        </p:txBody>
      </p:sp>
      <p:sp>
        <p:nvSpPr>
          <p:cNvPr id="4" name="Rounded Rectangle 3">
            <a:extLst>
              <a:ext uri="{FF2B5EF4-FFF2-40B4-BE49-F238E27FC236}">
                <a16:creationId xmlns:a16="http://schemas.microsoft.com/office/drawing/2014/main" id="{F72CD73D-4277-5F44-880B-5B17A8B13B10}"/>
              </a:ext>
            </a:extLst>
          </p:cNvPr>
          <p:cNvSpPr/>
          <p:nvPr/>
        </p:nvSpPr>
        <p:spPr>
          <a:xfrm>
            <a:off x="276303" y="1267504"/>
            <a:ext cx="11639393" cy="2408671"/>
          </a:xfrm>
          <a:prstGeom prst="roundRect">
            <a:avLst>
              <a:gd name="adj" fmla="val 3839"/>
            </a:avLst>
          </a:prstGeom>
          <a:solidFill>
            <a:schemeClr val="accent1">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a:solidFill>
                  <a:schemeClr val="accent1"/>
                </a:solidFill>
              </a:rPr>
              <a:t>For the countries</a:t>
            </a:r>
          </a:p>
        </p:txBody>
      </p:sp>
      <p:grpSp>
        <p:nvGrpSpPr>
          <p:cNvPr id="73" name="Group 72">
            <a:extLst>
              <a:ext uri="{FF2B5EF4-FFF2-40B4-BE49-F238E27FC236}">
                <a16:creationId xmlns:a16="http://schemas.microsoft.com/office/drawing/2014/main" id="{E90FDC92-6A95-2040-ADF6-7AEF4A05E533}"/>
              </a:ext>
            </a:extLst>
          </p:cNvPr>
          <p:cNvGrpSpPr/>
          <p:nvPr/>
        </p:nvGrpSpPr>
        <p:grpSpPr>
          <a:xfrm>
            <a:off x="316661" y="1847178"/>
            <a:ext cx="1794805" cy="1757136"/>
            <a:chOff x="435413" y="1789199"/>
            <a:chExt cx="1794805" cy="1757136"/>
          </a:xfrm>
        </p:grpSpPr>
        <p:sp>
          <p:nvSpPr>
            <p:cNvPr id="6" name="TextBox 5">
              <a:extLst>
                <a:ext uri="{FF2B5EF4-FFF2-40B4-BE49-F238E27FC236}">
                  <a16:creationId xmlns:a16="http://schemas.microsoft.com/office/drawing/2014/main" id="{6FFE2705-F139-9E48-9E90-F69598EACA77}"/>
                </a:ext>
              </a:extLst>
            </p:cNvPr>
            <p:cNvSpPr txBox="1"/>
            <p:nvPr/>
          </p:nvSpPr>
          <p:spPr>
            <a:xfrm>
              <a:off x="435413" y="3062998"/>
              <a:ext cx="1748280" cy="483337"/>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Market archetypes outlined and countries mapped against them</a:t>
              </a:r>
            </a:p>
          </p:txBody>
        </p:sp>
        <p:pic>
          <p:nvPicPr>
            <p:cNvPr id="7" name="Picture 6">
              <a:extLst>
                <a:ext uri="{FF2B5EF4-FFF2-40B4-BE49-F238E27FC236}">
                  <a16:creationId xmlns:a16="http://schemas.microsoft.com/office/drawing/2014/main" id="{19AC2109-EB49-3149-B33A-60B9DD93964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2154" y="1789199"/>
              <a:ext cx="1498298" cy="832386"/>
            </a:xfrm>
            <a:prstGeom prst="rect">
              <a:avLst/>
            </a:prstGeom>
          </p:spPr>
        </p:pic>
        <p:pic>
          <p:nvPicPr>
            <p:cNvPr id="8" name="Picture 7">
              <a:extLst>
                <a:ext uri="{FF2B5EF4-FFF2-40B4-BE49-F238E27FC236}">
                  <a16:creationId xmlns:a16="http://schemas.microsoft.com/office/drawing/2014/main" id="{3B9E28B0-8FA5-0F43-B254-AC250313EE1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1920" y="2162612"/>
              <a:ext cx="1498298" cy="827491"/>
            </a:xfrm>
            <a:prstGeom prst="rect">
              <a:avLst/>
            </a:prstGeom>
          </p:spPr>
        </p:pic>
      </p:grpSp>
      <p:grpSp>
        <p:nvGrpSpPr>
          <p:cNvPr id="72" name="Group 71">
            <a:extLst>
              <a:ext uri="{FF2B5EF4-FFF2-40B4-BE49-F238E27FC236}">
                <a16:creationId xmlns:a16="http://schemas.microsoft.com/office/drawing/2014/main" id="{AD60E094-585F-4C41-80D4-01C96ABA4520}"/>
              </a:ext>
            </a:extLst>
          </p:cNvPr>
          <p:cNvGrpSpPr/>
          <p:nvPr/>
        </p:nvGrpSpPr>
        <p:grpSpPr>
          <a:xfrm>
            <a:off x="2340668" y="1849572"/>
            <a:ext cx="1823731" cy="1754741"/>
            <a:chOff x="2756301" y="1791593"/>
            <a:chExt cx="1823731" cy="1754741"/>
          </a:xfrm>
        </p:grpSpPr>
        <p:sp>
          <p:nvSpPr>
            <p:cNvPr id="10" name="TextBox 9">
              <a:extLst>
                <a:ext uri="{FF2B5EF4-FFF2-40B4-BE49-F238E27FC236}">
                  <a16:creationId xmlns:a16="http://schemas.microsoft.com/office/drawing/2014/main" id="{585A82DB-CD8E-8847-AEBB-6ED28B0CC07C}"/>
                </a:ext>
              </a:extLst>
            </p:cNvPr>
            <p:cNvSpPr txBox="1"/>
            <p:nvPr/>
          </p:nvSpPr>
          <p:spPr>
            <a:xfrm>
              <a:off x="2756301" y="3062997"/>
              <a:ext cx="1823731" cy="483337"/>
            </a:xfrm>
            <a:prstGeom prst="rect">
              <a:avLst/>
            </a:prstGeom>
            <a:noFill/>
          </p:spPr>
          <p:txBody>
            <a:bodyPr wrap="square" rtlCol="0">
              <a:spAutoFit/>
            </a:bodyPr>
            <a:lstStyle/>
            <a:p>
              <a:pPr algn="ctr">
                <a:lnSpc>
                  <a:spcPct val="80000"/>
                </a:lnSpc>
                <a:spcBef>
                  <a:spcPts val="1200"/>
                </a:spcBef>
                <a:buClr>
                  <a:schemeClr val="tx2"/>
                </a:buClr>
              </a:pPr>
              <a:r>
                <a:rPr lang="en-US" sz="1050"/>
                <a:t>Governance &amp; measurement framework to deploy &amp; track implementation</a:t>
              </a:r>
              <a:endParaRPr lang="en-US" sz="1050">
                <a:highlight>
                  <a:srgbClr val="00FF00"/>
                </a:highlight>
              </a:endParaRPr>
            </a:p>
          </p:txBody>
        </p:sp>
        <p:pic>
          <p:nvPicPr>
            <p:cNvPr id="12" name="Picture 11">
              <a:extLst>
                <a:ext uri="{FF2B5EF4-FFF2-40B4-BE49-F238E27FC236}">
                  <a16:creationId xmlns:a16="http://schemas.microsoft.com/office/drawing/2014/main" id="{5504DD1D-D6E0-694B-AFD5-EB17FFC7BC0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10585" y="1791593"/>
              <a:ext cx="1498298" cy="827494"/>
            </a:xfrm>
            <a:prstGeom prst="rect">
              <a:avLst/>
            </a:prstGeom>
          </p:spPr>
        </p:pic>
        <p:pic>
          <p:nvPicPr>
            <p:cNvPr id="41" name="Picture 40">
              <a:extLst>
                <a:ext uri="{FF2B5EF4-FFF2-40B4-BE49-F238E27FC236}">
                  <a16:creationId xmlns:a16="http://schemas.microsoft.com/office/drawing/2014/main" id="{13D92D33-1BDC-444E-AF5B-01FDBA9AAE9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50351" y="2142367"/>
              <a:ext cx="1498298" cy="827492"/>
            </a:xfrm>
            <a:prstGeom prst="rect">
              <a:avLst/>
            </a:prstGeom>
          </p:spPr>
        </p:pic>
      </p:grpSp>
      <p:grpSp>
        <p:nvGrpSpPr>
          <p:cNvPr id="74" name="Group 73">
            <a:extLst>
              <a:ext uri="{FF2B5EF4-FFF2-40B4-BE49-F238E27FC236}">
                <a16:creationId xmlns:a16="http://schemas.microsoft.com/office/drawing/2014/main" id="{EE49DFD4-BCA9-D34E-909D-C1E9D17DBD89}"/>
              </a:ext>
            </a:extLst>
          </p:cNvPr>
          <p:cNvGrpSpPr/>
          <p:nvPr/>
        </p:nvGrpSpPr>
        <p:grpSpPr>
          <a:xfrm>
            <a:off x="4317232" y="2014249"/>
            <a:ext cx="1648128" cy="1590065"/>
            <a:chOff x="4970374" y="1956270"/>
            <a:chExt cx="1648128" cy="1590065"/>
          </a:xfrm>
        </p:grpSpPr>
        <p:sp>
          <p:nvSpPr>
            <p:cNvPr id="43" name="TextBox 42">
              <a:extLst>
                <a:ext uri="{FF2B5EF4-FFF2-40B4-BE49-F238E27FC236}">
                  <a16:creationId xmlns:a16="http://schemas.microsoft.com/office/drawing/2014/main" id="{4D9425AD-1AA0-6D4B-ADB4-E40812B59918}"/>
                </a:ext>
              </a:extLst>
            </p:cNvPr>
            <p:cNvSpPr txBox="1"/>
            <p:nvPr/>
          </p:nvSpPr>
          <p:spPr>
            <a:xfrm>
              <a:off x="5069958" y="3062998"/>
              <a:ext cx="1495004" cy="483337"/>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Rep activity allocated by market archetype and customer segment</a:t>
              </a:r>
            </a:p>
          </p:txBody>
        </p:sp>
        <p:pic>
          <p:nvPicPr>
            <p:cNvPr id="44" name="Picture 43">
              <a:extLst>
                <a:ext uri="{FF2B5EF4-FFF2-40B4-BE49-F238E27FC236}">
                  <a16:creationId xmlns:a16="http://schemas.microsoft.com/office/drawing/2014/main" id="{9A7E5776-17E0-5A49-B336-73ED4551AF7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970374" y="1956270"/>
              <a:ext cx="1648128" cy="898935"/>
            </a:xfrm>
            <a:prstGeom prst="rect">
              <a:avLst/>
            </a:prstGeom>
          </p:spPr>
        </p:pic>
      </p:grpSp>
      <p:grpSp>
        <p:nvGrpSpPr>
          <p:cNvPr id="75" name="Group 74">
            <a:extLst>
              <a:ext uri="{FF2B5EF4-FFF2-40B4-BE49-F238E27FC236}">
                <a16:creationId xmlns:a16="http://schemas.microsoft.com/office/drawing/2014/main" id="{E66B953A-A5E8-1948-82DB-C2B67C75959C}"/>
              </a:ext>
            </a:extLst>
          </p:cNvPr>
          <p:cNvGrpSpPr/>
          <p:nvPr/>
        </p:nvGrpSpPr>
        <p:grpSpPr>
          <a:xfrm>
            <a:off x="7770006" y="1784153"/>
            <a:ext cx="1925831" cy="1884794"/>
            <a:chOff x="7259366" y="1726174"/>
            <a:chExt cx="1925831" cy="1884794"/>
          </a:xfrm>
        </p:grpSpPr>
        <p:sp>
          <p:nvSpPr>
            <p:cNvPr id="45" name="TextBox 44">
              <a:extLst>
                <a:ext uri="{FF2B5EF4-FFF2-40B4-BE49-F238E27FC236}">
                  <a16:creationId xmlns:a16="http://schemas.microsoft.com/office/drawing/2014/main" id="{C1FFCAA6-A03A-8349-98DF-8910A38599C8}"/>
                </a:ext>
              </a:extLst>
            </p:cNvPr>
            <p:cNvSpPr txBox="1"/>
            <p:nvPr/>
          </p:nvSpPr>
          <p:spPr>
            <a:xfrm>
              <a:off x="7259366" y="2998364"/>
              <a:ext cx="1876074" cy="612604"/>
            </a:xfrm>
            <a:prstGeom prst="rect">
              <a:avLst/>
            </a:prstGeom>
            <a:noFill/>
          </p:spPr>
          <p:txBody>
            <a:bodyPr wrap="square" rtlCol="0">
              <a:spAutoFit/>
            </a:bodyPr>
            <a:lstStyle/>
            <a:p>
              <a:pPr algn="ctr">
                <a:lnSpc>
                  <a:spcPct val="80000"/>
                </a:lnSpc>
                <a:spcBef>
                  <a:spcPts val="1200"/>
                </a:spcBef>
                <a:buClr>
                  <a:schemeClr val="tx2"/>
                </a:buClr>
              </a:pPr>
              <a:r>
                <a:rPr lang="en-US" sz="1050"/>
                <a:t>Omnichannel training created, delivered through a train the trainer session and embedded in the curriculum</a:t>
              </a:r>
            </a:p>
          </p:txBody>
        </p:sp>
        <p:pic>
          <p:nvPicPr>
            <p:cNvPr id="46" name="Picture 45">
              <a:extLst>
                <a:ext uri="{FF2B5EF4-FFF2-40B4-BE49-F238E27FC236}">
                  <a16:creationId xmlns:a16="http://schemas.microsoft.com/office/drawing/2014/main" id="{7D4530B3-7216-EC46-AB0C-27656C4F965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259366" y="1726174"/>
              <a:ext cx="1498297" cy="827492"/>
            </a:xfrm>
            <a:prstGeom prst="rect">
              <a:avLst/>
            </a:prstGeom>
          </p:spPr>
        </p:pic>
        <p:pic>
          <p:nvPicPr>
            <p:cNvPr id="47" name="Picture 46">
              <a:extLst>
                <a:ext uri="{FF2B5EF4-FFF2-40B4-BE49-F238E27FC236}">
                  <a16:creationId xmlns:a16="http://schemas.microsoft.com/office/drawing/2014/main" id="{5FD71305-1B14-8C46-BFA9-0CC1E00DD09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473133" y="1931823"/>
              <a:ext cx="1498297" cy="827492"/>
            </a:xfrm>
            <a:prstGeom prst="rect">
              <a:avLst/>
            </a:prstGeom>
          </p:spPr>
        </p:pic>
        <p:pic>
          <p:nvPicPr>
            <p:cNvPr id="48" name="Picture 47">
              <a:extLst>
                <a:ext uri="{FF2B5EF4-FFF2-40B4-BE49-F238E27FC236}">
                  <a16:creationId xmlns:a16="http://schemas.microsoft.com/office/drawing/2014/main" id="{1AE6913B-4A1F-694A-9238-3C646D65D2A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686899" y="2137473"/>
              <a:ext cx="1498298" cy="832386"/>
            </a:xfrm>
            <a:prstGeom prst="rect">
              <a:avLst/>
            </a:prstGeom>
          </p:spPr>
        </p:pic>
      </p:grpSp>
      <p:grpSp>
        <p:nvGrpSpPr>
          <p:cNvPr id="76" name="Group 75">
            <a:extLst>
              <a:ext uri="{FF2B5EF4-FFF2-40B4-BE49-F238E27FC236}">
                <a16:creationId xmlns:a16="http://schemas.microsoft.com/office/drawing/2014/main" id="{BF7AF0A6-9EDC-AE4B-84C0-D7A1775B24BE}"/>
              </a:ext>
            </a:extLst>
          </p:cNvPr>
          <p:cNvGrpSpPr/>
          <p:nvPr/>
        </p:nvGrpSpPr>
        <p:grpSpPr>
          <a:xfrm>
            <a:off x="10037604" y="1805506"/>
            <a:ext cx="1777573" cy="1742014"/>
            <a:chOff x="9883224" y="1747527"/>
            <a:chExt cx="1777573" cy="1742014"/>
          </a:xfrm>
        </p:grpSpPr>
        <p:sp>
          <p:nvSpPr>
            <p:cNvPr id="49" name="TextBox 48">
              <a:extLst>
                <a:ext uri="{FF2B5EF4-FFF2-40B4-BE49-F238E27FC236}">
                  <a16:creationId xmlns:a16="http://schemas.microsoft.com/office/drawing/2014/main" id="{180D0F39-51C6-0343-9FDF-8DD8F9512994}"/>
                </a:ext>
              </a:extLst>
            </p:cNvPr>
            <p:cNvSpPr txBox="1"/>
            <p:nvPr/>
          </p:nvSpPr>
          <p:spPr>
            <a:xfrm>
              <a:off x="10033199" y="3123030"/>
              <a:ext cx="1607068" cy="366511"/>
            </a:xfrm>
            <a:prstGeom prst="rect">
              <a:avLst/>
            </a:prstGeom>
            <a:noFill/>
          </p:spPr>
          <p:txBody>
            <a:bodyPr wrap="square" rtlCol="0">
              <a:spAutoFit/>
            </a:bodyPr>
            <a:lstStyle/>
            <a:p>
              <a:pPr algn="ctr">
                <a:lnSpc>
                  <a:spcPct val="80000"/>
                </a:lnSpc>
                <a:spcBef>
                  <a:spcPts val="1200"/>
                </a:spcBef>
                <a:buClr>
                  <a:schemeClr val="tx2"/>
                </a:buClr>
              </a:pPr>
              <a:r>
                <a:rPr lang="en-US" sz="1050"/>
                <a:t>Veeva CRM optimized for execution</a:t>
              </a:r>
            </a:p>
          </p:txBody>
        </p:sp>
        <p:pic>
          <p:nvPicPr>
            <p:cNvPr id="50" name="Picture 49">
              <a:extLst>
                <a:ext uri="{FF2B5EF4-FFF2-40B4-BE49-F238E27FC236}">
                  <a16:creationId xmlns:a16="http://schemas.microsoft.com/office/drawing/2014/main" id="{98F5DE96-1CFC-BF43-AFBF-8F1760D02A2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883224" y="1747527"/>
              <a:ext cx="1648128" cy="915625"/>
            </a:xfrm>
            <a:prstGeom prst="rect">
              <a:avLst/>
            </a:prstGeom>
          </p:spPr>
        </p:pic>
        <p:pic>
          <p:nvPicPr>
            <p:cNvPr id="51" name="Picture 50">
              <a:extLst>
                <a:ext uri="{FF2B5EF4-FFF2-40B4-BE49-F238E27FC236}">
                  <a16:creationId xmlns:a16="http://schemas.microsoft.com/office/drawing/2014/main" id="{838418DE-6B7B-374F-A153-BCE150CC333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012669" y="2170107"/>
              <a:ext cx="1648128" cy="910241"/>
            </a:xfrm>
            <a:prstGeom prst="rect">
              <a:avLst/>
            </a:prstGeom>
          </p:spPr>
        </p:pic>
      </p:grpSp>
      <p:sp>
        <p:nvSpPr>
          <p:cNvPr id="53" name="Rounded Rectangle 52">
            <a:extLst>
              <a:ext uri="{FF2B5EF4-FFF2-40B4-BE49-F238E27FC236}">
                <a16:creationId xmlns:a16="http://schemas.microsoft.com/office/drawing/2014/main" id="{8A5E1418-7D81-F34A-851F-3BE8052BD28B}"/>
              </a:ext>
            </a:extLst>
          </p:cNvPr>
          <p:cNvSpPr/>
          <p:nvPr/>
        </p:nvSpPr>
        <p:spPr>
          <a:xfrm>
            <a:off x="276304" y="3785375"/>
            <a:ext cx="7333804" cy="2258939"/>
          </a:xfrm>
          <a:prstGeom prst="roundRect">
            <a:avLst>
              <a:gd name="adj" fmla="val 5495"/>
            </a:avLst>
          </a:prstGeom>
          <a:solidFill>
            <a:schemeClr val="accent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a:solidFill>
                  <a:schemeClr val="accent2"/>
                </a:solidFill>
              </a:rPr>
              <a:t>For the hybrid reps</a:t>
            </a:r>
          </a:p>
        </p:txBody>
      </p:sp>
      <p:grpSp>
        <p:nvGrpSpPr>
          <p:cNvPr id="54" name="Group 53">
            <a:extLst>
              <a:ext uri="{FF2B5EF4-FFF2-40B4-BE49-F238E27FC236}">
                <a16:creationId xmlns:a16="http://schemas.microsoft.com/office/drawing/2014/main" id="{1966F3FF-921A-FC4A-B802-054691DD2C64}"/>
              </a:ext>
            </a:extLst>
          </p:cNvPr>
          <p:cNvGrpSpPr/>
          <p:nvPr/>
        </p:nvGrpSpPr>
        <p:grpSpPr>
          <a:xfrm>
            <a:off x="551939" y="4246935"/>
            <a:ext cx="1924836" cy="1691605"/>
            <a:chOff x="3410022" y="1148861"/>
            <a:chExt cx="1924836" cy="1691605"/>
          </a:xfrm>
        </p:grpSpPr>
        <p:sp>
          <p:nvSpPr>
            <p:cNvPr id="55" name="TextBox 54">
              <a:extLst>
                <a:ext uri="{FF2B5EF4-FFF2-40B4-BE49-F238E27FC236}">
                  <a16:creationId xmlns:a16="http://schemas.microsoft.com/office/drawing/2014/main" id="{0C135E2A-AD8C-054B-9DB0-3ECD029F6A09}"/>
                </a:ext>
              </a:extLst>
            </p:cNvPr>
            <p:cNvSpPr txBox="1"/>
            <p:nvPr/>
          </p:nvSpPr>
          <p:spPr>
            <a:xfrm>
              <a:off x="3450760" y="2357129"/>
              <a:ext cx="1740692" cy="483337"/>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Day / cycle in the life’ playbook of the hybrid rep, stress-tested through pilot</a:t>
              </a:r>
            </a:p>
          </p:txBody>
        </p:sp>
        <p:pic>
          <p:nvPicPr>
            <p:cNvPr id="56" name="Picture 55">
              <a:extLst>
                <a:ext uri="{FF2B5EF4-FFF2-40B4-BE49-F238E27FC236}">
                  <a16:creationId xmlns:a16="http://schemas.microsoft.com/office/drawing/2014/main" id="{44F7BA62-BF11-EC43-AFC6-54495A342A1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410022" y="1148861"/>
              <a:ext cx="1126172" cy="725556"/>
            </a:xfrm>
            <a:prstGeom prst="rect">
              <a:avLst/>
            </a:prstGeom>
          </p:spPr>
        </p:pic>
        <p:pic>
          <p:nvPicPr>
            <p:cNvPr id="57" name="Picture 56">
              <a:extLst>
                <a:ext uri="{FF2B5EF4-FFF2-40B4-BE49-F238E27FC236}">
                  <a16:creationId xmlns:a16="http://schemas.microsoft.com/office/drawing/2014/main" id="{97D709A2-E2D4-8544-9978-8D50C69BB7DF}"/>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096595" y="1544519"/>
              <a:ext cx="1238263" cy="687923"/>
            </a:xfrm>
            <a:prstGeom prst="rect">
              <a:avLst/>
            </a:prstGeom>
          </p:spPr>
        </p:pic>
      </p:grpSp>
      <p:sp>
        <p:nvSpPr>
          <p:cNvPr id="58" name="TextBox 57">
            <a:extLst>
              <a:ext uri="{FF2B5EF4-FFF2-40B4-BE49-F238E27FC236}">
                <a16:creationId xmlns:a16="http://schemas.microsoft.com/office/drawing/2014/main" id="{B1B5BBBD-8FAD-144D-B500-7066E5267AA0}"/>
              </a:ext>
            </a:extLst>
          </p:cNvPr>
          <p:cNvSpPr txBox="1"/>
          <p:nvPr/>
        </p:nvSpPr>
        <p:spPr>
          <a:xfrm>
            <a:off x="4658235" y="5433182"/>
            <a:ext cx="2766694" cy="501932"/>
          </a:xfrm>
          <a:prstGeom prst="rect">
            <a:avLst/>
          </a:prstGeom>
          <a:noFill/>
        </p:spPr>
        <p:txBody>
          <a:bodyPr wrap="square" rtlCol="0">
            <a:spAutoFit/>
          </a:bodyPr>
          <a:lstStyle/>
          <a:p>
            <a:pPr algn="ctr">
              <a:lnSpc>
                <a:spcPct val="80000"/>
              </a:lnSpc>
              <a:spcBef>
                <a:spcPts val="1200"/>
              </a:spcBef>
              <a:buClr>
                <a:schemeClr val="tx2"/>
              </a:buClr>
            </a:pPr>
            <a:r>
              <a:rPr lang="en-US" sz="1050"/>
              <a:t>Call planning, execution, measurement playbooks for the hybrid rep stress-tested in through the pilots</a:t>
            </a:r>
          </a:p>
        </p:txBody>
      </p:sp>
      <p:pic>
        <p:nvPicPr>
          <p:cNvPr id="59" name="Picture 58">
            <a:extLst>
              <a:ext uri="{FF2B5EF4-FFF2-40B4-BE49-F238E27FC236}">
                <a16:creationId xmlns:a16="http://schemas.microsoft.com/office/drawing/2014/main" id="{4DCC119E-451A-2A45-B69E-5A6E16031917}"/>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658235" y="4354988"/>
            <a:ext cx="1059071" cy="594041"/>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60" name="Picture 59">
            <a:extLst>
              <a:ext uri="{FF2B5EF4-FFF2-40B4-BE49-F238E27FC236}">
                <a16:creationId xmlns:a16="http://schemas.microsoft.com/office/drawing/2014/main" id="{1509E190-7520-2A41-96D4-1F54302FBA7B}"/>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189756" y="4516880"/>
            <a:ext cx="1063868" cy="595285"/>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61" name="Picture 60">
            <a:extLst>
              <a:ext uri="{FF2B5EF4-FFF2-40B4-BE49-F238E27FC236}">
                <a16:creationId xmlns:a16="http://schemas.microsoft.com/office/drawing/2014/main" id="{EF5CF30C-DF4E-3342-9899-8C948500FA7C}"/>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726074" y="4680016"/>
            <a:ext cx="1059071" cy="596732"/>
          </a:xfrm>
          <a:prstGeom prst="rect">
            <a:avLst/>
          </a:prstGeom>
        </p:spPr>
      </p:pic>
      <p:pic>
        <p:nvPicPr>
          <p:cNvPr id="62" name="Picture 61">
            <a:extLst>
              <a:ext uri="{FF2B5EF4-FFF2-40B4-BE49-F238E27FC236}">
                <a16:creationId xmlns:a16="http://schemas.microsoft.com/office/drawing/2014/main" id="{B0AD1C82-C671-0C46-AA23-E3B920FD0C0D}"/>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257596" y="4844598"/>
            <a:ext cx="1058576" cy="595285"/>
          </a:xfrm>
          <a:prstGeom prst="rect">
            <a:avLst/>
          </a:prstGeom>
        </p:spPr>
      </p:pic>
      <p:grpSp>
        <p:nvGrpSpPr>
          <p:cNvPr id="63" name="Group 62">
            <a:extLst>
              <a:ext uri="{FF2B5EF4-FFF2-40B4-BE49-F238E27FC236}">
                <a16:creationId xmlns:a16="http://schemas.microsoft.com/office/drawing/2014/main" id="{E5BF3170-767E-5240-9C3E-3FFFFBAAFA40}"/>
              </a:ext>
            </a:extLst>
          </p:cNvPr>
          <p:cNvGrpSpPr/>
          <p:nvPr/>
        </p:nvGrpSpPr>
        <p:grpSpPr>
          <a:xfrm>
            <a:off x="2883206" y="4460986"/>
            <a:ext cx="1512544" cy="1351429"/>
            <a:chOff x="8539666" y="1271000"/>
            <a:chExt cx="1512544" cy="1351429"/>
          </a:xfrm>
        </p:grpSpPr>
        <p:sp>
          <p:nvSpPr>
            <p:cNvPr id="64" name="TextBox 63">
              <a:extLst>
                <a:ext uri="{FF2B5EF4-FFF2-40B4-BE49-F238E27FC236}">
                  <a16:creationId xmlns:a16="http://schemas.microsoft.com/office/drawing/2014/main" id="{2A6F26EF-CF41-BC41-A91A-964BDD5A911E}"/>
                </a:ext>
              </a:extLst>
            </p:cNvPr>
            <p:cNvSpPr txBox="1"/>
            <p:nvPr/>
          </p:nvSpPr>
          <p:spPr>
            <a:xfrm>
              <a:off x="8539666" y="2391340"/>
              <a:ext cx="1512544" cy="231089"/>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MCCP tracking </a:t>
              </a:r>
            </a:p>
          </p:txBody>
        </p:sp>
        <p:pic>
          <p:nvPicPr>
            <p:cNvPr id="65" name="Picture 64">
              <a:extLst>
                <a:ext uri="{FF2B5EF4-FFF2-40B4-BE49-F238E27FC236}">
                  <a16:creationId xmlns:a16="http://schemas.microsoft.com/office/drawing/2014/main" id="{14A73786-8887-F44E-8A2A-299A224B317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8553912" y="1271000"/>
              <a:ext cx="1498298" cy="827492"/>
            </a:xfrm>
            <a:prstGeom prst="rect">
              <a:avLst/>
            </a:prstGeom>
          </p:spPr>
        </p:pic>
      </p:grpSp>
      <p:sp>
        <p:nvSpPr>
          <p:cNvPr id="67" name="Rounded Rectangle 66">
            <a:extLst>
              <a:ext uri="{FF2B5EF4-FFF2-40B4-BE49-F238E27FC236}">
                <a16:creationId xmlns:a16="http://schemas.microsoft.com/office/drawing/2014/main" id="{98054EED-DBC8-E64D-94A3-75E26D78E353}"/>
              </a:ext>
            </a:extLst>
          </p:cNvPr>
          <p:cNvSpPr/>
          <p:nvPr/>
        </p:nvSpPr>
        <p:spPr>
          <a:xfrm>
            <a:off x="7702133" y="3785376"/>
            <a:ext cx="4213560" cy="2258938"/>
          </a:xfrm>
          <a:prstGeom prst="roundRect">
            <a:avLst>
              <a:gd name="adj" fmla="val 5495"/>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a:solidFill>
                  <a:schemeClr val="tx1"/>
                </a:solidFill>
              </a:rPr>
              <a:t>For the pilot markets</a:t>
            </a:r>
          </a:p>
        </p:txBody>
      </p:sp>
      <p:pic>
        <p:nvPicPr>
          <p:cNvPr id="68" name="Picture 67">
            <a:extLst>
              <a:ext uri="{FF2B5EF4-FFF2-40B4-BE49-F238E27FC236}">
                <a16:creationId xmlns:a16="http://schemas.microsoft.com/office/drawing/2014/main" id="{F82B9759-8467-9E4E-A68F-4E30807F7014}"/>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863636" y="4302513"/>
            <a:ext cx="1498298" cy="832386"/>
          </a:xfrm>
          <a:prstGeom prst="rect">
            <a:avLst/>
          </a:prstGeom>
        </p:spPr>
      </p:pic>
      <p:pic>
        <p:nvPicPr>
          <p:cNvPr id="69" name="Picture 68">
            <a:extLst>
              <a:ext uri="{FF2B5EF4-FFF2-40B4-BE49-F238E27FC236}">
                <a16:creationId xmlns:a16="http://schemas.microsoft.com/office/drawing/2014/main" id="{423F7CA1-944B-8746-B528-1C4C9E8F7ADB}"/>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313820" y="4571437"/>
            <a:ext cx="1498298" cy="827492"/>
          </a:xfrm>
          <a:prstGeom prst="rect">
            <a:avLst/>
          </a:prstGeom>
        </p:spPr>
      </p:pic>
      <p:sp>
        <p:nvSpPr>
          <p:cNvPr id="70" name="TextBox 69">
            <a:extLst>
              <a:ext uri="{FF2B5EF4-FFF2-40B4-BE49-F238E27FC236}">
                <a16:creationId xmlns:a16="http://schemas.microsoft.com/office/drawing/2014/main" id="{FDF70F3C-3BFF-164E-8C9D-809786EC1CC8}"/>
              </a:ext>
            </a:extLst>
          </p:cNvPr>
          <p:cNvSpPr txBox="1"/>
          <p:nvPr/>
        </p:nvSpPr>
        <p:spPr>
          <a:xfrm>
            <a:off x="7948714" y="5455203"/>
            <a:ext cx="1635820" cy="483337"/>
          </a:xfrm>
          <a:prstGeom prst="rect">
            <a:avLst/>
          </a:prstGeom>
          <a:noFill/>
        </p:spPr>
        <p:txBody>
          <a:bodyPr wrap="square" rtlCol="0">
            <a:spAutoFit/>
          </a:bodyPr>
          <a:lstStyle/>
          <a:p>
            <a:pPr algn="ctr">
              <a:lnSpc>
                <a:spcPct val="80000"/>
              </a:lnSpc>
              <a:spcBef>
                <a:spcPts val="1200"/>
              </a:spcBef>
              <a:buClr>
                <a:schemeClr val="tx2"/>
              </a:buClr>
            </a:pPr>
            <a:r>
              <a:rPr lang="en-US" sz="1050"/>
              <a:t>Pilot roadmap, action plan and support process defined</a:t>
            </a:r>
          </a:p>
        </p:txBody>
      </p:sp>
      <p:sp>
        <p:nvSpPr>
          <p:cNvPr id="71" name="TextBox 70">
            <a:extLst>
              <a:ext uri="{FF2B5EF4-FFF2-40B4-BE49-F238E27FC236}">
                <a16:creationId xmlns:a16="http://schemas.microsoft.com/office/drawing/2014/main" id="{C260DF29-268B-CB49-BAC7-8393EBB8CAE1}"/>
              </a:ext>
            </a:extLst>
          </p:cNvPr>
          <p:cNvSpPr txBox="1"/>
          <p:nvPr/>
        </p:nvSpPr>
        <p:spPr>
          <a:xfrm>
            <a:off x="10018824" y="5507112"/>
            <a:ext cx="1635820" cy="354071"/>
          </a:xfrm>
          <a:prstGeom prst="rect">
            <a:avLst/>
          </a:prstGeom>
          <a:noFill/>
        </p:spPr>
        <p:txBody>
          <a:bodyPr wrap="square" rtlCol="0">
            <a:spAutoFit/>
          </a:bodyPr>
          <a:lstStyle/>
          <a:p>
            <a:pPr algn="ctr">
              <a:lnSpc>
                <a:spcPct val="80000"/>
              </a:lnSpc>
              <a:spcBef>
                <a:spcPts val="1200"/>
              </a:spcBef>
              <a:buClr>
                <a:schemeClr val="tx2"/>
              </a:buClr>
            </a:pPr>
            <a:r>
              <a:rPr lang="en-US" sz="1050"/>
              <a:t>All materials tailored to the 2 pilot markets</a:t>
            </a:r>
          </a:p>
        </p:txBody>
      </p:sp>
      <p:grpSp>
        <p:nvGrpSpPr>
          <p:cNvPr id="79" name="Group 78">
            <a:extLst>
              <a:ext uri="{FF2B5EF4-FFF2-40B4-BE49-F238E27FC236}">
                <a16:creationId xmlns:a16="http://schemas.microsoft.com/office/drawing/2014/main" id="{26581C16-0AC5-AC40-A49F-B268F791DD9C}"/>
              </a:ext>
            </a:extLst>
          </p:cNvPr>
          <p:cNvGrpSpPr/>
          <p:nvPr/>
        </p:nvGrpSpPr>
        <p:grpSpPr>
          <a:xfrm>
            <a:off x="6343476" y="1903157"/>
            <a:ext cx="1041879" cy="1177193"/>
            <a:chOff x="5248000" y="2336416"/>
            <a:chExt cx="2233361" cy="2523417"/>
          </a:xfrm>
        </p:grpSpPr>
        <p:pic>
          <p:nvPicPr>
            <p:cNvPr id="77" name="Picture 76">
              <a:extLst>
                <a:ext uri="{FF2B5EF4-FFF2-40B4-BE49-F238E27FC236}">
                  <a16:creationId xmlns:a16="http://schemas.microsoft.com/office/drawing/2014/main" id="{E9422EAA-7D0A-D746-811F-488790A3D075}"/>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5248000" y="2336416"/>
              <a:ext cx="1696001" cy="2185169"/>
            </a:xfrm>
            <a:prstGeom prst="rect">
              <a:avLst/>
            </a:prstGeom>
          </p:spPr>
        </p:pic>
        <p:pic>
          <p:nvPicPr>
            <p:cNvPr id="78" name="Picture 77">
              <a:extLst>
                <a:ext uri="{FF2B5EF4-FFF2-40B4-BE49-F238E27FC236}">
                  <a16:creationId xmlns:a16="http://schemas.microsoft.com/office/drawing/2014/main" id="{FA8C654F-85D5-9849-9AD8-02C92CB67A42}"/>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5686234" y="2873316"/>
              <a:ext cx="1795127" cy="1986517"/>
            </a:xfrm>
            <a:prstGeom prst="rect">
              <a:avLst/>
            </a:prstGeom>
          </p:spPr>
        </p:pic>
      </p:grpSp>
      <p:sp>
        <p:nvSpPr>
          <p:cNvPr id="80" name="TextBox 79">
            <a:extLst>
              <a:ext uri="{FF2B5EF4-FFF2-40B4-BE49-F238E27FC236}">
                <a16:creationId xmlns:a16="http://schemas.microsoft.com/office/drawing/2014/main" id="{98A05338-04C8-4049-AA8B-41EDFDA7EA04}"/>
              </a:ext>
            </a:extLst>
          </p:cNvPr>
          <p:cNvSpPr txBox="1"/>
          <p:nvPr/>
        </p:nvSpPr>
        <p:spPr>
          <a:xfrm>
            <a:off x="6019681" y="3141532"/>
            <a:ext cx="1495004" cy="35407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1050"/>
              <a:t>Pulse Data for 7 markets (see next page)</a:t>
            </a:r>
          </a:p>
        </p:txBody>
      </p:sp>
      <p:pic>
        <p:nvPicPr>
          <p:cNvPr id="83" name="Picture 82">
            <a:extLst>
              <a:ext uri="{FF2B5EF4-FFF2-40B4-BE49-F238E27FC236}">
                <a16:creationId xmlns:a16="http://schemas.microsoft.com/office/drawing/2014/main" id="{B39C7085-A87E-484D-BC43-CC30CB073C5F}"/>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10394423" y="4603419"/>
            <a:ext cx="1237801" cy="685079"/>
          </a:xfrm>
          <a:prstGeom prst="rect">
            <a:avLst/>
          </a:prstGeom>
          <a:ln>
            <a:noFill/>
          </a:ln>
        </p:spPr>
      </p:pic>
      <p:pic>
        <p:nvPicPr>
          <p:cNvPr id="84" name="Picture 83">
            <a:extLst>
              <a:ext uri="{FF2B5EF4-FFF2-40B4-BE49-F238E27FC236}">
                <a16:creationId xmlns:a16="http://schemas.microsoft.com/office/drawing/2014/main" id="{517150CA-0E31-BD49-9563-ACF52869449D}"/>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10097516" y="4405947"/>
            <a:ext cx="1361581" cy="755684"/>
          </a:xfrm>
          <a:prstGeom prst="rect">
            <a:avLst/>
          </a:prstGeom>
          <a:ln>
            <a:solidFill>
              <a:schemeClr val="bg2"/>
            </a:solidFill>
          </a:ln>
        </p:spPr>
      </p:pic>
      <p:sp>
        <p:nvSpPr>
          <p:cNvPr id="2" name="TextBox 1">
            <a:extLst>
              <a:ext uri="{FF2B5EF4-FFF2-40B4-BE49-F238E27FC236}">
                <a16:creationId xmlns:a16="http://schemas.microsoft.com/office/drawing/2014/main" id="{66C5C787-0BA0-6440-8CFA-7697E9A7A257}"/>
              </a:ext>
            </a:extLst>
          </p:cNvPr>
          <p:cNvSpPr txBox="1"/>
          <p:nvPr/>
        </p:nvSpPr>
        <p:spPr>
          <a:xfrm>
            <a:off x="316661" y="849457"/>
            <a:ext cx="11498516" cy="344710"/>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2000"/>
              <a:t>A set of pragmatic, repeatable outputs designed with end users in mind</a:t>
            </a:r>
          </a:p>
        </p:txBody>
      </p:sp>
    </p:spTree>
    <p:extLst>
      <p:ext uri="{BB962C8B-B14F-4D97-AF65-F5344CB8AC3E}">
        <p14:creationId xmlns:p14="http://schemas.microsoft.com/office/powerpoint/2010/main" val="38564469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CB91D48-D94E-AD42-A5FD-111310016838}"/>
              </a:ext>
            </a:extLst>
          </p:cNvPr>
          <p:cNvSpPr txBox="1"/>
          <p:nvPr/>
        </p:nvSpPr>
        <p:spPr>
          <a:xfrm>
            <a:off x="318788" y="1508101"/>
            <a:ext cx="4513878" cy="2644955"/>
          </a:xfrm>
          <a:prstGeom prst="rect">
            <a:avLst/>
          </a:prstGeom>
          <a:noFill/>
        </p:spPr>
        <p:txBody>
          <a:bodyPr wrap="squar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rPr>
              <a:t>The </a:t>
            </a:r>
            <a:r>
              <a:rPr kumimoji="0" lang="en-US" sz="1400" b="0" i="0" u="none" strike="noStrike" kern="1200" cap="none" spc="0" normalizeH="0" baseline="0" noProof="0" err="1">
                <a:ln>
                  <a:noFill/>
                </a:ln>
                <a:solidFill>
                  <a:srgbClr val="646569"/>
                </a:solidFill>
                <a:effectLst/>
                <a:uLnTx/>
                <a:uFillTx/>
                <a:latin typeface="Calibri" panose="020F0502020204030204" pitchFamily="34" charset="0"/>
                <a:cs typeface="Calibri" panose="020F0502020204030204" pitchFamily="34" charset="0"/>
              </a:rPr>
              <a:t>VeevaPulse</a:t>
            </a:r>
            <a:r>
              <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rPr>
              <a:t> Industry Health Check consolidates Veeva’s real time engagement data to provide in depth industry insights into HCP engagement.</a:t>
            </a:r>
          </a:p>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rPr>
              <a:t>Through the Health Check Service, our customers are able to benchmark their performance against a tailored group of their peers, with the opportunity to investigate the </a:t>
            </a:r>
            <a:r>
              <a:rPr kumimoji="0" lang="en-US" sz="1400" b="0" i="0" u="none" strike="noStrike" kern="1200" cap="none" spc="0" normalizeH="0" baseline="0" noProof="0" err="1">
                <a:ln>
                  <a:noFill/>
                </a:ln>
                <a:solidFill>
                  <a:srgbClr val="646569"/>
                </a:solidFill>
                <a:effectLst/>
                <a:uLnTx/>
                <a:uFillTx/>
                <a:latin typeface="Calibri" panose="020F0502020204030204" pitchFamily="34" charset="0"/>
                <a:cs typeface="Calibri" panose="020F0502020204030204" pitchFamily="34" charset="0"/>
              </a:rPr>
              <a:t>VeevaPulse</a:t>
            </a:r>
            <a:r>
              <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rPr>
              <a:t> data beyond what has historically been available.</a:t>
            </a:r>
          </a:p>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rPr>
              <a:t>Using real time data, we can identify customer engagement opportunities and challenges as they happen. Avoiding the need to run small and costly surveys, the health check provides an accurate and comprehensive overview of industry engagement.</a:t>
            </a:r>
          </a:p>
        </p:txBody>
      </p:sp>
      <p:pic>
        <p:nvPicPr>
          <p:cNvPr id="5" name="Picture 2" descr="person sitting while using laptop computer and green stethoscope near">
            <a:extLst>
              <a:ext uri="{FF2B5EF4-FFF2-40B4-BE49-F238E27FC236}">
                <a16:creationId xmlns:a16="http://schemas.microsoft.com/office/drawing/2014/main" id="{6BBE2257-F957-7C47-9283-772A6F925765}"/>
              </a:ext>
            </a:extLst>
          </p:cNvPr>
          <p:cNvPicPr>
            <a:picLocks noChangeAspect="1" noChangeArrowheads="1"/>
          </p:cNvPicPr>
          <p:nvPr/>
        </p:nvPicPr>
        <p:blipFill>
          <a:blip r:embed="rId2">
            <a:grayscl/>
            <a:extLst>
              <a:ext uri="{28A0092B-C50C-407E-A947-70E740481C1C}">
                <a14:useLocalDpi xmlns:a14="http://schemas.microsoft.com/office/drawing/2010/main"/>
              </a:ext>
            </a:extLst>
          </a:blip>
          <a:srcRect/>
          <a:stretch>
            <a:fillRect/>
          </a:stretch>
        </p:blipFill>
        <p:spPr bwMode="auto">
          <a:xfrm flipH="1">
            <a:off x="2040117" y="1248072"/>
            <a:ext cx="4817879" cy="314528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4D34A06-5E17-A349-AE75-7D0CB67F2829}"/>
              </a:ext>
            </a:extLst>
          </p:cNvPr>
          <p:cNvSpPr/>
          <p:nvPr/>
        </p:nvSpPr>
        <p:spPr>
          <a:xfrm>
            <a:off x="0" y="1248071"/>
            <a:ext cx="2170830" cy="3145289"/>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965A0244-CBD8-FA48-B453-4B33F71693EF}"/>
              </a:ext>
            </a:extLst>
          </p:cNvPr>
          <p:cNvSpPr/>
          <p:nvPr/>
        </p:nvSpPr>
        <p:spPr>
          <a:xfrm>
            <a:off x="2027678" y="1248071"/>
            <a:ext cx="3899333" cy="3145289"/>
          </a:xfrm>
          <a:prstGeom prst="rect">
            <a:avLst/>
          </a:prstGeom>
          <a:gradFill flip="none" rotWithShape="1">
            <a:gsLst>
              <a:gs pos="0">
                <a:schemeClr val="tx1">
                  <a:lumMod val="50000"/>
                </a:schemeClr>
              </a:gs>
              <a:gs pos="100000">
                <a:schemeClr val="tx1">
                  <a:lumMod val="5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A1EE7C23-B363-4B4C-B9E4-634CDAD3C36D}"/>
              </a:ext>
            </a:extLst>
          </p:cNvPr>
          <p:cNvSpPr txBox="1"/>
          <p:nvPr/>
        </p:nvSpPr>
        <p:spPr>
          <a:xfrm>
            <a:off x="421415" y="1408250"/>
            <a:ext cx="2975606" cy="2739211"/>
          </a:xfrm>
          <a:prstGeom prst="rect">
            <a:avLst/>
          </a:prstGeom>
          <a:noFill/>
        </p:spPr>
        <p:txBody>
          <a:bodyPr wrap="squar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20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ABOUT THE DATA</a:t>
            </a:r>
          </a:p>
          <a:p>
            <a:pPr marL="0" marR="0" lvl="0" indent="0" algn="l" defTabSz="914400" rtl="0" eaLnBrk="1" fontAlgn="auto" latinLnBrk="0" hangingPunct="1">
              <a:lnSpc>
                <a:spcPct val="100000"/>
              </a:lnSpc>
              <a:spcBef>
                <a:spcPts val="1200"/>
              </a:spcBef>
              <a:spcAft>
                <a:spcPts val="0"/>
              </a:spcAft>
              <a:buClr>
                <a:srgbClr val="FF9E16"/>
              </a:buClr>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The industries most comprehensive dataset into HCP behaviors </a:t>
            </a:r>
          </a:p>
          <a:p>
            <a:pPr marL="0" marR="0" lvl="0" indent="0" algn="l" defTabSz="914400" rtl="0" eaLnBrk="1" fontAlgn="auto" latinLnBrk="0" hangingPunct="1">
              <a:lnSpc>
                <a:spcPct val="100000"/>
              </a:lnSpc>
              <a:spcBef>
                <a:spcPts val="1200"/>
              </a:spcBef>
              <a:spcAft>
                <a:spcPts val="0"/>
              </a:spcAft>
              <a:buClr>
                <a:srgbClr val="FF9E16"/>
              </a:buClr>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3%+ of global HCP interactions is managed by one of our platforms </a:t>
            </a:r>
          </a:p>
          <a:p>
            <a:pPr marL="0" marR="0" lvl="0" indent="0" algn="l" defTabSz="914400" rtl="0" eaLnBrk="1" fontAlgn="auto" latinLnBrk="0" hangingPunct="1">
              <a:lnSpc>
                <a:spcPct val="100000"/>
              </a:lnSpc>
              <a:spcBef>
                <a:spcPts val="1200"/>
              </a:spcBef>
              <a:spcAft>
                <a:spcPts val="0"/>
              </a:spcAft>
              <a:buClr>
                <a:srgbClr val="FF9E16"/>
              </a:buClr>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Provides in-depth industry insights into HCP engagement allowing you to monitor engagement trends and compare yourselves against tailored competitor benchmarks </a:t>
            </a:r>
          </a:p>
        </p:txBody>
      </p:sp>
      <p:sp>
        <p:nvSpPr>
          <p:cNvPr id="11" name="Rectangle 10">
            <a:extLst>
              <a:ext uri="{FF2B5EF4-FFF2-40B4-BE49-F238E27FC236}">
                <a16:creationId xmlns:a16="http://schemas.microsoft.com/office/drawing/2014/main" id="{D4D0EB44-4930-5C49-8C48-EE85B4199AC1}"/>
              </a:ext>
            </a:extLst>
          </p:cNvPr>
          <p:cNvSpPr/>
          <p:nvPr/>
        </p:nvSpPr>
        <p:spPr>
          <a:xfrm flipV="1">
            <a:off x="0" y="1248067"/>
            <a:ext cx="249078" cy="31452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E8B334BC-0830-9440-825C-2DA792454666}"/>
              </a:ext>
            </a:extLst>
          </p:cNvPr>
          <p:cNvSpPr/>
          <p:nvPr/>
        </p:nvSpPr>
        <p:spPr>
          <a:xfrm>
            <a:off x="3536581" y="2416635"/>
            <a:ext cx="3686515" cy="41531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970954C0-3F98-2147-8B40-B411449957F2}"/>
              </a:ext>
            </a:extLst>
          </p:cNvPr>
          <p:cNvSpPr/>
          <p:nvPr/>
        </p:nvSpPr>
        <p:spPr>
          <a:xfrm>
            <a:off x="341540" y="4553538"/>
            <a:ext cx="2425480" cy="1577355"/>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
                <a:srgbClr val="FF9E16"/>
              </a:buClr>
              <a:buSzTx/>
              <a:buFontTx/>
              <a:buNone/>
              <a:tabLst/>
              <a:defRPr/>
            </a:pPr>
            <a:r>
              <a:rPr kumimoji="0" lang="en-US" sz="1400" b="0" i="0" u="none" strike="noStrike" kern="1200" cap="none" spc="0" normalizeH="0" baseline="0" noProof="0">
                <a:ln>
                  <a:noFill/>
                </a:ln>
                <a:effectLst/>
                <a:uLnTx/>
                <a:uFillTx/>
                <a:latin typeface="Calibri" panose="020F0502020204030204" pitchFamily="34" charset="0"/>
                <a:cs typeface="Calibri" panose="020F0502020204030204" pitchFamily="34" charset="0"/>
              </a:rPr>
              <a:t>Attributes include:</a:t>
            </a:r>
          </a:p>
          <a:p>
            <a:pPr marL="171450" marR="0" lvl="0" indent="-171450" algn="l" defTabSz="914400" rtl="0" eaLnBrk="1" fontAlgn="auto" latinLnBrk="0" hangingPunct="1">
              <a:lnSpc>
                <a:spcPct val="100000"/>
              </a:lnSpc>
              <a:spcBef>
                <a:spcPts val="300"/>
              </a:spcBef>
              <a:spcAft>
                <a:spcPts val="0"/>
              </a:spcAft>
              <a:buClr>
                <a:srgbClr val="000000"/>
              </a:buClr>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panose="020F0502020204030204" pitchFamily="34" charset="0"/>
                <a:cs typeface="Calibri" panose="020F0502020204030204" pitchFamily="34" charset="0"/>
              </a:rPr>
              <a:t>Approved Emails Sent</a:t>
            </a:r>
          </a:p>
          <a:p>
            <a:pPr marL="171450" marR="0" lvl="0" indent="-171450" algn="l" defTabSz="914400" rtl="0" eaLnBrk="1" fontAlgn="auto" latinLnBrk="0" hangingPunct="1">
              <a:lnSpc>
                <a:spcPct val="100000"/>
              </a:lnSpc>
              <a:spcBef>
                <a:spcPts val="300"/>
              </a:spcBef>
              <a:spcAft>
                <a:spcPts val="0"/>
              </a:spcAft>
              <a:buClr>
                <a:srgbClr val="000000"/>
              </a:buClr>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panose="020F0502020204030204" pitchFamily="34" charset="0"/>
                <a:cs typeface="Calibri" panose="020F0502020204030204" pitchFamily="34" charset="0"/>
              </a:rPr>
              <a:t>Approved Email Open Rate</a:t>
            </a:r>
          </a:p>
          <a:p>
            <a:pPr marL="171450" marR="0" lvl="0" indent="-171450" algn="l" defTabSz="914400" rtl="0" eaLnBrk="1" fontAlgn="auto" latinLnBrk="0" hangingPunct="1">
              <a:lnSpc>
                <a:spcPct val="100000"/>
              </a:lnSpc>
              <a:spcBef>
                <a:spcPts val="300"/>
              </a:spcBef>
              <a:spcAft>
                <a:spcPts val="0"/>
              </a:spcAft>
              <a:buClr>
                <a:srgbClr val="000000"/>
              </a:buClr>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panose="020F0502020204030204" pitchFamily="34" charset="0"/>
                <a:cs typeface="Calibri" panose="020F0502020204030204" pitchFamily="34" charset="0"/>
              </a:rPr>
              <a:t>Engage Meetings Submitted</a:t>
            </a:r>
          </a:p>
          <a:p>
            <a:pPr marL="171450" marR="0" lvl="0" indent="-171450" algn="l" defTabSz="914400" rtl="0" eaLnBrk="1" fontAlgn="auto" latinLnBrk="0" hangingPunct="1">
              <a:lnSpc>
                <a:spcPct val="100000"/>
              </a:lnSpc>
              <a:spcBef>
                <a:spcPts val="300"/>
              </a:spcBef>
              <a:spcAft>
                <a:spcPts val="0"/>
              </a:spcAft>
              <a:buClr>
                <a:srgbClr val="000000"/>
              </a:buClr>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panose="020F0502020204030204" pitchFamily="34" charset="0"/>
                <a:cs typeface="Calibri" panose="020F0502020204030204" pitchFamily="34" charset="0"/>
              </a:rPr>
              <a:t>Engage Meetings Duration</a:t>
            </a:r>
          </a:p>
          <a:p>
            <a:pPr marL="171450" marR="0" lvl="0" indent="-171450" algn="l" defTabSz="914400" rtl="0" eaLnBrk="1" fontAlgn="auto" latinLnBrk="0" hangingPunct="1">
              <a:lnSpc>
                <a:spcPct val="100000"/>
              </a:lnSpc>
              <a:spcBef>
                <a:spcPts val="300"/>
              </a:spcBef>
              <a:spcAft>
                <a:spcPts val="0"/>
              </a:spcAft>
              <a:buClr>
                <a:srgbClr val="000000"/>
              </a:buClr>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panose="020F0502020204030204" pitchFamily="34" charset="0"/>
                <a:cs typeface="Calibri" panose="020F0502020204030204" pitchFamily="34" charset="0"/>
              </a:rPr>
              <a:t>Face to Face/Calls Held</a:t>
            </a:r>
          </a:p>
        </p:txBody>
      </p:sp>
      <p:grpSp>
        <p:nvGrpSpPr>
          <p:cNvPr id="14" name="Group 13">
            <a:extLst>
              <a:ext uri="{FF2B5EF4-FFF2-40B4-BE49-F238E27FC236}">
                <a16:creationId xmlns:a16="http://schemas.microsoft.com/office/drawing/2014/main" id="{A958504B-6A19-354C-88E6-445B6E5F69B5}"/>
              </a:ext>
            </a:extLst>
          </p:cNvPr>
          <p:cNvGrpSpPr>
            <a:grpSpLocks noChangeAspect="1"/>
          </p:cNvGrpSpPr>
          <p:nvPr/>
        </p:nvGrpSpPr>
        <p:grpSpPr bwMode="auto">
          <a:xfrm>
            <a:off x="249075" y="271831"/>
            <a:ext cx="2811672" cy="652151"/>
            <a:chOff x="0" y="1492"/>
            <a:chExt cx="5760" cy="1336"/>
          </a:xfrm>
          <a:solidFill>
            <a:schemeClr val="tx2"/>
          </a:solidFill>
        </p:grpSpPr>
        <p:sp>
          <p:nvSpPr>
            <p:cNvPr id="15" name="Freeform 14">
              <a:extLst>
                <a:ext uri="{FF2B5EF4-FFF2-40B4-BE49-F238E27FC236}">
                  <a16:creationId xmlns:a16="http://schemas.microsoft.com/office/drawing/2014/main" id="{0C4F599B-6E6D-5B4C-A5DB-E69948D05693}"/>
                </a:ext>
              </a:extLst>
            </p:cNvPr>
            <p:cNvSpPr>
              <a:spLocks/>
            </p:cNvSpPr>
            <p:nvPr userDrawn="1"/>
          </p:nvSpPr>
          <p:spPr bwMode="auto">
            <a:xfrm>
              <a:off x="3518" y="1664"/>
              <a:ext cx="1165" cy="1164"/>
            </a:xfrm>
            <a:custGeom>
              <a:avLst/>
              <a:gdLst>
                <a:gd name="T0" fmla="*/ 265 w 265"/>
                <a:gd name="T1" fmla="*/ 0 h 264"/>
                <a:gd name="T2" fmla="*/ 215 w 265"/>
                <a:gd name="T3" fmla="*/ 0 h 264"/>
                <a:gd name="T4" fmla="*/ 132 w 265"/>
                <a:gd name="T5" fmla="*/ 166 h 264"/>
                <a:gd name="T6" fmla="*/ 49 w 265"/>
                <a:gd name="T7" fmla="*/ 0 h 264"/>
                <a:gd name="T8" fmla="*/ 0 w 265"/>
                <a:gd name="T9" fmla="*/ 0 h 264"/>
                <a:gd name="T10" fmla="*/ 132 w 265"/>
                <a:gd name="T11" fmla="*/ 264 h 264"/>
                <a:gd name="T12" fmla="*/ 265 w 265"/>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265" h="264">
                  <a:moveTo>
                    <a:pt x="265" y="0"/>
                  </a:moveTo>
                  <a:cubicBezTo>
                    <a:pt x="215" y="0"/>
                    <a:pt x="215" y="0"/>
                    <a:pt x="215" y="0"/>
                  </a:cubicBezTo>
                  <a:cubicBezTo>
                    <a:pt x="132" y="166"/>
                    <a:pt x="132" y="166"/>
                    <a:pt x="132" y="166"/>
                  </a:cubicBezTo>
                  <a:cubicBezTo>
                    <a:pt x="49" y="0"/>
                    <a:pt x="49" y="0"/>
                    <a:pt x="49" y="0"/>
                  </a:cubicBezTo>
                  <a:cubicBezTo>
                    <a:pt x="0" y="0"/>
                    <a:pt x="0" y="0"/>
                    <a:pt x="0" y="0"/>
                  </a:cubicBezTo>
                  <a:cubicBezTo>
                    <a:pt x="53" y="104"/>
                    <a:pt x="132" y="264"/>
                    <a:pt x="132" y="264"/>
                  </a:cubicBezTo>
                  <a:lnTo>
                    <a:pt x="26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6" name="Freeform 15">
              <a:extLst>
                <a:ext uri="{FF2B5EF4-FFF2-40B4-BE49-F238E27FC236}">
                  <a16:creationId xmlns:a16="http://schemas.microsoft.com/office/drawing/2014/main" id="{B35E5DD8-5A97-CA41-ADF3-10CACDB31BA4}"/>
                </a:ext>
              </a:extLst>
            </p:cNvPr>
            <p:cNvSpPr>
              <a:spLocks noEditPoints="1"/>
            </p:cNvSpPr>
            <p:nvPr userDrawn="1"/>
          </p:nvSpPr>
          <p:spPr bwMode="auto">
            <a:xfrm>
              <a:off x="2440" y="1651"/>
              <a:ext cx="1130" cy="1137"/>
            </a:xfrm>
            <a:custGeom>
              <a:avLst/>
              <a:gdLst>
                <a:gd name="T0" fmla="*/ 128 w 257"/>
                <a:gd name="T1" fmla="*/ 42 h 258"/>
                <a:gd name="T2" fmla="*/ 213 w 257"/>
                <a:gd name="T3" fmla="*/ 108 h 258"/>
                <a:gd name="T4" fmla="*/ 44 w 257"/>
                <a:gd name="T5" fmla="*/ 108 h 258"/>
                <a:gd name="T6" fmla="*/ 128 w 257"/>
                <a:gd name="T7" fmla="*/ 42 h 258"/>
                <a:gd name="T8" fmla="*/ 128 w 257"/>
                <a:gd name="T9" fmla="*/ 216 h 258"/>
                <a:gd name="T10" fmla="*/ 44 w 257"/>
                <a:gd name="T11" fmla="*/ 150 h 258"/>
                <a:gd name="T12" fmla="*/ 257 w 257"/>
                <a:gd name="T13" fmla="*/ 150 h 258"/>
                <a:gd name="T14" fmla="*/ 257 w 257"/>
                <a:gd name="T15" fmla="*/ 129 h 258"/>
                <a:gd name="T16" fmla="*/ 128 w 257"/>
                <a:gd name="T17" fmla="*/ 0 h 258"/>
                <a:gd name="T18" fmla="*/ 0 w 257"/>
                <a:gd name="T19" fmla="*/ 129 h 258"/>
                <a:gd name="T20" fmla="*/ 128 w 257"/>
                <a:gd name="T21" fmla="*/ 258 h 258"/>
                <a:gd name="T22" fmla="*/ 243 w 257"/>
                <a:gd name="T23" fmla="*/ 189 h 258"/>
                <a:gd name="T24" fmla="*/ 191 w 257"/>
                <a:gd name="T25" fmla="*/ 189 h 258"/>
                <a:gd name="T26" fmla="*/ 128 w 257"/>
                <a:gd name="T27"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258">
                  <a:moveTo>
                    <a:pt x="128" y="42"/>
                  </a:moveTo>
                  <a:cubicBezTo>
                    <a:pt x="169" y="42"/>
                    <a:pt x="204" y="70"/>
                    <a:pt x="213" y="108"/>
                  </a:cubicBezTo>
                  <a:cubicBezTo>
                    <a:pt x="44" y="108"/>
                    <a:pt x="44" y="108"/>
                    <a:pt x="44" y="108"/>
                  </a:cubicBezTo>
                  <a:cubicBezTo>
                    <a:pt x="53" y="70"/>
                    <a:pt x="88" y="42"/>
                    <a:pt x="128" y="42"/>
                  </a:cubicBezTo>
                  <a:moveTo>
                    <a:pt x="128" y="216"/>
                  </a:moveTo>
                  <a:cubicBezTo>
                    <a:pt x="88" y="216"/>
                    <a:pt x="53" y="188"/>
                    <a:pt x="44" y="150"/>
                  </a:cubicBezTo>
                  <a:cubicBezTo>
                    <a:pt x="257" y="150"/>
                    <a:pt x="257" y="150"/>
                    <a:pt x="257" y="150"/>
                  </a:cubicBezTo>
                  <a:cubicBezTo>
                    <a:pt x="257" y="129"/>
                    <a:pt x="257" y="129"/>
                    <a:pt x="257" y="129"/>
                  </a:cubicBezTo>
                  <a:cubicBezTo>
                    <a:pt x="257" y="58"/>
                    <a:pt x="200" y="0"/>
                    <a:pt x="128" y="0"/>
                  </a:cubicBezTo>
                  <a:cubicBezTo>
                    <a:pt x="57" y="0"/>
                    <a:pt x="0" y="58"/>
                    <a:pt x="0" y="129"/>
                  </a:cubicBezTo>
                  <a:cubicBezTo>
                    <a:pt x="0" y="200"/>
                    <a:pt x="57" y="258"/>
                    <a:pt x="128" y="258"/>
                  </a:cubicBezTo>
                  <a:cubicBezTo>
                    <a:pt x="177" y="258"/>
                    <a:pt x="221" y="231"/>
                    <a:pt x="243" y="189"/>
                  </a:cubicBezTo>
                  <a:cubicBezTo>
                    <a:pt x="191" y="189"/>
                    <a:pt x="191" y="189"/>
                    <a:pt x="191" y="189"/>
                  </a:cubicBezTo>
                  <a:cubicBezTo>
                    <a:pt x="175" y="206"/>
                    <a:pt x="153" y="216"/>
                    <a:pt x="128" y="216"/>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7" name="Freeform 16">
              <a:extLst>
                <a:ext uri="{FF2B5EF4-FFF2-40B4-BE49-F238E27FC236}">
                  <a16:creationId xmlns:a16="http://schemas.microsoft.com/office/drawing/2014/main" id="{42FBA1DA-C794-444E-924C-E4023BDD7B5B}"/>
                </a:ext>
              </a:extLst>
            </p:cNvPr>
            <p:cNvSpPr>
              <a:spLocks noEditPoints="1"/>
            </p:cNvSpPr>
            <p:nvPr userDrawn="1"/>
          </p:nvSpPr>
          <p:spPr bwMode="auto">
            <a:xfrm>
              <a:off x="4626" y="1655"/>
              <a:ext cx="1134" cy="1138"/>
            </a:xfrm>
            <a:custGeom>
              <a:avLst/>
              <a:gdLst>
                <a:gd name="T0" fmla="*/ 129 w 258"/>
                <a:gd name="T1" fmla="*/ 216 h 258"/>
                <a:gd name="T2" fmla="*/ 42 w 258"/>
                <a:gd name="T3" fmla="*/ 129 h 258"/>
                <a:gd name="T4" fmla="*/ 129 w 258"/>
                <a:gd name="T5" fmla="*/ 42 h 258"/>
                <a:gd name="T6" fmla="*/ 216 w 258"/>
                <a:gd name="T7" fmla="*/ 128 h 258"/>
                <a:gd name="T8" fmla="*/ 216 w 258"/>
                <a:gd name="T9" fmla="*/ 131 h 258"/>
                <a:gd name="T10" fmla="*/ 129 w 258"/>
                <a:gd name="T11" fmla="*/ 216 h 258"/>
                <a:gd name="T12" fmla="*/ 258 w 258"/>
                <a:gd name="T13" fmla="*/ 129 h 258"/>
                <a:gd name="T14" fmla="*/ 258 w 258"/>
                <a:gd name="T15" fmla="*/ 128 h 258"/>
                <a:gd name="T16" fmla="*/ 258 w 258"/>
                <a:gd name="T17" fmla="*/ 3 h 258"/>
                <a:gd name="T18" fmla="*/ 216 w 258"/>
                <a:gd name="T19" fmla="*/ 3 h 258"/>
                <a:gd name="T20" fmla="*/ 216 w 258"/>
                <a:gd name="T21" fmla="*/ 34 h 258"/>
                <a:gd name="T22" fmla="*/ 129 w 258"/>
                <a:gd name="T23" fmla="*/ 0 h 258"/>
                <a:gd name="T24" fmla="*/ 0 w 258"/>
                <a:gd name="T25" fmla="*/ 129 h 258"/>
                <a:gd name="T26" fmla="*/ 129 w 258"/>
                <a:gd name="T27" fmla="*/ 258 h 258"/>
                <a:gd name="T28" fmla="*/ 216 w 258"/>
                <a:gd name="T29" fmla="*/ 224 h 258"/>
                <a:gd name="T30" fmla="*/ 216 w 258"/>
                <a:gd name="T31" fmla="*/ 256 h 258"/>
                <a:gd name="T32" fmla="*/ 258 w 258"/>
                <a:gd name="T33" fmla="*/ 256 h 258"/>
                <a:gd name="T34" fmla="*/ 258 w 258"/>
                <a:gd name="T35" fmla="*/ 131 h 258"/>
                <a:gd name="T36" fmla="*/ 258 w 258"/>
                <a:gd name="T37" fmla="*/ 12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8" h="258">
                  <a:moveTo>
                    <a:pt x="129" y="216"/>
                  </a:moveTo>
                  <a:cubicBezTo>
                    <a:pt x="81" y="216"/>
                    <a:pt x="42" y="177"/>
                    <a:pt x="42" y="129"/>
                  </a:cubicBezTo>
                  <a:cubicBezTo>
                    <a:pt x="42" y="81"/>
                    <a:pt x="81" y="42"/>
                    <a:pt x="129" y="42"/>
                  </a:cubicBezTo>
                  <a:cubicBezTo>
                    <a:pt x="176" y="42"/>
                    <a:pt x="215" y="80"/>
                    <a:pt x="216" y="128"/>
                  </a:cubicBezTo>
                  <a:cubicBezTo>
                    <a:pt x="216" y="131"/>
                    <a:pt x="216" y="131"/>
                    <a:pt x="216" y="131"/>
                  </a:cubicBezTo>
                  <a:cubicBezTo>
                    <a:pt x="215" y="178"/>
                    <a:pt x="176" y="216"/>
                    <a:pt x="129" y="216"/>
                  </a:cubicBezTo>
                  <a:moveTo>
                    <a:pt x="258" y="129"/>
                  </a:moveTo>
                  <a:cubicBezTo>
                    <a:pt x="258" y="129"/>
                    <a:pt x="258" y="128"/>
                    <a:pt x="258" y="128"/>
                  </a:cubicBezTo>
                  <a:cubicBezTo>
                    <a:pt x="258" y="3"/>
                    <a:pt x="258" y="3"/>
                    <a:pt x="258" y="3"/>
                  </a:cubicBezTo>
                  <a:cubicBezTo>
                    <a:pt x="216" y="3"/>
                    <a:pt x="216" y="3"/>
                    <a:pt x="216" y="3"/>
                  </a:cubicBezTo>
                  <a:cubicBezTo>
                    <a:pt x="216" y="34"/>
                    <a:pt x="216" y="34"/>
                    <a:pt x="216" y="34"/>
                  </a:cubicBezTo>
                  <a:cubicBezTo>
                    <a:pt x="193" y="13"/>
                    <a:pt x="162" y="0"/>
                    <a:pt x="129" y="0"/>
                  </a:cubicBezTo>
                  <a:cubicBezTo>
                    <a:pt x="58" y="0"/>
                    <a:pt x="0" y="58"/>
                    <a:pt x="0" y="129"/>
                  </a:cubicBezTo>
                  <a:cubicBezTo>
                    <a:pt x="0" y="200"/>
                    <a:pt x="58" y="258"/>
                    <a:pt x="129" y="258"/>
                  </a:cubicBezTo>
                  <a:cubicBezTo>
                    <a:pt x="162" y="258"/>
                    <a:pt x="193" y="245"/>
                    <a:pt x="216" y="224"/>
                  </a:cubicBezTo>
                  <a:cubicBezTo>
                    <a:pt x="216" y="256"/>
                    <a:pt x="216" y="256"/>
                    <a:pt x="216" y="256"/>
                  </a:cubicBezTo>
                  <a:cubicBezTo>
                    <a:pt x="258" y="256"/>
                    <a:pt x="258" y="256"/>
                    <a:pt x="258" y="256"/>
                  </a:cubicBezTo>
                  <a:cubicBezTo>
                    <a:pt x="258" y="131"/>
                    <a:pt x="258" y="131"/>
                    <a:pt x="258" y="131"/>
                  </a:cubicBezTo>
                  <a:cubicBezTo>
                    <a:pt x="258" y="130"/>
                    <a:pt x="258" y="130"/>
                    <a:pt x="258" y="12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CB3FD900-30CC-524A-8BF9-95DA9A343332}"/>
                </a:ext>
              </a:extLst>
            </p:cNvPr>
            <p:cNvSpPr>
              <a:spLocks noEditPoints="1"/>
            </p:cNvSpPr>
            <p:nvPr userDrawn="1"/>
          </p:nvSpPr>
          <p:spPr bwMode="auto">
            <a:xfrm>
              <a:off x="1183" y="1651"/>
              <a:ext cx="1130" cy="1137"/>
            </a:xfrm>
            <a:custGeom>
              <a:avLst/>
              <a:gdLst>
                <a:gd name="T0" fmla="*/ 129 w 257"/>
                <a:gd name="T1" fmla="*/ 42 h 258"/>
                <a:gd name="T2" fmla="*/ 213 w 257"/>
                <a:gd name="T3" fmla="*/ 108 h 258"/>
                <a:gd name="T4" fmla="*/ 44 w 257"/>
                <a:gd name="T5" fmla="*/ 108 h 258"/>
                <a:gd name="T6" fmla="*/ 129 w 257"/>
                <a:gd name="T7" fmla="*/ 42 h 258"/>
                <a:gd name="T8" fmla="*/ 129 w 257"/>
                <a:gd name="T9" fmla="*/ 216 h 258"/>
                <a:gd name="T10" fmla="*/ 44 w 257"/>
                <a:gd name="T11" fmla="*/ 150 h 258"/>
                <a:gd name="T12" fmla="*/ 257 w 257"/>
                <a:gd name="T13" fmla="*/ 150 h 258"/>
                <a:gd name="T14" fmla="*/ 257 w 257"/>
                <a:gd name="T15" fmla="*/ 129 h 258"/>
                <a:gd name="T16" fmla="*/ 129 w 257"/>
                <a:gd name="T17" fmla="*/ 0 h 258"/>
                <a:gd name="T18" fmla="*/ 0 w 257"/>
                <a:gd name="T19" fmla="*/ 129 h 258"/>
                <a:gd name="T20" fmla="*/ 129 w 257"/>
                <a:gd name="T21" fmla="*/ 258 h 258"/>
                <a:gd name="T22" fmla="*/ 243 w 257"/>
                <a:gd name="T23" fmla="*/ 189 h 258"/>
                <a:gd name="T24" fmla="*/ 191 w 257"/>
                <a:gd name="T25" fmla="*/ 189 h 258"/>
                <a:gd name="T26" fmla="*/ 129 w 257"/>
                <a:gd name="T27"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258">
                  <a:moveTo>
                    <a:pt x="129" y="42"/>
                  </a:moveTo>
                  <a:cubicBezTo>
                    <a:pt x="169" y="42"/>
                    <a:pt x="204" y="70"/>
                    <a:pt x="213" y="108"/>
                  </a:cubicBezTo>
                  <a:cubicBezTo>
                    <a:pt x="44" y="108"/>
                    <a:pt x="44" y="108"/>
                    <a:pt x="44" y="108"/>
                  </a:cubicBezTo>
                  <a:cubicBezTo>
                    <a:pt x="53" y="70"/>
                    <a:pt x="88" y="42"/>
                    <a:pt x="129" y="42"/>
                  </a:cubicBezTo>
                  <a:moveTo>
                    <a:pt x="129" y="216"/>
                  </a:moveTo>
                  <a:cubicBezTo>
                    <a:pt x="88" y="216"/>
                    <a:pt x="53" y="188"/>
                    <a:pt x="44" y="150"/>
                  </a:cubicBezTo>
                  <a:cubicBezTo>
                    <a:pt x="257" y="150"/>
                    <a:pt x="257" y="150"/>
                    <a:pt x="257" y="150"/>
                  </a:cubicBezTo>
                  <a:cubicBezTo>
                    <a:pt x="257" y="129"/>
                    <a:pt x="257" y="129"/>
                    <a:pt x="257" y="129"/>
                  </a:cubicBezTo>
                  <a:cubicBezTo>
                    <a:pt x="257" y="58"/>
                    <a:pt x="200" y="0"/>
                    <a:pt x="129" y="0"/>
                  </a:cubicBezTo>
                  <a:cubicBezTo>
                    <a:pt x="57" y="0"/>
                    <a:pt x="0" y="58"/>
                    <a:pt x="0" y="129"/>
                  </a:cubicBezTo>
                  <a:cubicBezTo>
                    <a:pt x="0" y="200"/>
                    <a:pt x="57" y="258"/>
                    <a:pt x="129" y="258"/>
                  </a:cubicBezTo>
                  <a:cubicBezTo>
                    <a:pt x="177" y="258"/>
                    <a:pt x="221" y="231"/>
                    <a:pt x="243" y="189"/>
                  </a:cubicBezTo>
                  <a:cubicBezTo>
                    <a:pt x="191" y="189"/>
                    <a:pt x="191" y="189"/>
                    <a:pt x="191" y="189"/>
                  </a:cubicBezTo>
                  <a:cubicBezTo>
                    <a:pt x="175" y="206"/>
                    <a:pt x="153" y="216"/>
                    <a:pt x="129" y="216"/>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8B5BF078-1402-4743-A745-68D9251A1DDD}"/>
                </a:ext>
              </a:extLst>
            </p:cNvPr>
            <p:cNvSpPr>
              <a:spLocks/>
            </p:cNvSpPr>
            <p:nvPr userDrawn="1"/>
          </p:nvSpPr>
          <p:spPr bwMode="auto">
            <a:xfrm>
              <a:off x="0" y="1492"/>
              <a:ext cx="1315" cy="1336"/>
            </a:xfrm>
            <a:custGeom>
              <a:avLst/>
              <a:gdLst>
                <a:gd name="T0" fmla="*/ 0 w 1315"/>
                <a:gd name="T1" fmla="*/ 0 h 1336"/>
                <a:gd name="T2" fmla="*/ 229 w 1315"/>
                <a:gd name="T3" fmla="*/ 0 h 1336"/>
                <a:gd name="T4" fmla="*/ 659 w 1315"/>
                <a:gd name="T5" fmla="*/ 873 h 1336"/>
                <a:gd name="T6" fmla="*/ 1090 w 1315"/>
                <a:gd name="T7" fmla="*/ 0 h 1336"/>
                <a:gd name="T8" fmla="*/ 1315 w 1315"/>
                <a:gd name="T9" fmla="*/ 0 h 1336"/>
                <a:gd name="T10" fmla="*/ 659 w 1315"/>
                <a:gd name="T11" fmla="*/ 1336 h 1336"/>
                <a:gd name="T12" fmla="*/ 0 w 131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315" h="1336">
                  <a:moveTo>
                    <a:pt x="0" y="0"/>
                  </a:moveTo>
                  <a:lnTo>
                    <a:pt x="229" y="0"/>
                  </a:lnTo>
                  <a:lnTo>
                    <a:pt x="659" y="873"/>
                  </a:lnTo>
                  <a:lnTo>
                    <a:pt x="1090" y="0"/>
                  </a:lnTo>
                  <a:lnTo>
                    <a:pt x="1315" y="0"/>
                  </a:lnTo>
                  <a:lnTo>
                    <a:pt x="659" y="133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782BA573-C127-C647-94DA-596418D02898}"/>
                </a:ext>
              </a:extLst>
            </p:cNvPr>
            <p:cNvSpPr>
              <a:spLocks/>
            </p:cNvSpPr>
            <p:nvPr userDrawn="1"/>
          </p:nvSpPr>
          <p:spPr bwMode="auto">
            <a:xfrm>
              <a:off x="360" y="1492"/>
              <a:ext cx="594" cy="595"/>
            </a:xfrm>
            <a:custGeom>
              <a:avLst/>
              <a:gdLst>
                <a:gd name="T0" fmla="*/ 0 w 135"/>
                <a:gd name="T1" fmla="*/ 0 h 135"/>
                <a:gd name="T2" fmla="*/ 68 w 135"/>
                <a:gd name="T3" fmla="*/ 135 h 135"/>
                <a:gd name="T4" fmla="*/ 135 w 135"/>
                <a:gd name="T5" fmla="*/ 0 h 135"/>
                <a:gd name="T6" fmla="*/ 0 w 135"/>
                <a:gd name="T7" fmla="*/ 0 h 135"/>
              </a:gdLst>
              <a:ahLst/>
              <a:cxnLst>
                <a:cxn ang="0">
                  <a:pos x="T0" y="T1"/>
                </a:cxn>
                <a:cxn ang="0">
                  <a:pos x="T2" y="T3"/>
                </a:cxn>
                <a:cxn ang="0">
                  <a:pos x="T4" y="T5"/>
                </a:cxn>
                <a:cxn ang="0">
                  <a:pos x="T6" y="T7"/>
                </a:cxn>
              </a:cxnLst>
              <a:rect l="0" t="0" r="r" b="b"/>
              <a:pathLst>
                <a:path w="135" h="135">
                  <a:moveTo>
                    <a:pt x="0" y="0"/>
                  </a:moveTo>
                  <a:cubicBezTo>
                    <a:pt x="68" y="135"/>
                    <a:pt x="68" y="135"/>
                    <a:pt x="68" y="135"/>
                  </a:cubicBezTo>
                  <a:cubicBezTo>
                    <a:pt x="135" y="0"/>
                    <a:pt x="135" y="0"/>
                    <a:pt x="135" y="0"/>
                  </a:cubicBezTo>
                  <a:cubicBezTo>
                    <a:pt x="135" y="0"/>
                    <a:pt x="0" y="0"/>
                    <a:pt x="0"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grpSp>
      <p:sp>
        <p:nvSpPr>
          <p:cNvPr id="21" name="Title 1">
            <a:extLst>
              <a:ext uri="{FF2B5EF4-FFF2-40B4-BE49-F238E27FC236}">
                <a16:creationId xmlns:a16="http://schemas.microsoft.com/office/drawing/2014/main" id="{0275279E-C62C-E545-8C67-15D13DF77B27}"/>
              </a:ext>
            </a:extLst>
          </p:cNvPr>
          <p:cNvSpPr txBox="1">
            <a:spLocks/>
          </p:cNvSpPr>
          <p:nvPr/>
        </p:nvSpPr>
        <p:spPr>
          <a:xfrm>
            <a:off x="3127043" y="242336"/>
            <a:ext cx="6342626" cy="784761"/>
          </a:xfrm>
          <a:prstGeom prst="rect">
            <a:avLst/>
          </a:prstGeom>
        </p:spPr>
        <p:txBody>
          <a:bodyPr/>
          <a:lstStyle>
            <a:lvl1pPr algn="ctr" defTabSz="914400" rtl="0" eaLnBrk="1" latinLnBrk="0" hangingPunct="1">
              <a:lnSpc>
                <a:spcPct val="70000"/>
              </a:lnSpc>
              <a:spcBef>
                <a:spcPct val="0"/>
              </a:spcBef>
              <a:buNone/>
              <a:defRPr sz="4000" kern="1200">
                <a:solidFill>
                  <a:schemeClr val="tx2"/>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8000" b="0" i="0" u="none" strike="noStrike" kern="1200" cap="none" spc="0" normalizeH="0" baseline="0" noProof="0">
                <a:ln>
                  <a:noFill/>
                </a:ln>
                <a:solidFill>
                  <a:srgbClr val="000000"/>
                </a:solidFill>
                <a:effectLst/>
                <a:uLnTx/>
                <a:uFillTx/>
                <a:latin typeface="Calibri" panose="020F0502020204030204" pitchFamily="34" charset="0"/>
                <a:ea typeface="Roboto Light" panose="02000000000000000000" pitchFamily="2" charset="0"/>
                <a:cs typeface="Calibri" panose="020F0502020204030204" pitchFamily="34" charset="0"/>
              </a:rPr>
              <a:t>Pulse</a:t>
            </a:r>
          </a:p>
        </p:txBody>
      </p:sp>
      <p:sp>
        <p:nvSpPr>
          <p:cNvPr id="9" name="TextBox 8">
            <a:extLst>
              <a:ext uri="{FF2B5EF4-FFF2-40B4-BE49-F238E27FC236}">
                <a16:creationId xmlns:a16="http://schemas.microsoft.com/office/drawing/2014/main" id="{2FA8DDBD-A12A-5E47-911E-4F5F8400AD99}"/>
              </a:ext>
            </a:extLst>
          </p:cNvPr>
          <p:cNvSpPr txBox="1"/>
          <p:nvPr/>
        </p:nvSpPr>
        <p:spPr>
          <a:xfrm>
            <a:off x="3641651" y="2607380"/>
            <a:ext cx="3122555" cy="319446"/>
          </a:xfrm>
          <a:prstGeom prst="rect">
            <a:avLst/>
          </a:prstGeom>
          <a:noFill/>
        </p:spPr>
        <p:txBody>
          <a:bodyPr wrap="squar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KEY FEATURES:</a:t>
            </a:r>
          </a:p>
        </p:txBody>
      </p:sp>
      <p:sp>
        <p:nvSpPr>
          <p:cNvPr id="10" name="TextBox 9">
            <a:extLst>
              <a:ext uri="{FF2B5EF4-FFF2-40B4-BE49-F238E27FC236}">
                <a16:creationId xmlns:a16="http://schemas.microsoft.com/office/drawing/2014/main" id="{BFCBC578-C354-9444-98FA-E7038C299531}"/>
              </a:ext>
            </a:extLst>
          </p:cNvPr>
          <p:cNvSpPr txBox="1"/>
          <p:nvPr/>
        </p:nvSpPr>
        <p:spPr>
          <a:xfrm>
            <a:off x="3607988" y="3020446"/>
            <a:ext cx="3494639" cy="2878865"/>
          </a:xfrm>
          <a:prstGeom prst="rect">
            <a:avLst/>
          </a:prstGeom>
          <a:noFill/>
        </p:spPr>
        <p:txBody>
          <a:bodyPr wrap="square" rtlCol="0">
            <a:spAutoFit/>
          </a:bodyPr>
          <a:lstStyle/>
          <a:p>
            <a:pPr marL="102870" marR="0" lvl="0" indent="-285750" algn="l" defTabSz="914400" rtl="0" eaLnBrk="1" fontAlgn="auto" latinLnBrk="0" hangingPunct="1">
              <a:lnSpc>
                <a:spcPct val="80000"/>
              </a:lnSpc>
              <a:spcBef>
                <a:spcPts val="1200"/>
              </a:spcBef>
              <a:spcAft>
                <a:spcPts val="0"/>
              </a:spcAft>
              <a:buClr>
                <a:srgbClr val="FFFFFF"/>
              </a:buClr>
              <a:buSzTx/>
              <a:buFont typeface="Wingdings" pitchFamily="2" charset="2"/>
              <a:buChar char="ü"/>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Benchmarks against tailored peer groups</a:t>
            </a:r>
          </a:p>
          <a:p>
            <a:pPr marL="102870" marR="0" lvl="0" indent="-285750" algn="l" defTabSz="914400" rtl="0" eaLnBrk="1" fontAlgn="auto" latinLnBrk="0" hangingPunct="1">
              <a:lnSpc>
                <a:spcPct val="80000"/>
              </a:lnSpc>
              <a:spcBef>
                <a:spcPts val="1200"/>
              </a:spcBef>
              <a:spcAft>
                <a:spcPts val="0"/>
              </a:spcAft>
              <a:buClr>
                <a:srgbClr val="FFFFFF"/>
              </a:buClr>
              <a:buSzTx/>
              <a:buFont typeface="Wingdings" pitchFamily="2" charset="2"/>
              <a:buChar char="ü"/>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Share of Voice tracking</a:t>
            </a:r>
          </a:p>
          <a:p>
            <a:pPr marL="102870" marR="0" lvl="0" indent="-285750" algn="l" defTabSz="914400" rtl="0" eaLnBrk="1" fontAlgn="auto" latinLnBrk="0" hangingPunct="1">
              <a:lnSpc>
                <a:spcPct val="80000"/>
              </a:lnSpc>
              <a:spcBef>
                <a:spcPts val="1200"/>
              </a:spcBef>
              <a:spcAft>
                <a:spcPts val="0"/>
              </a:spcAft>
              <a:buClr>
                <a:srgbClr val="FFFFFF"/>
              </a:buClr>
              <a:buSzTx/>
              <a:buFont typeface="Wingdings" pitchFamily="2" charset="2"/>
              <a:buChar char="ü"/>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Therapy Area breakdown</a:t>
            </a:r>
          </a:p>
          <a:p>
            <a:pPr marL="102870" marR="0" lvl="0" indent="-285750" algn="l" defTabSz="914400" rtl="0" eaLnBrk="1" fontAlgn="auto" latinLnBrk="0" hangingPunct="1">
              <a:lnSpc>
                <a:spcPct val="80000"/>
              </a:lnSpc>
              <a:spcBef>
                <a:spcPts val="1200"/>
              </a:spcBef>
              <a:spcAft>
                <a:spcPts val="0"/>
              </a:spcAft>
              <a:buClr>
                <a:srgbClr val="FFFFFF"/>
              </a:buClr>
              <a:buSzTx/>
              <a:buFont typeface="Wingdings" pitchFamily="2" charset="2"/>
              <a:buChar char="ü"/>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Best in class vs. Industry average </a:t>
            </a:r>
          </a:p>
          <a:p>
            <a:pPr marL="102870" marR="0" lvl="0" indent="-285750" algn="l" defTabSz="914400" rtl="0" eaLnBrk="1" fontAlgn="auto" latinLnBrk="0" hangingPunct="1">
              <a:lnSpc>
                <a:spcPct val="80000"/>
              </a:lnSpc>
              <a:spcBef>
                <a:spcPts val="1200"/>
              </a:spcBef>
              <a:spcAft>
                <a:spcPts val="0"/>
              </a:spcAft>
              <a:buClr>
                <a:srgbClr val="FFFFFF"/>
              </a:buClr>
              <a:buSzTx/>
              <a:buFont typeface="Wingdings" pitchFamily="2" charset="2"/>
              <a:buChar char="ü"/>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Bespoke design </a:t>
            </a:r>
          </a:p>
          <a:p>
            <a:pPr marL="102870" marR="0" lvl="0" indent="-285750" algn="l" defTabSz="914400" rtl="0" eaLnBrk="1" fontAlgn="auto" latinLnBrk="0" hangingPunct="1">
              <a:lnSpc>
                <a:spcPct val="80000"/>
              </a:lnSpc>
              <a:spcBef>
                <a:spcPts val="1200"/>
              </a:spcBef>
              <a:spcAft>
                <a:spcPts val="0"/>
              </a:spcAft>
              <a:buClr>
                <a:srgbClr val="FFFFFF"/>
              </a:buClr>
              <a:buSzTx/>
              <a:buFont typeface="Wingdings" pitchFamily="2" charset="2"/>
              <a:buChar char="ü"/>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Consulting Analysis</a:t>
            </a:r>
          </a:p>
          <a:p>
            <a:pPr marL="102870" marR="0" lvl="0" indent="-285750" algn="l" defTabSz="914400" rtl="0" eaLnBrk="1" fontAlgn="auto" latinLnBrk="0" hangingPunct="1">
              <a:lnSpc>
                <a:spcPct val="80000"/>
              </a:lnSpc>
              <a:spcBef>
                <a:spcPts val="1200"/>
              </a:spcBef>
              <a:spcAft>
                <a:spcPts val="0"/>
              </a:spcAft>
              <a:buClr>
                <a:srgbClr val="FFFFFF"/>
              </a:buClr>
              <a:buSzTx/>
              <a:buFont typeface="Wingdings" pitchFamily="2" charset="2"/>
              <a:buChar char="ü"/>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Monthly Reporting</a:t>
            </a:r>
          </a:p>
          <a:p>
            <a:pPr marL="102870" marR="0" lvl="0" indent="-285750" algn="l" defTabSz="914400" rtl="0" eaLnBrk="1" fontAlgn="auto" latinLnBrk="0" hangingPunct="1">
              <a:lnSpc>
                <a:spcPct val="80000"/>
              </a:lnSpc>
              <a:spcBef>
                <a:spcPts val="1200"/>
              </a:spcBef>
              <a:spcAft>
                <a:spcPts val="0"/>
              </a:spcAft>
              <a:buClr>
                <a:srgbClr val="FFFFFF"/>
              </a:buClr>
              <a:buSzTx/>
              <a:buFont typeface="Wingdings" pitchFamily="2" charset="2"/>
              <a:buChar char="ü"/>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On-going updates and enhancements</a:t>
            </a:r>
          </a:p>
          <a:p>
            <a:pPr marL="102870" marR="0" lvl="0" indent="-285750" algn="l" defTabSz="914400" rtl="0" eaLnBrk="1" fontAlgn="auto" latinLnBrk="0" hangingPunct="1">
              <a:lnSpc>
                <a:spcPct val="80000"/>
              </a:lnSpc>
              <a:spcBef>
                <a:spcPts val="1200"/>
              </a:spcBef>
              <a:spcAft>
                <a:spcPts val="0"/>
              </a:spcAft>
              <a:buClr>
                <a:srgbClr val="FFFFFF"/>
              </a:buClr>
              <a:buSzTx/>
              <a:buFont typeface="Wingdings" pitchFamily="2" charset="2"/>
              <a:buChar char="ü"/>
              <a:tabLst/>
              <a:defRPr/>
            </a:pPr>
            <a:endParaRPr kumimoji="0" lang="en-US" sz="14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pic>
        <p:nvPicPr>
          <p:cNvPr id="22" name="Picture 21">
            <a:extLst>
              <a:ext uri="{FF2B5EF4-FFF2-40B4-BE49-F238E27FC236}">
                <a16:creationId xmlns:a16="http://schemas.microsoft.com/office/drawing/2014/main" id="{CE66FC53-DC53-3248-8BEE-D9889FDF0887}"/>
              </a:ext>
            </a:extLst>
          </p:cNvPr>
          <p:cNvPicPr>
            <a:picLocks noChangeAspect="1"/>
          </p:cNvPicPr>
          <p:nvPr/>
        </p:nvPicPr>
        <p:blipFill>
          <a:blip r:embed="rId3"/>
          <a:stretch>
            <a:fillRect/>
          </a:stretch>
        </p:blipFill>
        <p:spPr>
          <a:xfrm>
            <a:off x="7328166" y="281740"/>
            <a:ext cx="2264631" cy="3271134"/>
          </a:xfrm>
          <a:prstGeom prst="rect">
            <a:avLst/>
          </a:prstGeom>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5A8BD029-8776-5448-948E-5642B566EE3E}"/>
              </a:ext>
            </a:extLst>
          </p:cNvPr>
          <p:cNvPicPr>
            <a:picLocks noChangeAspect="1"/>
          </p:cNvPicPr>
          <p:nvPr/>
        </p:nvPicPr>
        <p:blipFill>
          <a:blip r:embed="rId4"/>
          <a:stretch>
            <a:fillRect/>
          </a:stretch>
        </p:blipFill>
        <p:spPr>
          <a:xfrm>
            <a:off x="9375490" y="1567355"/>
            <a:ext cx="2474970" cy="3574957"/>
          </a:xfrm>
          <a:prstGeom prst="rect">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F76B83D1-26D9-E141-8567-C33C70B02B05}"/>
              </a:ext>
            </a:extLst>
          </p:cNvPr>
          <p:cNvPicPr>
            <a:picLocks noChangeAspect="1"/>
          </p:cNvPicPr>
          <p:nvPr/>
        </p:nvPicPr>
        <p:blipFill>
          <a:blip r:embed="rId5"/>
          <a:stretch>
            <a:fillRect/>
          </a:stretch>
        </p:blipFill>
        <p:spPr>
          <a:xfrm>
            <a:off x="7636180" y="2873199"/>
            <a:ext cx="2474970" cy="357495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6395171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174CB1-3547-9D48-BDCC-FDB551830A1C}"/>
              </a:ext>
            </a:extLst>
          </p:cNvPr>
          <p:cNvSpPr>
            <a:spLocks noGrp="1"/>
          </p:cNvSpPr>
          <p:nvPr>
            <p:ph type="title"/>
          </p:nvPr>
        </p:nvSpPr>
        <p:spPr>
          <a:xfrm>
            <a:off x="279410" y="2327787"/>
            <a:ext cx="3278299" cy="1101213"/>
          </a:xfrm>
        </p:spPr>
        <p:txBody>
          <a:bodyPr/>
          <a:lstStyle/>
          <a:p>
            <a:r>
              <a:rPr lang="en-US"/>
              <a:t>Our proposed work is based on following key assumptions</a:t>
            </a:r>
          </a:p>
        </p:txBody>
      </p:sp>
      <p:sp>
        <p:nvSpPr>
          <p:cNvPr id="5" name="TextBox 4">
            <a:extLst>
              <a:ext uri="{FF2B5EF4-FFF2-40B4-BE49-F238E27FC236}">
                <a16:creationId xmlns:a16="http://schemas.microsoft.com/office/drawing/2014/main" id="{C19DA7CB-8237-B446-A611-7ABFDEA7D56D}"/>
              </a:ext>
            </a:extLst>
          </p:cNvPr>
          <p:cNvSpPr txBox="1"/>
          <p:nvPr/>
        </p:nvSpPr>
        <p:spPr>
          <a:xfrm>
            <a:off x="4049485" y="1081152"/>
            <a:ext cx="7863105" cy="4449808"/>
          </a:xfrm>
          <a:prstGeom prst="rect">
            <a:avLst/>
          </a:prstGeom>
          <a:noFill/>
        </p:spPr>
        <p:txBody>
          <a:bodyPr wrap="square" rtlCol="0" anchor="ctr">
            <a:noAutofit/>
          </a:bodyPr>
          <a:lstStyle/>
          <a:p>
            <a:pPr marL="184150" marR="0" indent="-184150" algn="l" defTabSz="914400" rtl="0" eaLnBrk="1" fontAlgn="auto" latinLnBrk="0" hangingPunct="1">
              <a:spcBef>
                <a:spcPts val="1200"/>
              </a:spcBef>
              <a:spcAft>
                <a:spcPts val="0"/>
              </a:spcAft>
              <a:buClr>
                <a:schemeClr val="tx2"/>
              </a:buClr>
              <a:buSzTx/>
              <a:buFont typeface="Arial" panose="020B0604020202020204" pitchFamily="34" charset="0"/>
              <a:buChar char="•"/>
            </a:pPr>
            <a:r>
              <a:rPr lang="en-US" sz="1600"/>
              <a:t>Work completed so far is ready to be shared and includes:</a:t>
            </a:r>
          </a:p>
          <a:p>
            <a:pPr marL="630238" indent="-279400">
              <a:spcBef>
                <a:spcPts val="1200"/>
              </a:spcBef>
              <a:buClr>
                <a:schemeClr val="tx2"/>
              </a:buClr>
              <a:buFont typeface="Arial" panose="020B0604020202020204" pitchFamily="34" charset="0"/>
              <a:buChar char="•"/>
            </a:pPr>
            <a:r>
              <a:rPr lang="en-US" sz="1400"/>
              <a:t>Attitudinal customer segmentation</a:t>
            </a:r>
          </a:p>
          <a:p>
            <a:pPr marL="630238" indent="-279400">
              <a:spcBef>
                <a:spcPts val="1200"/>
              </a:spcBef>
              <a:buClr>
                <a:schemeClr val="tx2"/>
              </a:buClr>
              <a:buFont typeface="Arial" panose="020B0604020202020204" pitchFamily="34" charset="0"/>
              <a:buChar char="•"/>
            </a:pPr>
            <a:r>
              <a:rPr lang="en-US" sz="1400"/>
              <a:t>Customer prioritization </a:t>
            </a:r>
          </a:p>
          <a:p>
            <a:pPr marL="630238" indent="-279400">
              <a:spcBef>
                <a:spcPts val="1200"/>
              </a:spcBef>
              <a:buClr>
                <a:schemeClr val="tx2"/>
              </a:buClr>
              <a:buFont typeface="Arial" panose="020B0604020202020204" pitchFamily="34" charset="0"/>
              <a:buChar char="•"/>
            </a:pPr>
            <a:r>
              <a:rPr lang="en-US" sz="1400"/>
              <a:t>Channel volume definition and different engagement frameworks </a:t>
            </a:r>
          </a:p>
          <a:p>
            <a:pPr marL="630238" indent="-279400">
              <a:spcBef>
                <a:spcPts val="1200"/>
              </a:spcBef>
              <a:buClr>
                <a:schemeClr val="tx2"/>
              </a:buClr>
              <a:buFont typeface="Arial" panose="020B0604020202020204" pitchFamily="34" charset="0"/>
              <a:buChar char="•"/>
            </a:pPr>
            <a:r>
              <a:rPr lang="en-US" sz="1400"/>
              <a:t>Field force structure and territory allocation</a:t>
            </a:r>
          </a:p>
          <a:p>
            <a:pPr marL="630238" indent="-279400">
              <a:spcBef>
                <a:spcPts val="1200"/>
              </a:spcBef>
              <a:buClr>
                <a:schemeClr val="tx2"/>
              </a:buClr>
              <a:buFont typeface="Arial" panose="020B0604020202020204" pitchFamily="34" charset="0"/>
              <a:buChar char="•"/>
            </a:pPr>
            <a:r>
              <a:rPr lang="en-US" sz="1400"/>
              <a:t>Competency frameworks for sales (Elite Performance)</a:t>
            </a:r>
          </a:p>
          <a:p>
            <a:pPr marL="184150" marR="0" indent="-184150" algn="l" defTabSz="914400" rtl="0" eaLnBrk="1" fontAlgn="auto" latinLnBrk="0" hangingPunct="1">
              <a:spcBef>
                <a:spcPts val="1200"/>
              </a:spcBef>
              <a:spcAft>
                <a:spcPts val="0"/>
              </a:spcAft>
              <a:buClr>
                <a:schemeClr val="tx2"/>
              </a:buClr>
              <a:buSzTx/>
              <a:buFont typeface="Arial" panose="020B0604020202020204" pitchFamily="34" charset="0"/>
              <a:buChar char="•"/>
            </a:pPr>
            <a:r>
              <a:rPr lang="en-US" sz="1600"/>
              <a:t>Galapagos will proactively share any other ongoing or completed work that should be taken into consideration to define the Customer Engagement models</a:t>
            </a:r>
          </a:p>
          <a:p>
            <a:pPr marL="184150" marR="0" indent="-184150" algn="l" defTabSz="914400" rtl="0" eaLnBrk="1" fontAlgn="auto" latinLnBrk="0" hangingPunct="1">
              <a:spcBef>
                <a:spcPts val="1200"/>
              </a:spcBef>
              <a:spcAft>
                <a:spcPts val="0"/>
              </a:spcAft>
              <a:buClr>
                <a:schemeClr val="tx2"/>
              </a:buClr>
              <a:buSzTx/>
              <a:buFont typeface="Arial" panose="020B0604020202020204" pitchFamily="34" charset="0"/>
              <a:buChar char="•"/>
            </a:pPr>
            <a:r>
              <a:rPr lang="en-US" sz="1600"/>
              <a:t>Veeva will get input from the markets to refine the 2 market archetypes </a:t>
            </a:r>
          </a:p>
          <a:p>
            <a:pPr marL="184150" marR="0" indent="-184150" algn="l" defTabSz="914400" rtl="0" eaLnBrk="1" fontAlgn="auto" latinLnBrk="0" hangingPunct="1">
              <a:spcBef>
                <a:spcPts val="1200"/>
              </a:spcBef>
              <a:spcAft>
                <a:spcPts val="0"/>
              </a:spcAft>
              <a:buClr>
                <a:schemeClr val="tx2"/>
              </a:buClr>
              <a:buSzTx/>
              <a:buFont typeface="Arial" panose="020B0604020202020204" pitchFamily="34" charset="0"/>
              <a:buChar char="•"/>
            </a:pPr>
            <a:r>
              <a:rPr lang="en-US" sz="1600"/>
              <a:t>There is a local contact on point for the pilots with an estimated time commitment of 50% </a:t>
            </a:r>
          </a:p>
          <a:p>
            <a:pPr marL="184150" marR="0" indent="-184150" algn="l" defTabSz="914400" rtl="0" eaLnBrk="1" fontAlgn="auto" latinLnBrk="0" hangingPunct="1">
              <a:spcBef>
                <a:spcPts val="1200"/>
              </a:spcBef>
              <a:spcAft>
                <a:spcPts val="0"/>
              </a:spcAft>
              <a:buClr>
                <a:schemeClr val="tx2"/>
              </a:buClr>
              <a:buSzTx/>
              <a:buFont typeface="Arial" panose="020B0604020202020204" pitchFamily="34" charset="0"/>
              <a:buChar char="•"/>
            </a:pPr>
            <a:r>
              <a:rPr lang="en-US" sz="1600"/>
              <a:t>Focus is on sales reps for now, but we should capture any opportunities for collaboration with medical field force </a:t>
            </a:r>
          </a:p>
          <a:p>
            <a:pPr marL="184150" indent="-184150">
              <a:spcBef>
                <a:spcPts val="1200"/>
              </a:spcBef>
              <a:buClr>
                <a:schemeClr val="tx2"/>
              </a:buClr>
              <a:buFont typeface="Arial" panose="020B0604020202020204" pitchFamily="34" charset="0"/>
              <a:buChar char="•"/>
            </a:pPr>
            <a:r>
              <a:rPr lang="en-US" sz="1600"/>
              <a:t>MCCP and </a:t>
            </a:r>
            <a:r>
              <a:rPr lang="en-GB" sz="1600"/>
              <a:t>sales choreography / objection handling guidance </a:t>
            </a:r>
            <a:r>
              <a:rPr lang="en-US" sz="1600"/>
              <a:t>for </a:t>
            </a:r>
            <a:r>
              <a:rPr lang="en-US" sz="1600" err="1"/>
              <a:t>Jyseleca</a:t>
            </a:r>
            <a:r>
              <a:rPr lang="en-US" sz="1600"/>
              <a:t> is available and can be shared</a:t>
            </a:r>
            <a:endParaRPr lang="en-GB" sz="1600"/>
          </a:p>
          <a:p>
            <a:pPr marL="184150" indent="-184150">
              <a:spcBef>
                <a:spcPts val="1200"/>
              </a:spcBef>
              <a:buClr>
                <a:schemeClr val="tx2"/>
              </a:buClr>
              <a:buFont typeface="Arial" panose="020B0604020202020204" pitchFamily="34" charset="0"/>
              <a:buChar char="•"/>
            </a:pPr>
            <a:r>
              <a:rPr lang="en-GB" sz="1600"/>
              <a:t>Timelines for field force readiness are clear (hiring, training, etc. across markets)</a:t>
            </a:r>
          </a:p>
          <a:p>
            <a:pPr marL="184150" indent="-184150">
              <a:spcBef>
                <a:spcPts val="1200"/>
              </a:spcBef>
              <a:buClr>
                <a:schemeClr val="tx2"/>
              </a:buClr>
              <a:buFont typeface="Arial" panose="020B0604020202020204" pitchFamily="34" charset="0"/>
              <a:buChar char="•"/>
            </a:pPr>
            <a:r>
              <a:rPr lang="en-GB" sz="1600"/>
              <a:t>Sales reps hired at least for the pilot markets</a:t>
            </a:r>
            <a:endParaRPr lang="en-US" sz="1600"/>
          </a:p>
        </p:txBody>
      </p:sp>
    </p:spTree>
    <p:extLst>
      <p:ext uri="{BB962C8B-B14F-4D97-AF65-F5344CB8AC3E}">
        <p14:creationId xmlns:p14="http://schemas.microsoft.com/office/powerpoint/2010/main" val="307188289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FD804-A5B5-5E40-903F-C807E5B7979C}"/>
              </a:ext>
            </a:extLst>
          </p:cNvPr>
          <p:cNvSpPr>
            <a:spLocks noGrp="1"/>
          </p:cNvSpPr>
          <p:nvPr>
            <p:ph type="title"/>
          </p:nvPr>
        </p:nvSpPr>
        <p:spPr/>
        <p:txBody>
          <a:bodyPr vert="horz" lIns="91440" tIns="45720" rIns="91440" bIns="45720" rtlCol="0" anchor="ctr" anchorCtr="0">
            <a:noAutofit/>
          </a:bodyPr>
          <a:lstStyle/>
          <a:p>
            <a:r>
              <a:rPr lang="en-US" sz="3600">
                <a:latin typeface="Calibri"/>
                <a:cs typeface="Calibri"/>
              </a:rPr>
              <a:t>Table of </a:t>
            </a:r>
            <a:r>
              <a:rPr lang="en-US">
                <a:latin typeface="Calibri"/>
                <a:cs typeface="Calibri"/>
              </a:rPr>
              <a:t>contents </a:t>
            </a:r>
            <a:endParaRPr lang="en-US" sz="3600">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E63846A2-97D5-A74B-8D41-58AF367343B6}"/>
              </a:ext>
            </a:extLst>
          </p:cNvPr>
          <p:cNvSpPr/>
          <p:nvPr/>
        </p:nvSpPr>
        <p:spPr>
          <a:xfrm>
            <a:off x="2882977" y="1351499"/>
            <a:ext cx="7750346" cy="85534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a:defRPr/>
            </a:pPr>
            <a:r>
              <a:rPr lang="en-US">
                <a:solidFill>
                  <a:schemeClr val="bg2">
                    <a:lumMod val="90000"/>
                  </a:schemeClr>
                </a:solidFill>
                <a:cs typeface="Calibri"/>
              </a:rPr>
              <a:t>Galapagos Context &amp; Customer Engagement Challenge</a:t>
            </a:r>
          </a:p>
        </p:txBody>
      </p:sp>
      <p:sp>
        <p:nvSpPr>
          <p:cNvPr id="20" name="Rectangle 19">
            <a:extLst>
              <a:ext uri="{FF2B5EF4-FFF2-40B4-BE49-F238E27FC236}">
                <a16:creationId xmlns:a16="http://schemas.microsoft.com/office/drawing/2014/main" id="{66303206-DBF6-9844-8EA7-E0E0782D5346}"/>
              </a:ext>
            </a:extLst>
          </p:cNvPr>
          <p:cNvSpPr/>
          <p:nvPr/>
        </p:nvSpPr>
        <p:spPr>
          <a:xfrm>
            <a:off x="2882977" y="2290546"/>
            <a:ext cx="7750344" cy="86439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a:defRPr/>
            </a:pPr>
            <a:r>
              <a:rPr lang="en-US">
                <a:solidFill>
                  <a:schemeClr val="bg2">
                    <a:lumMod val="90000"/>
                  </a:schemeClr>
                </a:solidFill>
                <a:cs typeface="Calibri"/>
              </a:rPr>
              <a:t>Our Point of View </a:t>
            </a:r>
          </a:p>
        </p:txBody>
      </p:sp>
      <p:sp>
        <p:nvSpPr>
          <p:cNvPr id="21" name="Rectangle 20">
            <a:extLst>
              <a:ext uri="{FF2B5EF4-FFF2-40B4-BE49-F238E27FC236}">
                <a16:creationId xmlns:a16="http://schemas.microsoft.com/office/drawing/2014/main" id="{E5EE434B-77A8-5746-8CD8-743B52A9D667}"/>
              </a:ext>
            </a:extLst>
          </p:cNvPr>
          <p:cNvSpPr/>
          <p:nvPr/>
        </p:nvSpPr>
        <p:spPr>
          <a:xfrm>
            <a:off x="2882977" y="3217210"/>
            <a:ext cx="7750344" cy="864399"/>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2">
                    <a:lumMod val="90000"/>
                  </a:schemeClr>
                </a:solidFill>
                <a:effectLst/>
                <a:uLnTx/>
                <a:uFillTx/>
                <a:latin typeface="Calibri" panose="020F0502020204030204" pitchFamily="34" charset="0"/>
                <a:cs typeface="Calibri" panose="020F0502020204030204" pitchFamily="34" charset="0"/>
              </a:rPr>
              <a:t>Proposed Solution &amp; Approach</a:t>
            </a:r>
          </a:p>
        </p:txBody>
      </p:sp>
      <p:sp>
        <p:nvSpPr>
          <p:cNvPr id="22" name="Rectangle 21">
            <a:extLst>
              <a:ext uri="{FF2B5EF4-FFF2-40B4-BE49-F238E27FC236}">
                <a16:creationId xmlns:a16="http://schemas.microsoft.com/office/drawing/2014/main" id="{F934385D-7FAF-664F-BC1C-D3DD8532802F}"/>
              </a:ext>
            </a:extLst>
          </p:cNvPr>
          <p:cNvSpPr/>
          <p:nvPr/>
        </p:nvSpPr>
        <p:spPr>
          <a:xfrm>
            <a:off x="2882977" y="4181556"/>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rPr>
              <a:t>Team, Price and Why Veeva</a:t>
            </a:r>
          </a:p>
        </p:txBody>
      </p:sp>
      <p:sp>
        <p:nvSpPr>
          <p:cNvPr id="5" name="AutoShape 22">
            <a:extLst>
              <a:ext uri="{FF2B5EF4-FFF2-40B4-BE49-F238E27FC236}">
                <a16:creationId xmlns:a16="http://schemas.microsoft.com/office/drawing/2014/main" id="{04529597-5F11-B640-9474-D9A15358386C}"/>
              </a:ext>
            </a:extLst>
          </p:cNvPr>
          <p:cNvSpPr>
            <a:spLocks noChangeAspect="1" noChangeArrowheads="1" noTextEdit="1"/>
          </p:cNvSpPr>
          <p:nvPr/>
        </p:nvSpPr>
        <p:spPr bwMode="auto">
          <a:xfrm>
            <a:off x="1739333" y="1254162"/>
            <a:ext cx="1980550" cy="3636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6" name="Freeform 24">
            <a:extLst>
              <a:ext uri="{FF2B5EF4-FFF2-40B4-BE49-F238E27FC236}">
                <a16:creationId xmlns:a16="http://schemas.microsoft.com/office/drawing/2014/main" id="{0FDB15C5-99F2-3749-BD24-AFAF8C3EFA20}"/>
              </a:ext>
            </a:extLst>
          </p:cNvPr>
          <p:cNvSpPr>
            <a:spLocks/>
          </p:cNvSpPr>
          <p:nvPr/>
        </p:nvSpPr>
        <p:spPr bwMode="auto">
          <a:xfrm>
            <a:off x="1957054" y="1350735"/>
            <a:ext cx="1172040" cy="863153"/>
          </a:xfrm>
          <a:custGeom>
            <a:avLst/>
            <a:gdLst>
              <a:gd name="T0" fmla="*/ 4210 w 4210"/>
              <a:gd name="T1" fmla="*/ 414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2 h 831"/>
              <a:gd name="T24" fmla="*/ 4210 w 4210"/>
              <a:gd name="T25" fmla="*/ 414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4"/>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2"/>
                </a:lnTo>
                <a:lnTo>
                  <a:pt x="4210" y="41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7" name="Freeform 25">
            <a:extLst>
              <a:ext uri="{FF2B5EF4-FFF2-40B4-BE49-F238E27FC236}">
                <a16:creationId xmlns:a16="http://schemas.microsoft.com/office/drawing/2014/main" id="{CC534512-0C4F-5841-AF6C-06CADF5F3A09}"/>
              </a:ext>
            </a:extLst>
          </p:cNvPr>
          <p:cNvSpPr>
            <a:spLocks/>
          </p:cNvSpPr>
          <p:nvPr/>
        </p:nvSpPr>
        <p:spPr bwMode="auto">
          <a:xfrm>
            <a:off x="1957054" y="2291789"/>
            <a:ext cx="1172040" cy="863153"/>
          </a:xfrm>
          <a:custGeom>
            <a:avLst/>
            <a:gdLst>
              <a:gd name="T0" fmla="*/ 4210 w 4210"/>
              <a:gd name="T1" fmla="*/ 417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3 h 831"/>
              <a:gd name="T24" fmla="*/ 4210 w 4210"/>
              <a:gd name="T25" fmla="*/ 4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7"/>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3"/>
                </a:lnTo>
                <a:lnTo>
                  <a:pt x="4210" y="417"/>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8" name="Freeform 26">
            <a:extLst>
              <a:ext uri="{FF2B5EF4-FFF2-40B4-BE49-F238E27FC236}">
                <a16:creationId xmlns:a16="http://schemas.microsoft.com/office/drawing/2014/main" id="{D3EA815F-0FCA-1A44-B168-14BEEFF1B62C}"/>
              </a:ext>
            </a:extLst>
          </p:cNvPr>
          <p:cNvSpPr>
            <a:spLocks/>
          </p:cNvSpPr>
          <p:nvPr/>
        </p:nvSpPr>
        <p:spPr bwMode="auto">
          <a:xfrm>
            <a:off x="1957054" y="3220326"/>
            <a:ext cx="1172040" cy="866270"/>
          </a:xfrm>
          <a:custGeom>
            <a:avLst/>
            <a:gdLst>
              <a:gd name="T0" fmla="*/ 4210 w 4210"/>
              <a:gd name="T1" fmla="*/ 417 h 834"/>
              <a:gd name="T2" fmla="*/ 4039 w 4210"/>
              <a:gd name="T3" fmla="*/ 209 h 834"/>
              <a:gd name="T4" fmla="*/ 3868 w 4210"/>
              <a:gd name="T5" fmla="*/ 0 h 834"/>
              <a:gd name="T6" fmla="*/ 3868 w 4210"/>
              <a:gd name="T7" fmla="*/ 0 h 834"/>
              <a:gd name="T8" fmla="*/ 0 w 4210"/>
              <a:gd name="T9" fmla="*/ 0 h 834"/>
              <a:gd name="T10" fmla="*/ 0 w 4210"/>
              <a:gd name="T11" fmla="*/ 834 h 834"/>
              <a:gd name="T12" fmla="*/ 3868 w 4210"/>
              <a:gd name="T13" fmla="*/ 834 h 834"/>
              <a:gd name="T14" fmla="*/ 3868 w 4210"/>
              <a:gd name="T15" fmla="*/ 834 h 834"/>
              <a:gd name="T16" fmla="*/ 3868 w 4210"/>
              <a:gd name="T17" fmla="*/ 834 h 834"/>
              <a:gd name="T18" fmla="*/ 3868 w 4210"/>
              <a:gd name="T19" fmla="*/ 834 h 834"/>
              <a:gd name="T20" fmla="*/ 3868 w 4210"/>
              <a:gd name="T21" fmla="*/ 834 h 834"/>
              <a:gd name="T22" fmla="*/ 4039 w 4210"/>
              <a:gd name="T23" fmla="*/ 626 h 834"/>
              <a:gd name="T24" fmla="*/ 4210 w 4210"/>
              <a:gd name="T25" fmla="*/ 417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4">
                <a:moveTo>
                  <a:pt x="4210" y="417"/>
                </a:moveTo>
                <a:lnTo>
                  <a:pt x="4039" y="209"/>
                </a:lnTo>
                <a:lnTo>
                  <a:pt x="3868" y="0"/>
                </a:lnTo>
                <a:lnTo>
                  <a:pt x="3868" y="0"/>
                </a:lnTo>
                <a:lnTo>
                  <a:pt x="0" y="0"/>
                </a:lnTo>
                <a:lnTo>
                  <a:pt x="0" y="834"/>
                </a:lnTo>
                <a:lnTo>
                  <a:pt x="3868" y="834"/>
                </a:lnTo>
                <a:lnTo>
                  <a:pt x="3868" y="834"/>
                </a:lnTo>
                <a:lnTo>
                  <a:pt x="3868" y="834"/>
                </a:lnTo>
                <a:lnTo>
                  <a:pt x="3868" y="834"/>
                </a:lnTo>
                <a:lnTo>
                  <a:pt x="3868" y="834"/>
                </a:lnTo>
                <a:lnTo>
                  <a:pt x="4039" y="626"/>
                </a:lnTo>
                <a:lnTo>
                  <a:pt x="4210" y="417"/>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9" name="Freeform 27">
            <a:extLst>
              <a:ext uri="{FF2B5EF4-FFF2-40B4-BE49-F238E27FC236}">
                <a16:creationId xmlns:a16="http://schemas.microsoft.com/office/drawing/2014/main" id="{D20D892A-B6A5-7748-867B-DEADF13B6495}"/>
              </a:ext>
            </a:extLst>
          </p:cNvPr>
          <p:cNvSpPr>
            <a:spLocks/>
          </p:cNvSpPr>
          <p:nvPr/>
        </p:nvSpPr>
        <p:spPr bwMode="auto">
          <a:xfrm>
            <a:off x="1957054" y="4184671"/>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0" name="Freeform 28">
            <a:extLst>
              <a:ext uri="{FF2B5EF4-FFF2-40B4-BE49-F238E27FC236}">
                <a16:creationId xmlns:a16="http://schemas.microsoft.com/office/drawing/2014/main" id="{E322C452-69E3-284D-9C6B-2F4256929077}"/>
              </a:ext>
            </a:extLst>
          </p:cNvPr>
          <p:cNvSpPr>
            <a:spLocks/>
          </p:cNvSpPr>
          <p:nvPr/>
        </p:nvSpPr>
        <p:spPr bwMode="auto">
          <a:xfrm>
            <a:off x="1558676" y="1350735"/>
            <a:ext cx="398378" cy="1107246"/>
          </a:xfrm>
          <a:custGeom>
            <a:avLst/>
            <a:gdLst>
              <a:gd name="T0" fmla="*/ 372 w 372"/>
              <a:gd name="T1" fmla="*/ 0 h 1066"/>
              <a:gd name="T2" fmla="*/ 0 w 372"/>
              <a:gd name="T3" fmla="*/ 467 h 1066"/>
              <a:gd name="T4" fmla="*/ 0 w 372"/>
              <a:gd name="T5" fmla="*/ 1066 h 1066"/>
              <a:gd name="T6" fmla="*/ 372 w 372"/>
              <a:gd name="T7" fmla="*/ 831 h 1066"/>
              <a:gd name="T8" fmla="*/ 372 w 372"/>
              <a:gd name="T9" fmla="*/ 0 h 1066"/>
            </a:gdLst>
            <a:ahLst/>
            <a:cxnLst>
              <a:cxn ang="0">
                <a:pos x="T0" y="T1"/>
              </a:cxn>
              <a:cxn ang="0">
                <a:pos x="T2" y="T3"/>
              </a:cxn>
              <a:cxn ang="0">
                <a:pos x="T4" y="T5"/>
              </a:cxn>
              <a:cxn ang="0">
                <a:pos x="T6" y="T7"/>
              </a:cxn>
              <a:cxn ang="0">
                <a:pos x="T8" y="T9"/>
              </a:cxn>
            </a:cxnLst>
            <a:rect l="0" t="0" r="r" b="b"/>
            <a:pathLst>
              <a:path w="372" h="1066">
                <a:moveTo>
                  <a:pt x="372" y="0"/>
                </a:moveTo>
                <a:lnTo>
                  <a:pt x="0" y="467"/>
                </a:lnTo>
                <a:lnTo>
                  <a:pt x="0" y="1066"/>
                </a:lnTo>
                <a:lnTo>
                  <a:pt x="372" y="831"/>
                </a:lnTo>
                <a:lnTo>
                  <a:pt x="372" y="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1" name="Freeform 29">
            <a:extLst>
              <a:ext uri="{FF2B5EF4-FFF2-40B4-BE49-F238E27FC236}">
                <a16:creationId xmlns:a16="http://schemas.microsoft.com/office/drawing/2014/main" id="{184218E9-72EA-2C4D-B9C7-63DEF814D3D0}"/>
              </a:ext>
            </a:extLst>
          </p:cNvPr>
          <p:cNvSpPr>
            <a:spLocks/>
          </p:cNvSpPr>
          <p:nvPr/>
        </p:nvSpPr>
        <p:spPr bwMode="auto">
          <a:xfrm>
            <a:off x="1558676" y="2291789"/>
            <a:ext cx="398378" cy="863153"/>
          </a:xfrm>
          <a:custGeom>
            <a:avLst/>
            <a:gdLst>
              <a:gd name="T0" fmla="*/ 372 w 372"/>
              <a:gd name="T1" fmla="*/ 831 h 831"/>
              <a:gd name="T2" fmla="*/ 0 w 372"/>
              <a:gd name="T3" fmla="*/ 831 h 831"/>
              <a:gd name="T4" fmla="*/ 0 w 372"/>
              <a:gd name="T5" fmla="*/ 235 h 831"/>
              <a:gd name="T6" fmla="*/ 372 w 372"/>
              <a:gd name="T7" fmla="*/ 0 h 831"/>
              <a:gd name="T8" fmla="*/ 372 w 372"/>
              <a:gd name="T9" fmla="*/ 831 h 831"/>
            </a:gdLst>
            <a:ahLst/>
            <a:cxnLst>
              <a:cxn ang="0">
                <a:pos x="T0" y="T1"/>
              </a:cxn>
              <a:cxn ang="0">
                <a:pos x="T2" y="T3"/>
              </a:cxn>
              <a:cxn ang="0">
                <a:pos x="T4" y="T5"/>
              </a:cxn>
              <a:cxn ang="0">
                <a:pos x="T6" y="T7"/>
              </a:cxn>
              <a:cxn ang="0">
                <a:pos x="T8" y="T9"/>
              </a:cxn>
            </a:cxnLst>
            <a:rect l="0" t="0" r="r" b="b"/>
            <a:pathLst>
              <a:path w="372" h="831">
                <a:moveTo>
                  <a:pt x="372" y="831"/>
                </a:moveTo>
                <a:lnTo>
                  <a:pt x="0" y="831"/>
                </a:lnTo>
                <a:lnTo>
                  <a:pt x="0" y="235"/>
                </a:lnTo>
                <a:lnTo>
                  <a:pt x="372" y="0"/>
                </a:lnTo>
                <a:lnTo>
                  <a:pt x="372" y="831"/>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2" name="Freeform 30">
            <a:extLst>
              <a:ext uri="{FF2B5EF4-FFF2-40B4-BE49-F238E27FC236}">
                <a16:creationId xmlns:a16="http://schemas.microsoft.com/office/drawing/2014/main" id="{B565CEB0-005E-4141-B3D7-7158E42BD4BB}"/>
              </a:ext>
            </a:extLst>
          </p:cNvPr>
          <p:cNvSpPr>
            <a:spLocks/>
          </p:cNvSpPr>
          <p:nvPr/>
        </p:nvSpPr>
        <p:spPr bwMode="auto">
          <a:xfrm>
            <a:off x="1558676" y="3943695"/>
            <a:ext cx="398378" cy="1107246"/>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Lst>
            <a:ahLst/>
            <a:cxnLst>
              <a:cxn ang="0">
                <a:pos x="T0" y="T1"/>
              </a:cxn>
              <a:cxn ang="0">
                <a:pos x="T2" y="T3"/>
              </a:cxn>
              <a:cxn ang="0">
                <a:pos x="T4" y="T5"/>
              </a:cxn>
              <a:cxn ang="0">
                <a:pos x="T6" y="T7"/>
              </a:cxn>
              <a:cxn ang="0">
                <a:pos x="T8" y="T9"/>
              </a:cxn>
            </a:cxnLst>
            <a:rect l="0" t="0" r="r" b="b"/>
            <a:pathLst>
              <a:path w="372" h="1066">
                <a:moveTo>
                  <a:pt x="372" y="1066"/>
                </a:moveTo>
                <a:lnTo>
                  <a:pt x="0" y="599"/>
                </a:lnTo>
                <a:lnTo>
                  <a:pt x="0" y="0"/>
                </a:lnTo>
                <a:lnTo>
                  <a:pt x="372" y="235"/>
                </a:lnTo>
                <a:lnTo>
                  <a:pt x="372" y="1066"/>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3" name="Freeform 31">
            <a:extLst>
              <a:ext uri="{FF2B5EF4-FFF2-40B4-BE49-F238E27FC236}">
                <a16:creationId xmlns:a16="http://schemas.microsoft.com/office/drawing/2014/main" id="{75D442ED-EFA4-A14A-9354-1DA5CDC3CDB6}"/>
              </a:ext>
            </a:extLst>
          </p:cNvPr>
          <p:cNvSpPr>
            <a:spLocks/>
          </p:cNvSpPr>
          <p:nvPr/>
        </p:nvSpPr>
        <p:spPr bwMode="auto">
          <a:xfrm>
            <a:off x="1558676" y="3220326"/>
            <a:ext cx="398378" cy="869385"/>
          </a:xfrm>
          <a:custGeom>
            <a:avLst/>
            <a:gdLst>
              <a:gd name="T0" fmla="*/ 372 w 372"/>
              <a:gd name="T1" fmla="*/ 0 h 837"/>
              <a:gd name="T2" fmla="*/ 0 w 372"/>
              <a:gd name="T3" fmla="*/ 0 h 837"/>
              <a:gd name="T4" fmla="*/ 0 w 372"/>
              <a:gd name="T5" fmla="*/ 602 h 837"/>
              <a:gd name="T6" fmla="*/ 372 w 372"/>
              <a:gd name="T7" fmla="*/ 837 h 837"/>
              <a:gd name="T8" fmla="*/ 372 w 372"/>
              <a:gd name="T9" fmla="*/ 0 h 837"/>
            </a:gdLst>
            <a:ahLst/>
            <a:cxnLst>
              <a:cxn ang="0">
                <a:pos x="T0" y="T1"/>
              </a:cxn>
              <a:cxn ang="0">
                <a:pos x="T2" y="T3"/>
              </a:cxn>
              <a:cxn ang="0">
                <a:pos x="T4" y="T5"/>
              </a:cxn>
              <a:cxn ang="0">
                <a:pos x="T6" y="T7"/>
              </a:cxn>
              <a:cxn ang="0">
                <a:pos x="T8" y="T9"/>
              </a:cxn>
            </a:cxnLst>
            <a:rect l="0" t="0" r="r" b="b"/>
            <a:pathLst>
              <a:path w="372" h="837">
                <a:moveTo>
                  <a:pt x="372" y="0"/>
                </a:moveTo>
                <a:lnTo>
                  <a:pt x="0" y="0"/>
                </a:lnTo>
                <a:lnTo>
                  <a:pt x="0" y="602"/>
                </a:lnTo>
                <a:lnTo>
                  <a:pt x="372" y="837"/>
                </a:lnTo>
                <a:lnTo>
                  <a:pt x="372" y="0"/>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14" name="Rectangle 23">
            <a:extLst>
              <a:ext uri="{FF2B5EF4-FFF2-40B4-BE49-F238E27FC236}">
                <a16:creationId xmlns:a16="http://schemas.microsoft.com/office/drawing/2014/main" id="{7661896D-674D-DB4C-AD48-AFDEB9963D3A}"/>
              </a:ext>
            </a:extLst>
          </p:cNvPr>
          <p:cNvSpPr>
            <a:spLocks noChangeArrowheads="1"/>
          </p:cNvSpPr>
          <p:nvPr/>
        </p:nvSpPr>
        <p:spPr bwMode="auto">
          <a:xfrm>
            <a:off x="2203257" y="1470644"/>
            <a:ext cx="57066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1</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15" name="Rectangle 24">
            <a:extLst>
              <a:ext uri="{FF2B5EF4-FFF2-40B4-BE49-F238E27FC236}">
                <a16:creationId xmlns:a16="http://schemas.microsoft.com/office/drawing/2014/main" id="{2501A357-3217-7E47-AC51-CF6EBCD67C0E}"/>
              </a:ext>
            </a:extLst>
          </p:cNvPr>
          <p:cNvSpPr>
            <a:spLocks noChangeArrowheads="1"/>
          </p:cNvSpPr>
          <p:nvPr/>
        </p:nvSpPr>
        <p:spPr bwMode="auto">
          <a:xfrm>
            <a:off x="2203257" y="2419658"/>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2</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16" name="Rectangle 25">
            <a:extLst>
              <a:ext uri="{FF2B5EF4-FFF2-40B4-BE49-F238E27FC236}">
                <a16:creationId xmlns:a16="http://schemas.microsoft.com/office/drawing/2014/main" id="{AE74B363-D166-C146-80A5-A7520DFBDFF9}"/>
              </a:ext>
            </a:extLst>
          </p:cNvPr>
          <p:cNvSpPr>
            <a:spLocks noChangeArrowheads="1"/>
          </p:cNvSpPr>
          <p:nvPr/>
        </p:nvSpPr>
        <p:spPr bwMode="auto">
          <a:xfrm>
            <a:off x="2203257" y="3334352"/>
            <a:ext cx="100008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3</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17" name="Rectangle 26">
            <a:extLst>
              <a:ext uri="{FF2B5EF4-FFF2-40B4-BE49-F238E27FC236}">
                <a16:creationId xmlns:a16="http://schemas.microsoft.com/office/drawing/2014/main" id="{06B829CC-9953-504A-9C42-FE9406B85B32}"/>
              </a:ext>
            </a:extLst>
          </p:cNvPr>
          <p:cNvSpPr>
            <a:spLocks noChangeArrowheads="1"/>
          </p:cNvSpPr>
          <p:nvPr/>
        </p:nvSpPr>
        <p:spPr bwMode="auto">
          <a:xfrm>
            <a:off x="2203257" y="4294003"/>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4</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23" name="Rectangle 22">
            <a:extLst>
              <a:ext uri="{FF2B5EF4-FFF2-40B4-BE49-F238E27FC236}">
                <a16:creationId xmlns:a16="http://schemas.microsoft.com/office/drawing/2014/main" id="{AE497C13-6756-9F4F-8A9B-C315903EEA5F}"/>
              </a:ext>
            </a:extLst>
          </p:cNvPr>
          <p:cNvSpPr/>
          <p:nvPr/>
        </p:nvSpPr>
        <p:spPr>
          <a:xfrm>
            <a:off x="2882977" y="5180468"/>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lvl="0">
              <a:defRPr/>
            </a:pPr>
            <a:r>
              <a:rPr lang="en-US">
                <a:solidFill>
                  <a:schemeClr val="bg2"/>
                </a:solidFill>
                <a:latin typeface="Calibri" panose="020F0502020204030204" pitchFamily="34" charset="0"/>
                <a:cs typeface="Calibri" panose="020F0502020204030204" pitchFamily="34" charset="0"/>
              </a:rPr>
              <a:t>Appendix: Detailed breakdown of activities and deliverables &amp; Veeva Credentials</a:t>
            </a:r>
          </a:p>
        </p:txBody>
      </p:sp>
      <p:sp>
        <p:nvSpPr>
          <p:cNvPr id="24" name="Freeform 27">
            <a:extLst>
              <a:ext uri="{FF2B5EF4-FFF2-40B4-BE49-F238E27FC236}">
                <a16:creationId xmlns:a16="http://schemas.microsoft.com/office/drawing/2014/main" id="{D711D919-E4ED-4B45-8E05-E669277412E2}"/>
              </a:ext>
            </a:extLst>
          </p:cNvPr>
          <p:cNvSpPr>
            <a:spLocks/>
          </p:cNvSpPr>
          <p:nvPr/>
        </p:nvSpPr>
        <p:spPr bwMode="auto">
          <a:xfrm>
            <a:off x="1957054" y="5183583"/>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5" name="Rectangle 26">
            <a:extLst>
              <a:ext uri="{FF2B5EF4-FFF2-40B4-BE49-F238E27FC236}">
                <a16:creationId xmlns:a16="http://schemas.microsoft.com/office/drawing/2014/main" id="{A4F32A7B-15AC-4440-A2E2-001F139E3F3A}"/>
              </a:ext>
            </a:extLst>
          </p:cNvPr>
          <p:cNvSpPr>
            <a:spLocks noChangeArrowheads="1"/>
          </p:cNvSpPr>
          <p:nvPr/>
        </p:nvSpPr>
        <p:spPr bwMode="auto">
          <a:xfrm>
            <a:off x="2203257" y="5292915"/>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5</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26" name="Freeform 30">
            <a:extLst>
              <a:ext uri="{FF2B5EF4-FFF2-40B4-BE49-F238E27FC236}">
                <a16:creationId xmlns:a16="http://schemas.microsoft.com/office/drawing/2014/main" id="{103D1F6C-6D9E-BB47-9DCD-80529C54B7A9}"/>
              </a:ext>
            </a:extLst>
          </p:cNvPr>
          <p:cNvSpPr>
            <a:spLocks/>
          </p:cNvSpPr>
          <p:nvPr/>
        </p:nvSpPr>
        <p:spPr bwMode="auto">
          <a:xfrm>
            <a:off x="1558676" y="4724357"/>
            <a:ext cx="398378" cy="1326038"/>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 name="connsiteX0" fmla="*/ 10000 w 10000"/>
              <a:gd name="connsiteY0" fmla="*/ 11976 h 11976"/>
              <a:gd name="connsiteX1" fmla="*/ 0 w 10000"/>
              <a:gd name="connsiteY1" fmla="*/ 7595 h 11976"/>
              <a:gd name="connsiteX2" fmla="*/ 0 w 10000"/>
              <a:gd name="connsiteY2" fmla="*/ 0 h 11976"/>
              <a:gd name="connsiteX3" fmla="*/ 10000 w 10000"/>
              <a:gd name="connsiteY3" fmla="*/ 4181 h 11976"/>
              <a:gd name="connsiteX4" fmla="*/ 10000 w 10000"/>
              <a:gd name="connsiteY4" fmla="*/ 11976 h 11976"/>
              <a:gd name="connsiteX0" fmla="*/ 10000 w 10000"/>
              <a:gd name="connsiteY0" fmla="*/ 11976 h 11976"/>
              <a:gd name="connsiteX1" fmla="*/ 0 w 10000"/>
              <a:gd name="connsiteY1" fmla="*/ 5518 h 11976"/>
              <a:gd name="connsiteX2" fmla="*/ 0 w 10000"/>
              <a:gd name="connsiteY2" fmla="*/ 0 h 11976"/>
              <a:gd name="connsiteX3" fmla="*/ 10000 w 10000"/>
              <a:gd name="connsiteY3" fmla="*/ 4181 h 11976"/>
              <a:gd name="connsiteX4" fmla="*/ 10000 w 10000"/>
              <a:gd name="connsiteY4" fmla="*/ 11976 h 11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976">
                <a:moveTo>
                  <a:pt x="10000" y="11976"/>
                </a:moveTo>
                <a:lnTo>
                  <a:pt x="0" y="5518"/>
                </a:lnTo>
                <a:lnTo>
                  <a:pt x="0" y="0"/>
                </a:lnTo>
                <a:lnTo>
                  <a:pt x="10000" y="4181"/>
                </a:lnTo>
                <a:lnTo>
                  <a:pt x="10000" y="11976"/>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4892828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DEF287-D1DF-6243-8863-DC62C57D7700}"/>
              </a:ext>
            </a:extLst>
          </p:cNvPr>
          <p:cNvSpPr>
            <a:spLocks noGrp="1"/>
          </p:cNvSpPr>
          <p:nvPr>
            <p:ph type="title"/>
          </p:nvPr>
        </p:nvSpPr>
        <p:spPr>
          <a:xfrm>
            <a:off x="276303" y="240653"/>
            <a:ext cx="11639394" cy="912669"/>
          </a:xfrm>
        </p:spPr>
        <p:txBody>
          <a:bodyPr/>
          <a:lstStyle/>
          <a:p>
            <a:r>
              <a:rPr lang="en-US"/>
              <a:t>Veeva brings a highly experienced team with the credibility, expertise and pragmatism to deliver for you</a:t>
            </a:r>
          </a:p>
        </p:txBody>
      </p:sp>
      <p:sp>
        <p:nvSpPr>
          <p:cNvPr id="4" name="Rectangle 3">
            <a:extLst>
              <a:ext uri="{FF2B5EF4-FFF2-40B4-BE49-F238E27FC236}">
                <a16:creationId xmlns:a16="http://schemas.microsoft.com/office/drawing/2014/main" id="{70E37888-CF91-B64C-8695-EAF7ED19B94F}"/>
              </a:ext>
            </a:extLst>
          </p:cNvPr>
          <p:cNvSpPr/>
          <p:nvPr/>
        </p:nvSpPr>
        <p:spPr>
          <a:xfrm>
            <a:off x="276303" y="1268793"/>
            <a:ext cx="11639394" cy="2882824"/>
          </a:xfrm>
          <a:prstGeom prst="rect">
            <a:avLst/>
          </a:prstGeom>
          <a:noFill/>
          <a:ln w="1905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F5FDC885-0191-9549-AEA6-1192AB6F50DC}"/>
              </a:ext>
            </a:extLst>
          </p:cNvPr>
          <p:cNvSpPr/>
          <p:nvPr/>
        </p:nvSpPr>
        <p:spPr>
          <a:xfrm>
            <a:off x="5286000" y="1160090"/>
            <a:ext cx="1620000" cy="208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CORE DELIVERY TEAM</a:t>
            </a:r>
            <a:endParaRPr kumimoji="0" lang="en-AU" sz="1200" b="0" i="0" u="none" strike="noStrike" kern="1200" cap="none" spc="0" normalizeH="0" baseline="0" noProof="0">
              <a:ln>
                <a:noFill/>
              </a:ln>
              <a:solidFill>
                <a:srgbClr val="FFFFFF"/>
              </a:solidFill>
              <a:effectLst/>
              <a:uLnTx/>
              <a:uFillTx/>
              <a:latin typeface="Calibri"/>
              <a:ea typeface="+mn-ea"/>
              <a:cs typeface="+mn-cs"/>
            </a:endParaRPr>
          </a:p>
        </p:txBody>
      </p:sp>
      <p:sp>
        <p:nvSpPr>
          <p:cNvPr id="6" name="TextBox 5">
            <a:extLst>
              <a:ext uri="{FF2B5EF4-FFF2-40B4-BE49-F238E27FC236}">
                <a16:creationId xmlns:a16="http://schemas.microsoft.com/office/drawing/2014/main" id="{378827A5-9F9E-B840-BF7D-EC130EE64732}"/>
              </a:ext>
            </a:extLst>
          </p:cNvPr>
          <p:cNvSpPr txBox="1"/>
          <p:nvPr/>
        </p:nvSpPr>
        <p:spPr>
          <a:xfrm>
            <a:off x="3105301" y="2290513"/>
            <a:ext cx="2833572" cy="1862048"/>
          </a:xfrm>
          <a:prstGeom prst="rect">
            <a:avLst/>
          </a:prstGeom>
          <a:noFill/>
        </p:spPr>
        <p:txBody>
          <a:bodyPr wrap="square" lIns="72000" tIns="45720" rIns="0" bIns="45720" rtlCol="0" anchor="t">
            <a:spAutoFit/>
          </a:bodyPr>
          <a:lstStyle>
            <a:defPPr>
              <a:defRPr lang="en-US"/>
            </a:defPPr>
            <a:lvl1pPr marR="0" lvl="0" indent="0" fontAlgn="auto">
              <a:lnSpc>
                <a:spcPct val="100000"/>
              </a:lnSpc>
              <a:spcBef>
                <a:spcPts val="600"/>
              </a:spcBef>
              <a:spcAft>
                <a:spcPts val="0"/>
              </a:spcAft>
              <a:buClr>
                <a:srgbClr val="FF9E16"/>
              </a:buClr>
              <a:buSzTx/>
              <a:buFontTx/>
              <a:buNone/>
              <a:tabLst/>
              <a:defRPr kumimoji="0" sz="1050" b="1" i="1" u="none" strike="noStrike" cap="none" spc="0" normalizeH="0" baseline="0">
                <a:ln>
                  <a:noFill/>
                </a:ln>
                <a:solidFill>
                  <a:srgbClr val="E7E6E6">
                    <a:lumMod val="50000"/>
                  </a:srgbClr>
                </a:solidFill>
                <a:effectLst/>
                <a:uLnTx/>
                <a:uFillTx/>
                <a:latin typeface="Calibri"/>
              </a:defRPr>
            </a:lvl1pPr>
          </a:lstStyle>
          <a:p>
            <a:r>
              <a:rPr lang="en-US"/>
              <a:t>Brings extensive experience working with clients in the commercialization and launch of new products</a:t>
            </a:r>
          </a:p>
          <a:p>
            <a:r>
              <a:rPr lang="en-US" sz="1000" b="0" i="0"/>
              <a:t>Abhinav brings 12+ years of experience where he has focused on designing commercial strategies and optimizing commercial operations.</a:t>
            </a:r>
          </a:p>
          <a:p>
            <a:r>
              <a:rPr lang="en-US" sz="1000" b="0" i="0"/>
              <a:t>He has helped clients to turn commercial strategies into reality and has worked with regional and local stakeholders to enable high impact execution through process and technology optimization.</a:t>
            </a:r>
          </a:p>
        </p:txBody>
      </p:sp>
      <p:sp>
        <p:nvSpPr>
          <p:cNvPr id="7" name="TextBox 6">
            <a:extLst>
              <a:ext uri="{FF2B5EF4-FFF2-40B4-BE49-F238E27FC236}">
                <a16:creationId xmlns:a16="http://schemas.microsoft.com/office/drawing/2014/main" id="{B186C98F-5F98-2A44-85F9-EF7294601EA8}"/>
              </a:ext>
            </a:extLst>
          </p:cNvPr>
          <p:cNvSpPr txBox="1"/>
          <p:nvPr/>
        </p:nvSpPr>
        <p:spPr>
          <a:xfrm>
            <a:off x="4378663" y="1606509"/>
            <a:ext cx="1449477" cy="442750"/>
          </a:xfrm>
          <a:prstGeom prst="rect">
            <a:avLst/>
          </a:prstGeom>
          <a:noFill/>
        </p:spPr>
        <p:txBody>
          <a:bodyPr wrap="square" rtlCol="0" anchor="ctr">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Abhinav Mehra</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Delivery team</a:t>
            </a:r>
          </a:p>
        </p:txBody>
      </p:sp>
      <p:sp>
        <p:nvSpPr>
          <p:cNvPr id="8" name="Rectangle 7">
            <a:extLst>
              <a:ext uri="{FF2B5EF4-FFF2-40B4-BE49-F238E27FC236}">
                <a16:creationId xmlns:a16="http://schemas.microsoft.com/office/drawing/2014/main" id="{CC386701-4473-7748-A197-DE7D42A55C3C}"/>
              </a:ext>
            </a:extLst>
          </p:cNvPr>
          <p:cNvSpPr/>
          <p:nvPr/>
        </p:nvSpPr>
        <p:spPr>
          <a:xfrm>
            <a:off x="341816" y="2290512"/>
            <a:ext cx="2569696" cy="1810800"/>
          </a:xfrm>
          <a:prstGeom prst="rect">
            <a:avLst/>
          </a:prstGeom>
          <a:noFill/>
        </p:spPr>
        <p:txBody>
          <a:bodyPr wrap="square" lIns="72000" tIns="45720" rIns="0" bIns="4572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50" b="1" i="1" u="none" strike="noStrike" kern="1200" cap="none" spc="0" normalizeH="0" baseline="0" noProof="0">
                <a:ln>
                  <a:noFill/>
                </a:ln>
                <a:solidFill>
                  <a:srgbClr val="E7E6E6">
                    <a:lumMod val="50000"/>
                  </a:srgbClr>
                </a:solidFill>
                <a:effectLst/>
                <a:uLnTx/>
                <a:uFillTx/>
                <a:latin typeface="Calibri"/>
                <a:ea typeface="+mn-ea"/>
                <a:cs typeface="+mn-cs"/>
              </a:rPr>
              <a:t>Brings deep LS experience and 10+ years building and implementing customer focused commercial </a:t>
            </a:r>
            <a:r>
              <a:rPr lang="en-US" sz="1050" b="1" i="1">
                <a:solidFill>
                  <a:srgbClr val="E7E6E6">
                    <a:lumMod val="50000"/>
                  </a:srgbClr>
                </a:solidFill>
                <a:latin typeface="Calibri"/>
              </a:rPr>
              <a:t>strategies</a:t>
            </a:r>
            <a:endParaRPr kumimoji="0" lang="en-US" sz="1050" b="1" i="1" u="none" strike="noStrike" kern="1200" cap="none" spc="0" normalizeH="0" baseline="0" noProof="0">
              <a:ln>
                <a:noFill/>
              </a:ln>
              <a:solidFill>
                <a:srgbClr val="E7E6E6">
                  <a:lumMod val="50000"/>
                </a:srgbClr>
              </a:solidFill>
              <a:effectLst/>
              <a:uLnTx/>
              <a:uFillTx/>
              <a:latin typeface="Calibri"/>
              <a:ea typeface="+mn-ea"/>
              <a:cs typeface="+mn-cs"/>
            </a:endParaRPr>
          </a:p>
          <a:p>
            <a:pPr>
              <a:spcBef>
                <a:spcPts val="600"/>
              </a:spcBef>
              <a:buClr>
                <a:schemeClr val="tx2"/>
              </a:buClr>
            </a:pPr>
            <a:r>
              <a:rPr lang="en-US" sz="1000"/>
              <a:t>Victoria leads the Customer Experience practice at Veeva, </a:t>
            </a:r>
            <a:r>
              <a:rPr lang="en-US" sz="1000">
                <a:solidFill>
                  <a:schemeClr val="dk1"/>
                </a:solidFill>
                <a:ea typeface="Calibri"/>
                <a:cs typeface="Calibri"/>
                <a:sym typeface="Calibri"/>
              </a:rPr>
              <a:t>working closely with commercial functions to support in their G2M approach. </a:t>
            </a:r>
          </a:p>
          <a:p>
            <a:pPr>
              <a:spcBef>
                <a:spcPts val="600"/>
              </a:spcBef>
              <a:buClr>
                <a:schemeClr val="tx2"/>
              </a:buClr>
            </a:pPr>
            <a:r>
              <a:rPr lang="en-US" sz="1000">
                <a:solidFill>
                  <a:schemeClr val="dk1"/>
                </a:solidFill>
                <a:ea typeface="Calibri"/>
                <a:cs typeface="Calibri"/>
                <a:sym typeface="Calibri"/>
              </a:rPr>
              <a:t>She has worked with top Global Pharma companies at global, regional and local level </a:t>
            </a:r>
            <a:r>
              <a:rPr lang="en-GB" sz="1000">
                <a:solidFill>
                  <a:schemeClr val="dk1"/>
                </a:solidFill>
                <a:ea typeface="Calibri"/>
                <a:cs typeface="Calibri"/>
                <a:sym typeface="Calibri"/>
              </a:rPr>
              <a:t>to build and deploy customer-centric and digital capabilities for marketing and sales.</a:t>
            </a:r>
            <a:endParaRPr kumimoji="0" lang="en-US" sz="1000" b="0" i="0" u="none" strike="noStrike" kern="1200" cap="none" spc="0" normalizeH="0" baseline="30000" noProof="0">
              <a:ln>
                <a:noFill/>
              </a:ln>
              <a:solidFill>
                <a:srgbClr val="646569"/>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74BA916D-D82B-BA42-8367-EF3AB37B7E82}"/>
              </a:ext>
            </a:extLst>
          </p:cNvPr>
          <p:cNvGrpSpPr/>
          <p:nvPr/>
        </p:nvGrpSpPr>
        <p:grpSpPr>
          <a:xfrm>
            <a:off x="697316" y="1401734"/>
            <a:ext cx="782361" cy="782361"/>
            <a:chOff x="962686" y="1349352"/>
            <a:chExt cx="1476000" cy="1476000"/>
          </a:xfrm>
        </p:grpSpPr>
        <p:sp>
          <p:nvSpPr>
            <p:cNvPr id="10" name="Oval 9">
              <a:extLst>
                <a:ext uri="{FF2B5EF4-FFF2-40B4-BE49-F238E27FC236}">
                  <a16:creationId xmlns:a16="http://schemas.microsoft.com/office/drawing/2014/main" id="{F1649B64-865E-8C46-8A5A-EBFD2C9F9DE9}"/>
                </a:ext>
              </a:extLst>
            </p:cNvPr>
            <p:cNvSpPr>
              <a:spLocks noChangeAspect="1"/>
            </p:cNvSpPr>
            <p:nvPr/>
          </p:nvSpPr>
          <p:spPr>
            <a:xfrm>
              <a:off x="962686" y="1349352"/>
              <a:ext cx="1476000" cy="14760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1" name="Picture 9">
              <a:extLst>
                <a:ext uri="{FF2B5EF4-FFF2-40B4-BE49-F238E27FC236}">
                  <a16:creationId xmlns:a16="http://schemas.microsoft.com/office/drawing/2014/main" id="{EFE86451-5250-6B43-B4E1-6C6D2A0A36BE}"/>
                </a:ext>
              </a:extLst>
            </p:cNvPr>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80684" y="1367352"/>
              <a:ext cx="1440000" cy="1440000"/>
            </a:xfrm>
            <a:prstGeom prst="rect">
              <a:avLst/>
            </a:prstGeom>
            <a:noFill/>
            <a:ln w="19050">
              <a:noFill/>
            </a:ln>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4DFF43FA-0421-4E43-A5E0-61D2B32C80CB}"/>
              </a:ext>
            </a:extLst>
          </p:cNvPr>
          <p:cNvSpPr txBox="1"/>
          <p:nvPr/>
        </p:nvSpPr>
        <p:spPr>
          <a:xfrm>
            <a:off x="1508978" y="1525538"/>
            <a:ext cx="1249053" cy="590483"/>
          </a:xfrm>
          <a:prstGeom prst="rect">
            <a:avLst/>
          </a:prstGeom>
          <a:noFill/>
        </p:spPr>
        <p:txBody>
          <a:bodyPr wrap="square" lIns="36000" rIns="36000" rtlCol="0" anchor="ctr">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Victoria Serra Gittermann</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Engagement Lead</a:t>
            </a:r>
          </a:p>
        </p:txBody>
      </p:sp>
      <p:sp>
        <p:nvSpPr>
          <p:cNvPr id="13" name="TextBox 12">
            <a:extLst>
              <a:ext uri="{FF2B5EF4-FFF2-40B4-BE49-F238E27FC236}">
                <a16:creationId xmlns:a16="http://schemas.microsoft.com/office/drawing/2014/main" id="{432DA477-A151-7348-BDFB-547E5CBB02F6}"/>
              </a:ext>
            </a:extLst>
          </p:cNvPr>
          <p:cNvSpPr txBox="1"/>
          <p:nvPr/>
        </p:nvSpPr>
        <p:spPr>
          <a:xfrm>
            <a:off x="9041184" y="2290512"/>
            <a:ext cx="2741845" cy="1810800"/>
          </a:xfrm>
          <a:prstGeom prst="rect">
            <a:avLst/>
          </a:prstGeom>
          <a:noFill/>
        </p:spPr>
        <p:txBody>
          <a:bodyPr wrap="square" lIns="91440" tIns="45720" rIns="0" bIns="4572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50" b="1" i="1" u="none" strike="noStrike" kern="1200" cap="none" spc="0" normalizeH="0" baseline="0" noProof="0">
                <a:ln>
                  <a:noFill/>
                </a:ln>
                <a:effectLst/>
                <a:uLnTx/>
                <a:uFillTx/>
                <a:latin typeface="Calibri"/>
                <a:ea typeface="+mn-ea"/>
                <a:cs typeface="+mn-cs"/>
              </a:rPr>
              <a:t>Brings experience assessing market landscapes and designing and implementing business strategy </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lang="en-US" sz="1000"/>
              <a:t>Fowey has worked with clients across a range of therapy areas executing analysis and delivering insights to inform portfolio optimisation and business strategy.</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lang="en-US" sz="1000"/>
              <a:t>Before joining Veeva, he was a consultant at IQVIA, specializing in M&amp;A advisory as well as pricing and market access optimization.</a:t>
            </a:r>
          </a:p>
        </p:txBody>
      </p:sp>
      <p:sp>
        <p:nvSpPr>
          <p:cNvPr id="14" name="TextBox 13">
            <a:extLst>
              <a:ext uri="{FF2B5EF4-FFF2-40B4-BE49-F238E27FC236}">
                <a16:creationId xmlns:a16="http://schemas.microsoft.com/office/drawing/2014/main" id="{27F575A5-1D5D-6E46-A950-18277FF45E9A}"/>
              </a:ext>
            </a:extLst>
          </p:cNvPr>
          <p:cNvSpPr txBox="1"/>
          <p:nvPr/>
        </p:nvSpPr>
        <p:spPr>
          <a:xfrm>
            <a:off x="10379800" y="1587281"/>
            <a:ext cx="1298963" cy="442750"/>
          </a:xfrm>
          <a:prstGeom prst="rect">
            <a:avLst/>
          </a:prstGeom>
          <a:noFill/>
        </p:spPr>
        <p:txBody>
          <a:bodyPr wrap="square" rtlCol="0" anchor="ctr">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Fowey Harvey</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Delivery team</a:t>
            </a:r>
          </a:p>
        </p:txBody>
      </p:sp>
      <p:sp>
        <p:nvSpPr>
          <p:cNvPr id="15" name="Rectangle 14">
            <a:extLst>
              <a:ext uri="{FF2B5EF4-FFF2-40B4-BE49-F238E27FC236}">
                <a16:creationId xmlns:a16="http://schemas.microsoft.com/office/drawing/2014/main" id="{CEAB7AC8-9352-874D-B2A8-AD1154B03348}"/>
              </a:ext>
            </a:extLst>
          </p:cNvPr>
          <p:cNvSpPr/>
          <p:nvPr/>
        </p:nvSpPr>
        <p:spPr>
          <a:xfrm>
            <a:off x="6253129" y="2290512"/>
            <a:ext cx="2569696" cy="1810800"/>
          </a:xfrm>
          <a:prstGeom prst="rect">
            <a:avLst/>
          </a:prstGeom>
          <a:noFill/>
        </p:spPr>
        <p:txBody>
          <a:bodyPr wrap="square" lIns="72000" tIns="45720" rIns="0" bIns="4572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50" b="1" i="1" u="none" strike="noStrike" kern="1200" cap="none" spc="0" normalizeH="0" baseline="0" noProof="0">
                <a:ln>
                  <a:noFill/>
                </a:ln>
                <a:solidFill>
                  <a:srgbClr val="E7E6E6">
                    <a:lumMod val="50000"/>
                  </a:srgbClr>
                </a:solidFill>
                <a:effectLst/>
                <a:uLnTx/>
                <a:uFillTx/>
                <a:latin typeface="Calibri"/>
                <a:ea typeface="+mn-ea"/>
                <a:cs typeface="+mn-cs"/>
              </a:rPr>
              <a:t>Brings experience of building and executing customer engagement models with sales and marketing teams</a:t>
            </a:r>
          </a:p>
          <a:p>
            <a:pPr>
              <a:spcBef>
                <a:spcPts val="600"/>
              </a:spcBef>
              <a:buClr>
                <a:srgbClr val="FF9E16"/>
              </a:buClr>
            </a:pPr>
            <a:r>
              <a:rPr lang="en-US" sz="1000">
                <a:solidFill>
                  <a:srgbClr val="646569"/>
                </a:solidFill>
                <a:latin typeface="Calibri"/>
              </a:rPr>
              <a:t>Nick has worked with field forces to execute omnichannel strategy and G2M models that are tailored to relevant customer segments.</a:t>
            </a:r>
          </a:p>
          <a:p>
            <a:pPr>
              <a:spcBef>
                <a:spcPts val="600"/>
              </a:spcBef>
              <a:buClr>
                <a:srgbClr val="FF9E16"/>
              </a:buClr>
            </a:pPr>
            <a:r>
              <a:rPr lang="en-US" sz="1000">
                <a:solidFill>
                  <a:srgbClr val="646569"/>
                </a:solidFill>
                <a:latin typeface="Calibri"/>
              </a:rPr>
              <a:t>He has worked with both sales and marketing teams at a global and local level to embed new capabilities and ways of working to drive improved customer experiences. </a:t>
            </a:r>
          </a:p>
        </p:txBody>
      </p:sp>
      <p:sp>
        <p:nvSpPr>
          <p:cNvPr id="16" name="TextBox 15">
            <a:extLst>
              <a:ext uri="{FF2B5EF4-FFF2-40B4-BE49-F238E27FC236}">
                <a16:creationId xmlns:a16="http://schemas.microsoft.com/office/drawing/2014/main" id="{BEDD0551-8AF1-794F-947D-CA5CF234AA43}"/>
              </a:ext>
            </a:extLst>
          </p:cNvPr>
          <p:cNvSpPr txBox="1"/>
          <p:nvPr/>
        </p:nvSpPr>
        <p:spPr>
          <a:xfrm>
            <a:off x="7488917" y="1599404"/>
            <a:ext cx="1038975" cy="442750"/>
          </a:xfrm>
          <a:prstGeom prst="rect">
            <a:avLst/>
          </a:prstGeom>
          <a:noFill/>
        </p:spPr>
        <p:txBody>
          <a:bodyPr wrap="square" lIns="36000" rIns="36000" rtlCol="0" anchor="ctr">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Nick MacLeod</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Delivery Team</a:t>
            </a:r>
          </a:p>
        </p:txBody>
      </p:sp>
      <p:pic>
        <p:nvPicPr>
          <p:cNvPr id="17" name="Picture 16">
            <a:extLst>
              <a:ext uri="{FF2B5EF4-FFF2-40B4-BE49-F238E27FC236}">
                <a16:creationId xmlns:a16="http://schemas.microsoft.com/office/drawing/2014/main" id="{448B2A7F-790F-4B4E-A2CE-34A8408BF025}"/>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6682827" y="1418742"/>
            <a:ext cx="742329" cy="742329"/>
          </a:xfrm>
          <a:prstGeom prst="ellipse">
            <a:avLst/>
          </a:prstGeom>
          <a:noFill/>
          <a:ln w="19050">
            <a:solidFill>
              <a:schemeClr val="tx2"/>
            </a:solidFill>
          </a:ln>
        </p:spPr>
      </p:pic>
      <p:sp>
        <p:nvSpPr>
          <p:cNvPr id="18" name="Oval 17">
            <a:extLst>
              <a:ext uri="{FF2B5EF4-FFF2-40B4-BE49-F238E27FC236}">
                <a16:creationId xmlns:a16="http://schemas.microsoft.com/office/drawing/2014/main" id="{677C4D81-3D67-7144-A452-779E4F9BE659}"/>
              </a:ext>
            </a:extLst>
          </p:cNvPr>
          <p:cNvSpPr>
            <a:spLocks noChangeAspect="1"/>
          </p:cNvSpPr>
          <p:nvPr/>
        </p:nvSpPr>
        <p:spPr>
          <a:xfrm>
            <a:off x="3583702" y="1392681"/>
            <a:ext cx="782361" cy="782361"/>
          </a:xfrm>
          <a:prstGeom prst="ellipse">
            <a:avLst/>
          </a:prstGeom>
          <a:blipFill dpi="0" rotWithShape="1">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a:bli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Calibri" charset="0"/>
              <a:ea typeface="Calibri" charset="0"/>
              <a:cs typeface="Calibri" charset="0"/>
            </a:endParaRPr>
          </a:p>
        </p:txBody>
      </p:sp>
      <p:pic>
        <p:nvPicPr>
          <p:cNvPr id="19" name="Picture 18">
            <a:extLst>
              <a:ext uri="{FF2B5EF4-FFF2-40B4-BE49-F238E27FC236}">
                <a16:creationId xmlns:a16="http://schemas.microsoft.com/office/drawing/2014/main" id="{8D64801F-EEE8-D243-B18D-D9F5912417F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colorTemperature colorTemp="1808"/>
                    </a14:imgEffect>
                    <a14:imgEffect>
                      <a14:saturation sat="0"/>
                    </a14:imgEffect>
                  </a14:imgLayer>
                </a14:imgProps>
              </a:ext>
              <a:ext uri="{28A0092B-C50C-407E-A947-70E740481C1C}">
                <a14:useLocalDpi xmlns:a14="http://schemas.microsoft.com/office/drawing/2010/main"/>
              </a:ext>
            </a:extLst>
          </a:blip>
          <a:srcRect/>
          <a:stretch/>
        </p:blipFill>
        <p:spPr>
          <a:xfrm>
            <a:off x="9588299" y="1417089"/>
            <a:ext cx="687212" cy="733544"/>
          </a:xfrm>
          <a:prstGeom prst="ellipse">
            <a:avLst/>
          </a:prstGeom>
          <a:blipFill dpi="0" rotWithShape="1">
            <a:blip r:embed="rId10" cstate="email">
              <a:extLst>
                <a:ext uri="{28A0092B-C50C-407E-A947-70E740481C1C}">
                  <a14:useLocalDpi xmlns:a14="http://schemas.microsoft.com/office/drawing/2010/main"/>
                </a:ext>
              </a:extLst>
            </a:blip>
            <a:srcRect/>
            <a:stretch>
              <a:fillRect/>
            </a:stretch>
          </a:blipFill>
          <a:ln w="19050">
            <a:solidFill>
              <a:schemeClr val="tx2"/>
            </a:solidFill>
          </a:ln>
        </p:spPr>
      </p:pic>
      <p:sp>
        <p:nvSpPr>
          <p:cNvPr id="20" name="Rectangle 19">
            <a:extLst>
              <a:ext uri="{FF2B5EF4-FFF2-40B4-BE49-F238E27FC236}">
                <a16:creationId xmlns:a16="http://schemas.microsoft.com/office/drawing/2014/main" id="{130B5704-7834-E749-990F-F15B21638609}"/>
              </a:ext>
            </a:extLst>
          </p:cNvPr>
          <p:cNvSpPr/>
          <p:nvPr/>
        </p:nvSpPr>
        <p:spPr>
          <a:xfrm>
            <a:off x="276302" y="4326109"/>
            <a:ext cx="8641455" cy="1979953"/>
          </a:xfrm>
          <a:prstGeom prst="rect">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9173D935-5268-BA4C-AECB-E8BB634FBF43}"/>
              </a:ext>
            </a:extLst>
          </p:cNvPr>
          <p:cNvSpPr/>
          <p:nvPr/>
        </p:nvSpPr>
        <p:spPr>
          <a:xfrm>
            <a:off x="3787029" y="4235489"/>
            <a:ext cx="1620000" cy="208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Subject Matter Experts</a:t>
            </a:r>
            <a:endParaRPr kumimoji="0" lang="en-AU" sz="1200" b="0" i="0" u="none" strike="noStrike" kern="1200" cap="none" spc="0" normalizeH="0" baseline="0" noProof="0">
              <a:ln>
                <a:noFill/>
              </a:ln>
              <a:solidFill>
                <a:srgbClr val="FFFFFF"/>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B9F0AD7E-EF6B-314E-A27E-082E752033A4}"/>
              </a:ext>
            </a:extLst>
          </p:cNvPr>
          <p:cNvSpPr/>
          <p:nvPr/>
        </p:nvSpPr>
        <p:spPr>
          <a:xfrm>
            <a:off x="9067495" y="4326109"/>
            <a:ext cx="2848202" cy="1979953"/>
          </a:xfrm>
          <a:prstGeom prst="rect">
            <a:avLst/>
          </a:prstGeom>
          <a:noFill/>
          <a:ln w="19050">
            <a:solidFill>
              <a:srgbClr val="005A3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2F212141-4A15-F04E-936E-3192BBF83E31}"/>
              </a:ext>
            </a:extLst>
          </p:cNvPr>
          <p:cNvSpPr/>
          <p:nvPr/>
        </p:nvSpPr>
        <p:spPr>
          <a:xfrm>
            <a:off x="9187083" y="4235489"/>
            <a:ext cx="2609026" cy="208800"/>
          </a:xfrm>
          <a:prstGeom prst="rect">
            <a:avLst/>
          </a:prstGeom>
          <a:solidFill>
            <a:srgbClr val="005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Connecting to ongoing Galapagos work</a:t>
            </a:r>
            <a:endParaRPr kumimoji="0" lang="en-AU" sz="1200" b="0" i="0" u="none" strike="noStrike" kern="1200" cap="none" spc="0" normalizeH="0" baseline="0" noProof="0">
              <a:ln>
                <a:noFill/>
              </a:ln>
              <a:solidFill>
                <a:srgbClr val="FFFFFF"/>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B7B12800-731F-5449-9EFE-0F037C3DBFF8}"/>
              </a:ext>
            </a:extLst>
          </p:cNvPr>
          <p:cNvSpPr txBox="1"/>
          <p:nvPr/>
        </p:nvSpPr>
        <p:spPr>
          <a:xfrm>
            <a:off x="9067495" y="5522513"/>
            <a:ext cx="1551127" cy="917174"/>
          </a:xfrm>
          <a:prstGeom prst="rect">
            <a:avLst/>
          </a:prstGeom>
          <a:noFill/>
        </p:spPr>
        <p:txBody>
          <a:bodyPr wrap="square" rtlCol="0">
            <a:spAutoFit/>
          </a:bodyPr>
          <a:lstStyle/>
          <a:p>
            <a:pPr lvl="0" algn="ctr">
              <a:lnSpc>
                <a:spcPct val="80000"/>
              </a:lnSpc>
              <a:spcBef>
                <a:spcPts val="400"/>
              </a:spcBef>
              <a:buClr>
                <a:srgbClr val="FF9E16"/>
              </a:buClr>
            </a:pPr>
            <a:r>
              <a:rPr lang="en-US" sz="1200" b="1">
                <a:solidFill>
                  <a:srgbClr val="646569"/>
                </a:solidFill>
              </a:rPr>
              <a:t>Alexandre Raynaud</a:t>
            </a:r>
          </a:p>
          <a:p>
            <a:pPr lvl="0" algn="ctr"/>
            <a:r>
              <a:rPr lang="en-AU" sz="1200" b="1">
                <a:solidFill>
                  <a:srgbClr val="FF9E16"/>
                </a:solidFill>
              </a:rPr>
              <a:t>Principal Consultant</a:t>
            </a:r>
          </a:p>
          <a:p>
            <a:pPr lvl="0" algn="ctr"/>
            <a:r>
              <a:rPr lang="en-AU" sz="1000"/>
              <a:t>Leading Events and CJ works </a:t>
            </a:r>
          </a:p>
        </p:txBody>
      </p:sp>
      <p:sp>
        <p:nvSpPr>
          <p:cNvPr id="26" name="TextBox 25">
            <a:extLst>
              <a:ext uri="{FF2B5EF4-FFF2-40B4-BE49-F238E27FC236}">
                <a16:creationId xmlns:a16="http://schemas.microsoft.com/office/drawing/2014/main" id="{164745F2-3D9B-D149-91F6-E5BDA29C1ECB}"/>
              </a:ext>
            </a:extLst>
          </p:cNvPr>
          <p:cNvSpPr txBox="1"/>
          <p:nvPr/>
        </p:nvSpPr>
        <p:spPr>
          <a:xfrm>
            <a:off x="10538106" y="5522513"/>
            <a:ext cx="1402590" cy="91717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lang="en-US" sz="1200" b="1">
                <a:solidFill>
                  <a:srgbClr val="646569"/>
                </a:solidFill>
                <a:latin typeface="Calibri"/>
              </a:rPr>
              <a:t>Gareth Allot</a:t>
            </a:r>
            <a:endParaRPr kumimoji="0" lang="en-US" sz="1200" b="1" i="0" u="none" strike="noStrike" kern="1200" cap="none" spc="0" normalizeH="0" baseline="0" noProof="0">
              <a:ln>
                <a:noFill/>
              </a:ln>
              <a:solidFill>
                <a:srgbClr val="646569"/>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AU" sz="1200" b="1">
                <a:solidFill>
                  <a:srgbClr val="FF9E16"/>
                </a:solidFill>
                <a:latin typeface="Calibri"/>
              </a:rPr>
              <a:t>Senior Consultant</a:t>
            </a:r>
          </a:p>
          <a:p>
            <a:pPr lvl="0" algn="ctr"/>
            <a:r>
              <a:rPr lang="en-AU" sz="1000">
                <a:solidFill>
                  <a:srgbClr val="646569"/>
                </a:solidFill>
              </a:rPr>
              <a:t>Leading Content and supporting on CJ wo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FF9E16"/>
              </a:solidFill>
              <a:effectLst/>
              <a:uLnTx/>
              <a:uFillTx/>
              <a:latin typeface="Calibri"/>
              <a:ea typeface="+mn-ea"/>
              <a:cs typeface="+mn-cs"/>
            </a:endParaRPr>
          </a:p>
        </p:txBody>
      </p:sp>
      <p:pic>
        <p:nvPicPr>
          <p:cNvPr id="27" name="Picture 26" descr="A person with a beard&#10;&#10;Description automatically generated with low confidence">
            <a:extLst>
              <a:ext uri="{FF2B5EF4-FFF2-40B4-BE49-F238E27FC236}">
                <a16:creationId xmlns:a16="http://schemas.microsoft.com/office/drawing/2014/main" id="{D42D67A4-B2CD-6849-A060-549CFF2B827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38594" y="4690822"/>
            <a:ext cx="760008" cy="760008"/>
          </a:xfrm>
          <a:prstGeom prst="ellipse">
            <a:avLst/>
          </a:prstGeom>
          <a:noFill/>
          <a:ln w="19050">
            <a:solidFill>
              <a:schemeClr val="tx2"/>
            </a:solidFill>
          </a:ln>
        </p:spPr>
      </p:pic>
      <p:pic>
        <p:nvPicPr>
          <p:cNvPr id="28" name="Picture 27">
            <a:extLst>
              <a:ext uri="{FF2B5EF4-FFF2-40B4-BE49-F238E27FC236}">
                <a16:creationId xmlns:a16="http://schemas.microsoft.com/office/drawing/2014/main" id="{1FC9A8F0-AA3C-B24D-B4D3-BE740E442CA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859398" y="4690822"/>
            <a:ext cx="760007" cy="760007"/>
          </a:xfrm>
          <a:prstGeom prst="ellipse">
            <a:avLst/>
          </a:prstGeom>
          <a:noFill/>
          <a:ln w="19050">
            <a:solidFill>
              <a:schemeClr val="tx2"/>
            </a:solidFill>
          </a:ln>
        </p:spPr>
      </p:pic>
      <p:pic>
        <p:nvPicPr>
          <p:cNvPr id="29" name="Picture 6" descr="Profile photo of Aaron Bean">
            <a:extLst>
              <a:ext uri="{FF2B5EF4-FFF2-40B4-BE49-F238E27FC236}">
                <a16:creationId xmlns:a16="http://schemas.microsoft.com/office/drawing/2014/main" id="{18F0E64D-6B00-9740-B349-7FAFCE9AE0B5}"/>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73712" y="4539184"/>
            <a:ext cx="760007" cy="760007"/>
          </a:xfrm>
          <a:prstGeom prst="ellipse">
            <a:avLst/>
          </a:prstGeom>
          <a:noFill/>
          <a:ln w="19050">
            <a:solidFill>
              <a:schemeClr val="tx2"/>
            </a:solidFill>
          </a:ln>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35E0E604-7008-B542-829F-EDDCC6B1886E}"/>
              </a:ext>
            </a:extLst>
          </p:cNvPr>
          <p:cNvSpPr txBox="1"/>
          <p:nvPr/>
        </p:nvSpPr>
        <p:spPr>
          <a:xfrm>
            <a:off x="132049" y="5420264"/>
            <a:ext cx="1410115" cy="79406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lang="en-US" sz="1200" b="1">
                <a:solidFill>
                  <a:srgbClr val="646569"/>
                </a:solidFill>
                <a:latin typeface="Calibri"/>
              </a:rPr>
              <a:t>Aaron Bean</a:t>
            </a:r>
            <a:endParaRPr kumimoji="0" lang="en-US" sz="1200" b="1" i="0" u="none" strike="noStrike" kern="1200" cap="none" spc="0" normalizeH="0" baseline="0" noProof="0">
              <a:ln>
                <a:noFill/>
              </a:ln>
              <a:solidFill>
                <a:srgbClr val="646569"/>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9E16"/>
                </a:solidFill>
                <a:effectLst/>
                <a:uLnTx/>
                <a:uFillTx/>
                <a:latin typeface="Calibri"/>
                <a:ea typeface="+mn-ea"/>
                <a:cs typeface="+mn-cs"/>
              </a:rPr>
              <a:t>VP, 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9E16"/>
                </a:solidFill>
                <a:effectLst/>
                <a:uLnTx/>
                <a:uFillTx/>
                <a:latin typeface="Calibri"/>
                <a:ea typeface="+mn-ea"/>
                <a:cs typeface="+mn-cs"/>
              </a:rPr>
              <a:t>Consul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9E16"/>
                </a:solidFill>
                <a:effectLst/>
                <a:uLnTx/>
                <a:uFillTx/>
                <a:latin typeface="Calibri"/>
                <a:ea typeface="+mn-ea"/>
                <a:cs typeface="+mn-cs"/>
              </a:rPr>
              <a:t>Lead</a:t>
            </a:r>
          </a:p>
        </p:txBody>
      </p:sp>
      <p:sp>
        <p:nvSpPr>
          <p:cNvPr id="31" name="Rectangle 30">
            <a:extLst>
              <a:ext uri="{FF2B5EF4-FFF2-40B4-BE49-F238E27FC236}">
                <a16:creationId xmlns:a16="http://schemas.microsoft.com/office/drawing/2014/main" id="{E7372B2D-68F3-234E-8724-E46DF26D4FFB}"/>
              </a:ext>
            </a:extLst>
          </p:cNvPr>
          <p:cNvSpPr/>
          <p:nvPr/>
        </p:nvSpPr>
        <p:spPr>
          <a:xfrm>
            <a:off x="1309293" y="4462759"/>
            <a:ext cx="1810124" cy="1862048"/>
          </a:xfrm>
          <a:prstGeom prst="rect">
            <a:avLst/>
          </a:prstGeom>
          <a:noFill/>
        </p:spPr>
        <p:txBody>
          <a:bodyPr wrap="square" lIns="72000" tIns="45720" rIns="0" bIns="4572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00" b="0" i="0" u="none" strike="noStrike" kern="1200" cap="none" spc="0" normalizeH="0" baseline="0" noProof="0">
                <a:ln>
                  <a:noFill/>
                </a:ln>
                <a:solidFill>
                  <a:srgbClr val="646569"/>
                </a:solidFill>
                <a:effectLst/>
                <a:uLnTx/>
                <a:uFillTx/>
                <a:latin typeface="Calibri"/>
                <a:ea typeface="+mn-ea"/>
                <a:cs typeface="+mn-cs"/>
              </a:rPr>
              <a:t>Aaron leads Veeva's European Business Consulting Practice and specializes in commercial excellence, innovation and digital transformation</a:t>
            </a:r>
            <a:r>
              <a:rPr lang="en-US" sz="1000">
                <a:solidFill>
                  <a:srgbClr val="646569"/>
                </a:solidFill>
                <a:latin typeface="Calibri"/>
              </a:rPr>
              <a:t>, enabling</a:t>
            </a:r>
            <a:r>
              <a:rPr kumimoji="0" lang="en-US" sz="1000" b="0" i="0" u="none" strike="noStrike" kern="1200" cap="none" spc="0" normalizeH="0" baseline="0" noProof="0">
                <a:ln>
                  <a:noFill/>
                </a:ln>
                <a:solidFill>
                  <a:srgbClr val="646569"/>
                </a:solidFill>
                <a:effectLst/>
                <a:uLnTx/>
                <a:uFillTx/>
                <a:latin typeface="Calibri"/>
                <a:ea typeface="+mn-ea"/>
                <a:cs typeface="+mn-cs"/>
              </a:rPr>
              <a:t> clients to design and deliver world class customer experiences.</a:t>
            </a:r>
            <a:endParaRPr kumimoji="0" lang="en-US" sz="1000" b="0" i="0" u="none" strike="noStrike" kern="1200" cap="none" spc="0" normalizeH="0" baseline="0" noProof="0">
              <a:ln>
                <a:noFill/>
              </a:ln>
              <a:solidFill>
                <a:srgbClr val="646569"/>
              </a:solidFill>
              <a:effectLst/>
              <a:uLnTx/>
              <a:uFillTx/>
              <a:latin typeface="Calibri"/>
              <a:ea typeface="+mn-ea"/>
              <a:cs typeface="Calibri"/>
            </a:endParaRP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00" b="0" i="0" u="none" strike="noStrike" kern="1200" cap="none" spc="0" normalizeH="0" baseline="0" noProof="0">
                <a:ln>
                  <a:noFill/>
                </a:ln>
                <a:solidFill>
                  <a:srgbClr val="646569"/>
                </a:solidFill>
                <a:effectLst/>
                <a:uLnTx/>
                <a:uFillTx/>
                <a:latin typeface="Calibri"/>
                <a:ea typeface="+mn-ea"/>
                <a:cs typeface="+mn-cs"/>
              </a:rPr>
              <a:t>He brings over 18+ years' experience, prior to Veeva, Aaron was the Life Sciences Advisory Lead in EY UK.</a:t>
            </a:r>
            <a:endParaRPr kumimoji="0" lang="en-US" sz="1000" b="0" i="0" u="none" strike="noStrike" kern="1200" cap="none" spc="0" normalizeH="0" baseline="0" noProof="0">
              <a:ln>
                <a:noFill/>
              </a:ln>
              <a:solidFill>
                <a:srgbClr val="646569"/>
              </a:solidFill>
              <a:effectLst/>
              <a:uLnTx/>
              <a:uFillTx/>
              <a:latin typeface="Calibri"/>
              <a:ea typeface="+mn-ea"/>
              <a:cs typeface="Calibri"/>
            </a:endParaRPr>
          </a:p>
        </p:txBody>
      </p:sp>
      <p:pic>
        <p:nvPicPr>
          <p:cNvPr id="32" name="Picture 31">
            <a:extLst>
              <a:ext uri="{FF2B5EF4-FFF2-40B4-BE49-F238E27FC236}">
                <a16:creationId xmlns:a16="http://schemas.microsoft.com/office/drawing/2014/main" id="{AC5DB5B7-23FE-0F46-9CF8-E55C536ABB0F}"/>
              </a:ext>
            </a:extLst>
          </p:cNvPr>
          <p:cNvPicPr>
            <a:picLocks noChangeAspect="1"/>
          </p:cNvPicPr>
          <p:nvPr/>
        </p:nvPicPr>
        <p:blipFill>
          <a:blip r:embed="rId14" cstate="email">
            <a:grayscl/>
            <a:extLst>
              <a:ext uri="{28A0092B-C50C-407E-A947-70E740481C1C}">
                <a14:useLocalDpi xmlns:a14="http://schemas.microsoft.com/office/drawing/2010/main"/>
              </a:ext>
            </a:extLst>
          </a:blip>
          <a:stretch>
            <a:fillRect/>
          </a:stretch>
        </p:blipFill>
        <p:spPr>
          <a:xfrm>
            <a:off x="3431169" y="4539184"/>
            <a:ext cx="769388" cy="792865"/>
          </a:xfrm>
          <a:prstGeom prst="ellipse">
            <a:avLst/>
          </a:prstGeom>
          <a:ln w="19050">
            <a:solidFill>
              <a:schemeClr val="tx2"/>
            </a:solidFill>
          </a:ln>
        </p:spPr>
      </p:pic>
      <p:sp>
        <p:nvSpPr>
          <p:cNvPr id="33" name="TextBox 32">
            <a:extLst>
              <a:ext uri="{FF2B5EF4-FFF2-40B4-BE49-F238E27FC236}">
                <a16:creationId xmlns:a16="http://schemas.microsoft.com/office/drawing/2014/main" id="{2955BBCE-9150-4348-9D15-9D174EEB5F97}"/>
              </a:ext>
            </a:extLst>
          </p:cNvPr>
          <p:cNvSpPr txBox="1"/>
          <p:nvPr/>
        </p:nvSpPr>
        <p:spPr>
          <a:xfrm>
            <a:off x="3242442" y="5420264"/>
            <a:ext cx="1142403" cy="609398"/>
          </a:xfrm>
          <a:prstGeom prst="rect">
            <a:avLst/>
          </a:prstGeom>
          <a:noFill/>
        </p:spPr>
        <p:txBody>
          <a:bodyPr wrap="square" rtlCol="0">
            <a:spAutoFit/>
          </a:bodyPr>
          <a:lstStyle/>
          <a:p>
            <a:pPr marR="0" algn="ctr" defTabSz="914400" rtl="0" eaLnBrk="1" fontAlgn="auto" latinLnBrk="0" hangingPunct="1">
              <a:lnSpc>
                <a:spcPct val="80000"/>
              </a:lnSpc>
              <a:spcBef>
                <a:spcPts val="400"/>
              </a:spcBef>
              <a:spcAft>
                <a:spcPts val="0"/>
              </a:spcAft>
              <a:buClr>
                <a:schemeClr val="tx2"/>
              </a:buClr>
              <a:buSzTx/>
              <a:tabLst/>
            </a:pPr>
            <a:r>
              <a:rPr lang="en-US" sz="1200" b="1"/>
              <a:t>Sebastien Noel</a:t>
            </a:r>
          </a:p>
          <a:p>
            <a:pPr algn="ctr"/>
            <a:r>
              <a:rPr lang="en-AU" sz="1200" b="1">
                <a:solidFill>
                  <a:schemeClr val="tx2"/>
                </a:solidFill>
              </a:rPr>
              <a:t>Multichannel CRM strategy</a:t>
            </a:r>
          </a:p>
        </p:txBody>
      </p:sp>
      <p:sp>
        <p:nvSpPr>
          <p:cNvPr id="34" name="Rectangle 33">
            <a:extLst>
              <a:ext uri="{FF2B5EF4-FFF2-40B4-BE49-F238E27FC236}">
                <a16:creationId xmlns:a16="http://schemas.microsoft.com/office/drawing/2014/main" id="{06855D01-FD82-7541-BDBA-3A5CC9525BF8}"/>
              </a:ext>
            </a:extLst>
          </p:cNvPr>
          <p:cNvSpPr/>
          <p:nvPr/>
        </p:nvSpPr>
        <p:spPr>
          <a:xfrm>
            <a:off x="4338971" y="4462759"/>
            <a:ext cx="1829315" cy="1862048"/>
          </a:xfrm>
          <a:prstGeom prst="rect">
            <a:avLst/>
          </a:prstGeom>
          <a:noFill/>
        </p:spPr>
        <p:txBody>
          <a:bodyPr wrap="square" lIns="72000" tIns="45720" rIns="0" bIns="45720" rtlCol="0" anchor="t">
            <a:spAutoFit/>
          </a:bodyPr>
          <a:lstStyle/>
          <a:p>
            <a:pPr>
              <a:spcBef>
                <a:spcPts val="600"/>
              </a:spcBef>
              <a:buClr>
                <a:schemeClr val="tx2"/>
              </a:buClr>
            </a:pPr>
            <a:r>
              <a:rPr lang="en-GB" sz="1000">
                <a:cs typeface="Calibri"/>
              </a:rPr>
              <a:t>Sebastien leads Veeva’s EU MCM CRM Strategy. He works closely with all the Veeva teams, from Business Consulting to Product, to bring innovation and the best capabilities for Life Sciences. </a:t>
            </a:r>
            <a:endParaRPr lang="en-US" sz="1000"/>
          </a:p>
          <a:p>
            <a:pPr>
              <a:spcBef>
                <a:spcPts val="600"/>
              </a:spcBef>
            </a:pPr>
            <a:r>
              <a:rPr lang="en-GB" sz="1000">
                <a:cs typeface="Calibri"/>
              </a:rPr>
              <a:t>He brings over 13+ years' experience in SaaS applications and 8+ years' experience in remote engagement with pharma field teams in 50+ countries.    </a:t>
            </a:r>
            <a:endParaRPr lang="en-GB" sz="1000"/>
          </a:p>
        </p:txBody>
      </p:sp>
      <p:pic>
        <p:nvPicPr>
          <p:cNvPr id="35" name="Picture 34">
            <a:extLst>
              <a:ext uri="{FF2B5EF4-FFF2-40B4-BE49-F238E27FC236}">
                <a16:creationId xmlns:a16="http://schemas.microsoft.com/office/drawing/2014/main" id="{63935C15-FA8D-2B4A-9685-4A129E386DD9}"/>
              </a:ext>
            </a:extLst>
          </p:cNvPr>
          <p:cNvPicPr>
            <a:picLocks noChangeAspect="1"/>
          </p:cNvPicPr>
          <p:nvPr/>
        </p:nvPicPr>
        <p:blipFill rotWithShape="1">
          <a:blip r:embed="rId15" cstate="email">
            <a:grayscl/>
            <a:extLst>
              <a:ext uri="{28A0092B-C50C-407E-A947-70E740481C1C}">
                <a14:useLocalDpi xmlns:a14="http://schemas.microsoft.com/office/drawing/2010/main"/>
              </a:ext>
            </a:extLst>
          </a:blip>
          <a:srcRect/>
          <a:stretch/>
        </p:blipFill>
        <p:spPr>
          <a:xfrm>
            <a:off x="6344875" y="4539184"/>
            <a:ext cx="793535" cy="800961"/>
          </a:xfrm>
          <a:prstGeom prst="ellipse">
            <a:avLst/>
          </a:prstGeom>
          <a:ln w="19050">
            <a:solidFill>
              <a:schemeClr val="tx2"/>
            </a:solidFill>
          </a:ln>
        </p:spPr>
      </p:pic>
      <p:sp>
        <p:nvSpPr>
          <p:cNvPr id="36" name="Rectangle 35">
            <a:extLst>
              <a:ext uri="{FF2B5EF4-FFF2-40B4-BE49-F238E27FC236}">
                <a16:creationId xmlns:a16="http://schemas.microsoft.com/office/drawing/2014/main" id="{E1CB5B38-C8B1-2B48-8B8A-54B105919322}"/>
              </a:ext>
            </a:extLst>
          </p:cNvPr>
          <p:cNvSpPr/>
          <p:nvPr/>
        </p:nvSpPr>
        <p:spPr>
          <a:xfrm>
            <a:off x="7288914" y="4444014"/>
            <a:ext cx="1540401" cy="1862048"/>
          </a:xfrm>
          <a:prstGeom prst="rect">
            <a:avLst/>
          </a:prstGeom>
          <a:noFill/>
        </p:spPr>
        <p:txBody>
          <a:bodyPr wrap="square" lIns="72000" tIns="45720" rIns="0" bIns="45720" rtlCol="0" anchor="t">
            <a:spAutoFit/>
          </a:bodyPr>
          <a:lstStyle/>
          <a:p>
            <a:pPr>
              <a:spcBef>
                <a:spcPts val="600"/>
              </a:spcBef>
              <a:buClr>
                <a:schemeClr val="tx2"/>
              </a:buClr>
            </a:pPr>
            <a:r>
              <a:rPr lang="en-GB" sz="1000">
                <a:cs typeface="Calibri"/>
              </a:rPr>
              <a:t>Nora is the multichannel domain lead for Veeva CRM in Europe. </a:t>
            </a:r>
          </a:p>
          <a:p>
            <a:pPr>
              <a:spcBef>
                <a:spcPts val="600"/>
              </a:spcBef>
              <a:buClr>
                <a:schemeClr val="tx2"/>
              </a:buClr>
            </a:pPr>
            <a:r>
              <a:rPr lang="en-GB" sz="1000">
                <a:cs typeface="Calibri"/>
              </a:rPr>
              <a:t>She brings deep implementation expertise, having worked with clients to design and embed tailored CRM configurations to empower commercial teams through sharing of best practice.</a:t>
            </a:r>
            <a:endParaRPr lang="en-GB" sz="1000"/>
          </a:p>
        </p:txBody>
      </p:sp>
      <p:sp>
        <p:nvSpPr>
          <p:cNvPr id="37" name="TextBox 36">
            <a:extLst>
              <a:ext uri="{FF2B5EF4-FFF2-40B4-BE49-F238E27FC236}">
                <a16:creationId xmlns:a16="http://schemas.microsoft.com/office/drawing/2014/main" id="{D21A8154-9EC9-3B4D-85F7-75017BE3B459}"/>
              </a:ext>
            </a:extLst>
          </p:cNvPr>
          <p:cNvSpPr txBox="1"/>
          <p:nvPr/>
        </p:nvSpPr>
        <p:spPr>
          <a:xfrm>
            <a:off x="6100680" y="5411749"/>
            <a:ext cx="1281923" cy="424732"/>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lang="en-US" sz="1200" b="1">
                <a:solidFill>
                  <a:srgbClr val="646569"/>
                </a:solidFill>
                <a:latin typeface="Calibri"/>
              </a:rPr>
              <a:t>Nora </a:t>
            </a:r>
            <a:r>
              <a:rPr lang="en-US" sz="1200" b="1" err="1">
                <a:solidFill>
                  <a:srgbClr val="646569"/>
                </a:solidFill>
                <a:latin typeface="Calibri"/>
              </a:rPr>
              <a:t>Liebermeister</a:t>
            </a:r>
            <a:endParaRPr kumimoji="0" lang="en-US" sz="1200" b="1" i="0" u="none" strike="noStrike" kern="1200" cap="none" spc="0" normalizeH="0" baseline="0" noProof="0">
              <a:ln>
                <a:noFill/>
              </a:ln>
              <a:solidFill>
                <a:srgbClr val="646569"/>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9E16"/>
                </a:solidFill>
                <a:effectLst/>
                <a:uLnTx/>
                <a:uFillTx/>
                <a:latin typeface="Calibri"/>
                <a:ea typeface="+mn-ea"/>
                <a:cs typeface="+mn-cs"/>
              </a:rPr>
              <a:t>MCM CRM Lead</a:t>
            </a:r>
          </a:p>
        </p:txBody>
      </p:sp>
    </p:spTree>
    <p:extLst>
      <p:ext uri="{BB962C8B-B14F-4D97-AF65-F5344CB8AC3E}">
        <p14:creationId xmlns:p14="http://schemas.microsoft.com/office/powerpoint/2010/main" val="23426508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2E7594-619F-1040-8408-33E1217F230F}"/>
              </a:ext>
            </a:extLst>
          </p:cNvPr>
          <p:cNvSpPr>
            <a:spLocks noGrp="1"/>
          </p:cNvSpPr>
          <p:nvPr>
            <p:ph type="title"/>
          </p:nvPr>
        </p:nvSpPr>
        <p:spPr>
          <a:xfrm>
            <a:off x="467638" y="624253"/>
            <a:ext cx="2784906" cy="3921735"/>
          </a:xfrm>
        </p:spPr>
        <p:txBody>
          <a:bodyPr vert="horz" lIns="0" tIns="45720" rIns="0" bIns="45720" rtlCol="0" anchor="t" anchorCtr="0">
            <a:noAutofit/>
          </a:bodyPr>
          <a:lstStyle/>
          <a:p>
            <a:pPr>
              <a:lnSpc>
                <a:spcPct val="100000"/>
              </a:lnSpc>
            </a:pPr>
            <a:br>
              <a:rPr lang="en-GB" sz="2000"/>
            </a:br>
            <a:r>
              <a:rPr lang="en-GB" sz="2000" b="1"/>
              <a:t>Key assumptions: </a:t>
            </a:r>
            <a:br>
              <a:rPr lang="en-GB" sz="1800"/>
            </a:br>
            <a:br>
              <a:rPr lang="en-GB" sz="1800"/>
            </a:br>
            <a:r>
              <a:rPr lang="en-GB" sz="1600"/>
              <a:t>Proposal covers 4 phases of work from May to November 2021 (30 weeks)</a:t>
            </a:r>
            <a:br>
              <a:rPr lang="en-GB" sz="1600"/>
            </a:br>
            <a:br>
              <a:rPr lang="en-GB" sz="1600"/>
            </a:br>
            <a:r>
              <a:rPr lang="en-GB" sz="1600"/>
              <a:t>Veeva team for workstreams #1-3 of between  2-3 FTE people, flexed over 30 weeks</a:t>
            </a:r>
            <a:br>
              <a:rPr lang="en-GB" sz="1600"/>
            </a:br>
            <a:br>
              <a:rPr lang="en-GB" sz="1600"/>
            </a:br>
            <a:r>
              <a:rPr lang="en-GB" sz="1600"/>
              <a:t>For pilot (#4) this includes 2 local resources, 1 FTE per pilot, for at least 50% of their time for the duration of the pilot  </a:t>
            </a:r>
            <a:br>
              <a:rPr lang="en-GB" sz="1600"/>
            </a:br>
            <a:br>
              <a:rPr lang="en-GB" sz="1600"/>
            </a:br>
            <a:r>
              <a:rPr lang="en-GB" sz="1600"/>
              <a:t>Veeva will go very lean most of  August to accommodate to Galapagos holiday period </a:t>
            </a:r>
            <a:endParaRPr lang="en-GB" sz="1800"/>
          </a:p>
        </p:txBody>
      </p:sp>
      <p:sp>
        <p:nvSpPr>
          <p:cNvPr id="2" name="TextBox 1">
            <a:extLst>
              <a:ext uri="{FF2B5EF4-FFF2-40B4-BE49-F238E27FC236}">
                <a16:creationId xmlns:a16="http://schemas.microsoft.com/office/drawing/2014/main" id="{9A3D0843-7FC2-D543-B49A-270C050E9594}"/>
              </a:ext>
            </a:extLst>
          </p:cNvPr>
          <p:cNvSpPr txBox="1"/>
          <p:nvPr/>
        </p:nvSpPr>
        <p:spPr>
          <a:xfrm>
            <a:off x="4138357" y="473362"/>
            <a:ext cx="7480063" cy="1284069"/>
          </a:xfrm>
          <a:prstGeom prst="rect">
            <a:avLst/>
          </a:prstGeom>
          <a:noFill/>
        </p:spPr>
        <p:txBody>
          <a:bodyPr wrap="squar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3200" b="0" i="0" u="none" strike="noStrike" kern="1200" cap="none" spc="0" normalizeH="0" baseline="0" noProof="0">
                <a:ln>
                  <a:noFill/>
                </a:ln>
                <a:solidFill>
                  <a:srgbClr val="646569"/>
                </a:solidFill>
                <a:effectLst/>
                <a:uLnTx/>
                <a:uFillTx/>
                <a:latin typeface="Calibri"/>
                <a:ea typeface="+mn-ea"/>
                <a:cs typeface="+mn-cs"/>
              </a:rPr>
              <a:t>Veeva’s priority is ensure launch success for Galapagos – we have the rigorous execution focus to make programs successful</a:t>
            </a:r>
          </a:p>
        </p:txBody>
      </p:sp>
      <p:graphicFrame>
        <p:nvGraphicFramePr>
          <p:cNvPr id="6" name="Table 4">
            <a:extLst>
              <a:ext uri="{FF2B5EF4-FFF2-40B4-BE49-F238E27FC236}">
                <a16:creationId xmlns:a16="http://schemas.microsoft.com/office/drawing/2014/main" id="{113CF842-8192-6E44-B53F-3E1E0E4A9828}"/>
              </a:ext>
            </a:extLst>
          </p:cNvPr>
          <p:cNvGraphicFramePr>
            <a:graphicFrameLocks noGrp="1"/>
          </p:cNvGraphicFramePr>
          <p:nvPr>
            <p:extLst>
              <p:ext uri="{D42A27DB-BD31-4B8C-83A1-F6EECF244321}">
                <p14:modId xmlns:p14="http://schemas.microsoft.com/office/powerpoint/2010/main" val="1146140477"/>
              </p:ext>
            </p:extLst>
          </p:nvPr>
        </p:nvGraphicFramePr>
        <p:xfrm>
          <a:off x="4639900" y="2013141"/>
          <a:ext cx="6510607" cy="3021072"/>
        </p:xfrm>
        <a:graphic>
          <a:graphicData uri="http://schemas.openxmlformats.org/drawingml/2006/table">
            <a:tbl>
              <a:tblPr firstRow="1" bandRow="1">
                <a:tableStyleId>{5C22544A-7EE6-4342-B048-85BDC9FD1C3A}</a:tableStyleId>
              </a:tblPr>
              <a:tblGrid>
                <a:gridCol w="4056067">
                  <a:extLst>
                    <a:ext uri="{9D8B030D-6E8A-4147-A177-3AD203B41FA5}">
                      <a16:colId xmlns:a16="http://schemas.microsoft.com/office/drawing/2014/main" val="89577738"/>
                    </a:ext>
                  </a:extLst>
                </a:gridCol>
                <a:gridCol w="2454540">
                  <a:extLst>
                    <a:ext uri="{9D8B030D-6E8A-4147-A177-3AD203B41FA5}">
                      <a16:colId xmlns:a16="http://schemas.microsoft.com/office/drawing/2014/main" val="3437075268"/>
                    </a:ext>
                  </a:extLst>
                </a:gridCol>
              </a:tblGrid>
              <a:tr h="284550">
                <a:tc>
                  <a:txBody>
                    <a:bodyPr/>
                    <a:lstStyle/>
                    <a:p>
                      <a:endParaRPr lang="en-US" sz="120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tc>
                  <a:txBody>
                    <a:bodyPr/>
                    <a:lstStyle/>
                    <a:p>
                      <a:pPr algn="ctr"/>
                      <a:r>
                        <a:rPr lang="en-US" sz="1200"/>
                        <a:t>Price (EU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141766303"/>
                  </a:ext>
                </a:extLst>
              </a:tr>
              <a:tr h="351147">
                <a:tc>
                  <a:txBody>
                    <a:bodyPr/>
                    <a:lstStyle/>
                    <a:p>
                      <a:pPr algn="ctr"/>
                      <a:r>
                        <a:rPr lang="en-GB" sz="1200" b="1">
                          <a:solidFill>
                            <a:schemeClr val="bg1"/>
                          </a:solidFill>
                        </a:rPr>
                        <a:t>1. DEFINE THE ENGAGEMENT MODEL</a:t>
                      </a:r>
                      <a:endParaRPr lang="en-US"/>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240,0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619430695"/>
                  </a:ext>
                </a:extLst>
              </a:tr>
              <a:tr h="284550">
                <a:tc>
                  <a:txBody>
                    <a:bodyPr/>
                    <a:lstStyle/>
                    <a:p>
                      <a:pPr algn="ctr"/>
                      <a:r>
                        <a:rPr lang="en-GB" sz="1200" b="1">
                          <a:solidFill>
                            <a:schemeClr val="bg1"/>
                          </a:solidFill>
                        </a:rPr>
                        <a:t>2. ENABLE EXECUT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135,0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486186901"/>
                  </a:ext>
                </a:extLst>
              </a:tr>
              <a:tr h="351147">
                <a:tc>
                  <a:txBody>
                    <a:bodyPr/>
                    <a:lstStyle/>
                    <a:p>
                      <a:pPr algn="ctr"/>
                      <a:r>
                        <a:rPr lang="en-GB" sz="1200" b="1">
                          <a:solidFill>
                            <a:schemeClr val="bg1"/>
                          </a:solidFill>
                        </a:rPr>
                        <a:t>3. EMPOWER THE HYBRID-REP</a:t>
                      </a:r>
                      <a:endParaRPr lang="en-US"/>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45,0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746595154"/>
                  </a:ext>
                </a:extLst>
              </a:tr>
              <a:tr h="326930">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1">
                          <a:solidFill>
                            <a:schemeClr val="bg1"/>
                          </a:solidFill>
                        </a:rPr>
                        <a:t>4. TEST, LEARN &amp; ITERATE (PILOT SUPPOR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270,0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671955072"/>
                  </a:ext>
                </a:extLst>
              </a:tr>
              <a:tr h="284549">
                <a:tc>
                  <a:txBody>
                    <a:bodyPr/>
                    <a:lstStyle/>
                    <a:p>
                      <a:pPr marL="0" lvl="0" indent="0" algn="r">
                        <a:lnSpc>
                          <a:spcPct val="100000"/>
                        </a:lnSpc>
                        <a:spcBef>
                          <a:spcPts val="0"/>
                        </a:spcBef>
                        <a:spcAft>
                          <a:spcPts val="0"/>
                        </a:spcAft>
                        <a:buNone/>
                      </a:pPr>
                      <a:r>
                        <a:rPr lang="en-GB" sz="1200" b="1">
                          <a:solidFill>
                            <a:schemeClr val="tx1"/>
                          </a:solidFill>
                        </a:rPr>
                        <a:t>Total Before Veeva Investment</a:t>
                      </a:r>
                    </a:p>
                  </a:txBody>
                  <a:tcPr>
                    <a:lnL w="6350">
                      <a:solidFill>
                        <a:schemeClr val="bg1"/>
                      </a:solidFill>
                    </a:lnL>
                    <a:lnR w="6350">
                      <a:solidFill>
                        <a:schemeClr val="bg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a:buNone/>
                      </a:pPr>
                      <a:r>
                        <a:rPr lang="en-US" sz="1200" b="1"/>
                        <a:t>€690,000</a:t>
                      </a:r>
                    </a:p>
                  </a:txBody>
                  <a:tcPr>
                    <a:lnL w="6350">
                      <a:solidFill>
                        <a:schemeClr val="bg1"/>
                      </a:solidFill>
                    </a:lnL>
                    <a:lnR w="6350">
                      <a:solidFill>
                        <a:schemeClr val="bg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46744421"/>
                  </a:ext>
                </a:extLst>
              </a:tr>
              <a:tr h="28455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0">
                          <a:solidFill>
                            <a:schemeClr val="tx1"/>
                          </a:solidFill>
                        </a:rPr>
                        <a:t>Veeva Investment 1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a:t>€69,0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36423103"/>
                  </a:ext>
                </a:extLst>
              </a:tr>
              <a:tr h="28455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0">
                          <a:solidFill>
                            <a:schemeClr val="tx1"/>
                          </a:solidFill>
                        </a:rPr>
                        <a:t>Additional investment 5%</a:t>
                      </a: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t>€34,500</a:t>
                      </a: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96884925"/>
                  </a:ext>
                </a:extLst>
              </a:tr>
              <a:tr h="284549">
                <a:tc>
                  <a:txBody>
                    <a:bodyPr/>
                    <a:lstStyle/>
                    <a:p>
                      <a:pPr marL="0" lvl="0" indent="0" algn="r">
                        <a:lnSpc>
                          <a:spcPct val="100000"/>
                        </a:lnSpc>
                        <a:spcBef>
                          <a:spcPts val="0"/>
                        </a:spcBef>
                        <a:spcAft>
                          <a:spcPts val="0"/>
                        </a:spcAft>
                        <a:buNone/>
                      </a:pPr>
                      <a:r>
                        <a:rPr lang="en-GB" sz="1200" b="1">
                          <a:solidFill>
                            <a:schemeClr val="tx1"/>
                          </a:solidFill>
                        </a:rPr>
                        <a:t>Total Veeva Investment (15%)</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ctr">
                        <a:buNone/>
                      </a:pPr>
                      <a:r>
                        <a:rPr lang="en-US" sz="1200" b="1"/>
                        <a:t>€103,50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529185673"/>
                  </a:ext>
                </a:extLst>
              </a:tr>
              <a:tr h="28455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solidFill>
                            <a:schemeClr val="tx1"/>
                          </a:solidFill>
                        </a:rPr>
                        <a:t>Final Fee</a:t>
                      </a:r>
                    </a:p>
                  </a:txBody>
                  <a:tcPr anchor="ctr">
                    <a:lnT w="12700" cap="flat" cmpd="sng" algn="ctr">
                      <a:solidFill>
                        <a:schemeClr val="tx1"/>
                      </a:solidFill>
                      <a:prstDash val="solid"/>
                      <a:round/>
                      <a:headEnd type="none" w="med" len="med"/>
                      <a:tailEnd type="none" w="med" len="med"/>
                    </a:lnT>
                    <a:solidFill>
                      <a:schemeClr val="bg1"/>
                    </a:solidFill>
                  </a:tcPr>
                </a:tc>
                <a:tc>
                  <a:txBody>
                    <a:bodyPr/>
                    <a:lstStyle/>
                    <a:p>
                      <a:pPr algn="ctr"/>
                      <a:r>
                        <a:rPr lang="en-US" sz="1200" b="1"/>
                        <a:t>€586,500</a:t>
                      </a:r>
                    </a:p>
                  </a:txBody>
                  <a:tcPr anchor="ctr">
                    <a:lnT w="12700" cap="flat" cmpd="sng" algn="ctr">
                      <a:solidFill>
                        <a:schemeClr val="tx1"/>
                      </a:solidFill>
                      <a:prstDash val="solid"/>
                      <a:round/>
                      <a:headEnd type="none" w="med" len="med"/>
                      <a:tailEnd type="none" w="med" len="med"/>
                    </a:lnT>
                    <a:solidFill>
                      <a:schemeClr val="bg2"/>
                    </a:solidFill>
                  </a:tcPr>
                </a:tc>
                <a:extLst>
                  <a:ext uri="{0D108BD9-81ED-4DB2-BD59-A6C34878D82A}">
                    <a16:rowId xmlns:a16="http://schemas.microsoft.com/office/drawing/2014/main" val="3708427524"/>
                  </a:ext>
                </a:extLst>
              </a:tr>
            </a:tbl>
          </a:graphicData>
        </a:graphic>
      </p:graphicFrame>
      <p:sp>
        <p:nvSpPr>
          <p:cNvPr id="4" name="TextBox 3">
            <a:extLst>
              <a:ext uri="{FF2B5EF4-FFF2-40B4-BE49-F238E27FC236}">
                <a16:creationId xmlns:a16="http://schemas.microsoft.com/office/drawing/2014/main" id="{B5E79EE2-367C-864B-BBCB-7F49E96F0E10}"/>
              </a:ext>
            </a:extLst>
          </p:cNvPr>
          <p:cNvSpPr txBox="1"/>
          <p:nvPr/>
        </p:nvSpPr>
        <p:spPr>
          <a:xfrm>
            <a:off x="4607716" y="5480382"/>
            <a:ext cx="6510607" cy="613630"/>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1400"/>
              <a:t>In addition to this Veeva will provide a one-off Pulse benchmarking report for 7 markets covering volume (total and per rep) and quality metrics for calls, engage meeting and approved email along with CLM usage and customer satisfaction data.</a:t>
            </a:r>
          </a:p>
        </p:txBody>
      </p:sp>
      <p:sp>
        <p:nvSpPr>
          <p:cNvPr id="5" name="TextBox 4">
            <a:extLst>
              <a:ext uri="{FF2B5EF4-FFF2-40B4-BE49-F238E27FC236}">
                <a16:creationId xmlns:a16="http://schemas.microsoft.com/office/drawing/2014/main" id="{5CE013BD-D814-0649-9808-2A01DE2815CF}"/>
              </a:ext>
            </a:extLst>
          </p:cNvPr>
          <p:cNvSpPr txBox="1"/>
          <p:nvPr/>
        </p:nvSpPr>
        <p:spPr>
          <a:xfrm>
            <a:off x="4607716" y="5191672"/>
            <a:ext cx="4110958" cy="319446"/>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a:solidFill>
                  <a:schemeClr val="tx2"/>
                </a:solidFill>
              </a:rPr>
              <a:t>+ 7 x Full Pulse Reports worth €50,000</a:t>
            </a:r>
          </a:p>
        </p:txBody>
      </p:sp>
    </p:spTree>
    <p:extLst>
      <p:ext uri="{BB962C8B-B14F-4D97-AF65-F5344CB8AC3E}">
        <p14:creationId xmlns:p14="http://schemas.microsoft.com/office/powerpoint/2010/main" val="321180229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E84CDFB-0027-4E1A-874B-899115247505}"/>
              </a:ext>
            </a:extLst>
          </p:cNvPr>
          <p:cNvSpPr>
            <a:spLocks noGrp="1"/>
          </p:cNvSpPr>
          <p:nvPr>
            <p:ph type="title"/>
          </p:nvPr>
        </p:nvSpPr>
        <p:spPr>
          <a:xfrm>
            <a:off x="276303" y="609600"/>
            <a:ext cx="7662404" cy="1101213"/>
          </a:xfrm>
        </p:spPr>
        <p:txBody>
          <a:bodyPr/>
          <a:lstStyle/>
          <a:p>
            <a:r>
              <a:rPr lang="en-GB"/>
              <a:t>Why Veeva are the right partner for you</a:t>
            </a:r>
          </a:p>
        </p:txBody>
      </p:sp>
      <p:sp>
        <p:nvSpPr>
          <p:cNvPr id="11" name="Text Placeholder 10">
            <a:extLst>
              <a:ext uri="{FF2B5EF4-FFF2-40B4-BE49-F238E27FC236}">
                <a16:creationId xmlns:a16="http://schemas.microsoft.com/office/drawing/2014/main" id="{FB45E3C3-FB09-2340-BA15-995E40537912}"/>
              </a:ext>
            </a:extLst>
          </p:cNvPr>
          <p:cNvSpPr>
            <a:spLocks noGrp="1"/>
          </p:cNvSpPr>
          <p:nvPr>
            <p:ph type="body" sz="quarter" idx="10"/>
          </p:nvPr>
        </p:nvSpPr>
        <p:spPr>
          <a:xfrm>
            <a:off x="8781932" y="1710813"/>
            <a:ext cx="3221318" cy="3435892"/>
          </a:xfrm>
        </p:spPr>
        <p:txBody>
          <a:bodyPr vert="horz" lIns="0" tIns="45720" rIns="0" bIns="45720" rtlCol="0" anchor="ctr" anchorCtr="0">
            <a:noAutofit/>
          </a:bodyPr>
          <a:lstStyle/>
          <a:p>
            <a:pPr>
              <a:lnSpc>
                <a:spcPct val="100000"/>
              </a:lnSpc>
              <a:spcBef>
                <a:spcPct val="0"/>
              </a:spcBef>
              <a:buClrTx/>
              <a:buFontTx/>
            </a:pPr>
            <a:r>
              <a:rPr lang="en-US" sz="2600">
                <a:latin typeface="+mj-lt"/>
                <a:ea typeface="+mj-ea"/>
                <a:cs typeface="+mj-cs"/>
              </a:rPr>
              <a:t>Veeva Business Consulting brings deep commercial strategy and execution experience, proprietary Pulse HCP data and an unrivalled understanding of how to design and execute HCP engagement strategies</a:t>
            </a:r>
          </a:p>
        </p:txBody>
      </p:sp>
      <p:grpSp>
        <p:nvGrpSpPr>
          <p:cNvPr id="3" name="Group 2">
            <a:extLst>
              <a:ext uri="{FF2B5EF4-FFF2-40B4-BE49-F238E27FC236}">
                <a16:creationId xmlns:a16="http://schemas.microsoft.com/office/drawing/2014/main" id="{75C0F369-439D-8749-9878-4AF30B1D3CC5}"/>
              </a:ext>
            </a:extLst>
          </p:cNvPr>
          <p:cNvGrpSpPr/>
          <p:nvPr/>
        </p:nvGrpSpPr>
        <p:grpSpPr>
          <a:xfrm>
            <a:off x="538167" y="1530413"/>
            <a:ext cx="7662404" cy="4371876"/>
            <a:chOff x="538167" y="1237173"/>
            <a:chExt cx="7662404" cy="3992041"/>
          </a:xfrm>
        </p:grpSpPr>
        <p:sp>
          <p:nvSpPr>
            <p:cNvPr id="2" name="Round Single Corner Rectangle 1">
              <a:extLst>
                <a:ext uri="{FF2B5EF4-FFF2-40B4-BE49-F238E27FC236}">
                  <a16:creationId xmlns:a16="http://schemas.microsoft.com/office/drawing/2014/main" id="{DA768352-33A1-4349-88D5-30EF2DE9D911}"/>
                </a:ext>
              </a:extLst>
            </p:cNvPr>
            <p:cNvSpPr/>
            <p:nvPr/>
          </p:nvSpPr>
          <p:spPr>
            <a:xfrm flipH="1">
              <a:off x="538167" y="4369979"/>
              <a:ext cx="7662404" cy="859235"/>
            </a:xfrm>
            <a:prstGeom prst="round1Rect">
              <a:avLst>
                <a:gd name="adj" fmla="val 0"/>
              </a:avLst>
            </a:prstGeom>
            <a:solidFill>
              <a:srgbClr val="FFFFFF"/>
            </a:solidFill>
            <a:ln w="9525" cap="flat" cmpd="sng" algn="ctr">
              <a:solidFill>
                <a:schemeClr val="bg1">
                  <a:lumMod val="85000"/>
                </a:schemeClr>
              </a:solidFill>
              <a:prstDash val="solid"/>
              <a:miter lim="800000"/>
            </a:ln>
            <a:effectLst>
              <a:outerShdw blurRad="63500" algn="ctr" rotWithShape="0">
                <a:prstClr val="black">
                  <a:alpha val="15000"/>
                </a:prstClr>
              </a:outerShdw>
            </a:effectLst>
          </p:spPr>
          <p:txBody>
            <a:bodyPr rtlCol="0" anchor="ctr"/>
            <a:lstStyle/>
            <a:p>
              <a:pPr marL="360000" defTabSz="685800">
                <a:defRPr/>
              </a:pPr>
              <a:r>
                <a:rPr lang="en-US" sz="1600" b="1">
                  <a:solidFill>
                    <a:schemeClr val="tx2"/>
                  </a:solidFill>
                </a:rPr>
                <a:t>A collaborative, flexible partnership </a:t>
              </a:r>
              <a:r>
                <a:rPr lang="en-US" sz="1600"/>
                <a:t>approach built on our strong understanding of Galapagos and builds on the work we are already doing with you</a:t>
              </a:r>
            </a:p>
          </p:txBody>
        </p:sp>
        <p:sp>
          <p:nvSpPr>
            <p:cNvPr id="4" name="Round Single Corner Rectangle 1">
              <a:extLst>
                <a:ext uri="{FF2B5EF4-FFF2-40B4-BE49-F238E27FC236}">
                  <a16:creationId xmlns:a16="http://schemas.microsoft.com/office/drawing/2014/main" id="{014F595D-AFA7-4EA4-98F4-F12697477C29}"/>
                </a:ext>
              </a:extLst>
            </p:cNvPr>
            <p:cNvSpPr/>
            <p:nvPr/>
          </p:nvSpPr>
          <p:spPr>
            <a:xfrm flipH="1">
              <a:off x="538167" y="2283607"/>
              <a:ext cx="7662404" cy="859235"/>
            </a:xfrm>
            <a:prstGeom prst="round1Rect">
              <a:avLst>
                <a:gd name="adj" fmla="val 0"/>
              </a:avLst>
            </a:prstGeom>
            <a:solidFill>
              <a:srgbClr val="FFFFFF"/>
            </a:solidFill>
            <a:ln w="9525" cap="flat" cmpd="sng" algn="ctr">
              <a:solidFill>
                <a:schemeClr val="bg1">
                  <a:lumMod val="85000"/>
                </a:schemeClr>
              </a:solidFill>
              <a:prstDash val="solid"/>
              <a:miter lim="800000"/>
            </a:ln>
            <a:effectLst>
              <a:outerShdw blurRad="63500" algn="ctr" rotWithShape="0">
                <a:prstClr val="black">
                  <a:alpha val="15000"/>
                </a:prstClr>
              </a:outerShdw>
            </a:effectLst>
          </p:spPr>
          <p:txBody>
            <a:bodyPr rtlCol="0" anchor="ctr"/>
            <a:lstStyle/>
            <a:p>
              <a:pPr marL="360000" defTabSz="685800">
                <a:defRPr/>
              </a:pPr>
              <a:r>
                <a:rPr lang="en-GB" sz="1600" b="1">
                  <a:solidFill>
                    <a:schemeClr val="tx2"/>
                  </a:solidFill>
                </a:rPr>
                <a:t>Proprietary HCP data </a:t>
              </a:r>
              <a:r>
                <a:rPr lang="en-GB" sz="1600"/>
                <a:t>through VeevaPulse providing unique benchmarks and a view of engagement trends and digital maturity for each key Galapagos market</a:t>
              </a:r>
              <a:endParaRPr lang="en-US" sz="1600"/>
            </a:p>
          </p:txBody>
        </p:sp>
        <p:sp>
          <p:nvSpPr>
            <p:cNvPr id="5" name="Round Single Corner Rectangle 1">
              <a:extLst>
                <a:ext uri="{FF2B5EF4-FFF2-40B4-BE49-F238E27FC236}">
                  <a16:creationId xmlns:a16="http://schemas.microsoft.com/office/drawing/2014/main" id="{521D3288-B276-46D0-9521-751CA01BF10C}"/>
                </a:ext>
              </a:extLst>
            </p:cNvPr>
            <p:cNvSpPr/>
            <p:nvPr/>
          </p:nvSpPr>
          <p:spPr>
            <a:xfrm flipH="1">
              <a:off x="538167" y="1237173"/>
              <a:ext cx="7662404" cy="859235"/>
            </a:xfrm>
            <a:prstGeom prst="round1Rect">
              <a:avLst>
                <a:gd name="adj" fmla="val 0"/>
              </a:avLst>
            </a:prstGeom>
            <a:solidFill>
              <a:srgbClr val="FFFFFF"/>
            </a:solidFill>
            <a:ln w="9525" cap="flat" cmpd="sng" algn="ctr">
              <a:solidFill>
                <a:schemeClr val="bg1">
                  <a:lumMod val="85000"/>
                </a:schemeClr>
              </a:solidFill>
              <a:prstDash val="solid"/>
              <a:miter lim="800000"/>
            </a:ln>
            <a:effectLst>
              <a:outerShdw blurRad="63500" algn="ctr" rotWithShape="0">
                <a:prstClr val="black">
                  <a:alpha val="15000"/>
                </a:prstClr>
              </a:outerShdw>
            </a:effectLst>
          </p:spPr>
          <p:txBody>
            <a:bodyPr rtlCol="0" anchor="ctr"/>
            <a:lstStyle/>
            <a:p>
              <a:pPr marL="360000" defTabSz="685800">
                <a:defRPr/>
              </a:pPr>
              <a:r>
                <a:rPr lang="en-GB" sz="1600" b="1">
                  <a:solidFill>
                    <a:schemeClr val="tx2"/>
                  </a:solidFill>
                </a:rPr>
                <a:t>Proven approach to customer engagement model design, </a:t>
              </a:r>
              <a:r>
                <a:rPr lang="en-GB" sz="1600"/>
                <a:t>that reflects go to market strategy development, deep HCP and therapy area understanding and  current environment and changing market dynamics understanding</a:t>
              </a:r>
              <a:endParaRPr lang="en-US" sz="1600"/>
            </a:p>
          </p:txBody>
        </p:sp>
        <p:sp>
          <p:nvSpPr>
            <p:cNvPr id="7" name="Round Single Corner Rectangle 1">
              <a:extLst>
                <a:ext uri="{FF2B5EF4-FFF2-40B4-BE49-F238E27FC236}">
                  <a16:creationId xmlns:a16="http://schemas.microsoft.com/office/drawing/2014/main" id="{80ADCF4F-5D3F-486B-8A10-A1EA1B82B960}"/>
                </a:ext>
              </a:extLst>
            </p:cNvPr>
            <p:cNvSpPr/>
            <p:nvPr/>
          </p:nvSpPr>
          <p:spPr>
            <a:xfrm flipH="1">
              <a:off x="538167" y="3350792"/>
              <a:ext cx="7662404" cy="859235"/>
            </a:xfrm>
            <a:prstGeom prst="round1Rect">
              <a:avLst>
                <a:gd name="adj" fmla="val 0"/>
              </a:avLst>
            </a:prstGeom>
            <a:solidFill>
              <a:srgbClr val="FFFFFF"/>
            </a:solidFill>
            <a:ln w="9525" cap="flat" cmpd="sng" algn="ctr">
              <a:solidFill>
                <a:schemeClr val="bg1">
                  <a:lumMod val="85000"/>
                </a:schemeClr>
              </a:solidFill>
              <a:prstDash val="solid"/>
              <a:miter lim="800000"/>
            </a:ln>
            <a:effectLst>
              <a:outerShdw blurRad="63500" algn="ctr" rotWithShape="0">
                <a:prstClr val="black">
                  <a:alpha val="15000"/>
                </a:prstClr>
              </a:outerShdw>
            </a:effectLst>
          </p:spPr>
          <p:txBody>
            <a:bodyPr rtlCol="0" anchor="ctr"/>
            <a:lstStyle/>
            <a:p>
              <a:pPr marL="360000" defTabSz="685800">
                <a:defRPr/>
              </a:pPr>
              <a:r>
                <a:rPr lang="en-GB" sz="1600"/>
                <a:t>Recommendations </a:t>
              </a:r>
              <a:r>
                <a:rPr lang="en-GB" sz="1600" b="1">
                  <a:solidFill>
                    <a:schemeClr val="tx2"/>
                  </a:solidFill>
                </a:rPr>
                <a:t>grounded in practical reality</a:t>
              </a:r>
              <a:r>
                <a:rPr lang="en-GB" sz="1600"/>
                <a:t>, leveraging our unique position working at the intersection of </a:t>
              </a:r>
              <a:r>
                <a:rPr lang="en-GB" sz="1600" b="1">
                  <a:solidFill>
                    <a:schemeClr val="tx2"/>
                  </a:solidFill>
                </a:rPr>
                <a:t>business strategy, data</a:t>
              </a:r>
              <a:r>
                <a:rPr lang="en-GB" sz="1600"/>
                <a:t> and </a:t>
              </a:r>
              <a:r>
                <a:rPr lang="en-GB" sz="1600" b="1">
                  <a:solidFill>
                    <a:schemeClr val="tx2"/>
                  </a:solidFill>
                </a:rPr>
                <a:t>technology</a:t>
              </a:r>
              <a:endParaRPr kumimoji="0" lang="en-US" sz="1600" b="1" i="0" u="none" strike="noStrike" kern="0" cap="none" normalizeH="0" noProof="0">
                <a:ln>
                  <a:noFill/>
                </a:ln>
                <a:solidFill>
                  <a:schemeClr val="tx2"/>
                </a:solidFill>
                <a:effectLst/>
                <a:uLnTx/>
                <a:uFillTx/>
                <a:latin typeface="Calibri"/>
                <a:ea typeface="ＭＳ Ｐゴシック" charset="0"/>
                <a:cs typeface="ＭＳ Ｐゴシック" charset="0"/>
              </a:endParaRPr>
            </a:p>
          </p:txBody>
        </p:sp>
        <p:sp>
          <p:nvSpPr>
            <p:cNvPr id="23" name="Rectangle 22">
              <a:extLst>
                <a:ext uri="{FF2B5EF4-FFF2-40B4-BE49-F238E27FC236}">
                  <a16:creationId xmlns:a16="http://schemas.microsoft.com/office/drawing/2014/main" id="{587F4799-2F0F-42CF-9312-FEEC0DB25999}"/>
                </a:ext>
              </a:extLst>
            </p:cNvPr>
            <p:cNvSpPr/>
            <p:nvPr/>
          </p:nvSpPr>
          <p:spPr>
            <a:xfrm rot="16200000">
              <a:off x="145927" y="4767351"/>
              <a:ext cx="841528" cy="5704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7" name="Rectangle 26">
              <a:extLst>
                <a:ext uri="{FF2B5EF4-FFF2-40B4-BE49-F238E27FC236}">
                  <a16:creationId xmlns:a16="http://schemas.microsoft.com/office/drawing/2014/main" id="{F5B4A19C-3DEE-468F-ABBA-87E279A8C468}"/>
                </a:ext>
              </a:extLst>
            </p:cNvPr>
            <p:cNvSpPr/>
            <p:nvPr/>
          </p:nvSpPr>
          <p:spPr>
            <a:xfrm rot="16200000">
              <a:off x="145925" y="2682221"/>
              <a:ext cx="841528" cy="5704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 name="Rectangle 28">
              <a:extLst>
                <a:ext uri="{FF2B5EF4-FFF2-40B4-BE49-F238E27FC236}">
                  <a16:creationId xmlns:a16="http://schemas.microsoft.com/office/drawing/2014/main" id="{3DD1367C-0462-4D28-8A07-480EC98BAEFA}"/>
                </a:ext>
              </a:extLst>
            </p:cNvPr>
            <p:cNvSpPr/>
            <p:nvPr/>
          </p:nvSpPr>
          <p:spPr>
            <a:xfrm rot="16200000">
              <a:off x="145925" y="1636409"/>
              <a:ext cx="841528" cy="5704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 name="Rectangle 30">
              <a:extLst>
                <a:ext uri="{FF2B5EF4-FFF2-40B4-BE49-F238E27FC236}">
                  <a16:creationId xmlns:a16="http://schemas.microsoft.com/office/drawing/2014/main" id="{61D8F445-C181-42AA-BBE1-3C93EAC96DC0}"/>
                </a:ext>
              </a:extLst>
            </p:cNvPr>
            <p:cNvSpPr/>
            <p:nvPr/>
          </p:nvSpPr>
          <p:spPr>
            <a:xfrm rot="16200000">
              <a:off x="145927" y="3750648"/>
              <a:ext cx="841528" cy="5704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2681206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73E39C-FE51-2C46-A562-F8FBC645A45D}"/>
              </a:ext>
            </a:extLst>
          </p:cNvPr>
          <p:cNvSpPr>
            <a:spLocks noGrp="1"/>
          </p:cNvSpPr>
          <p:nvPr>
            <p:ph type="title"/>
          </p:nvPr>
        </p:nvSpPr>
        <p:spPr/>
        <p:txBody>
          <a:bodyPr vert="horz" lIns="91440" tIns="45720" rIns="91440" bIns="45720" rtlCol="0" anchor="ctr" anchorCtr="0">
            <a:noAutofit/>
          </a:bodyPr>
          <a:lstStyle/>
          <a:p>
            <a:r>
              <a:rPr lang="en-GB"/>
              <a:t>Galapagos is seeking to design and operationalise a Customer Engagement model to achieve targeted growth for </a:t>
            </a:r>
            <a:r>
              <a:rPr lang="en-GB" err="1"/>
              <a:t>Jyseleca</a:t>
            </a:r>
            <a:endParaRPr lang="en-GB"/>
          </a:p>
        </p:txBody>
      </p:sp>
      <p:sp>
        <p:nvSpPr>
          <p:cNvPr id="33" name="TextBox 32">
            <a:extLst>
              <a:ext uri="{FF2B5EF4-FFF2-40B4-BE49-F238E27FC236}">
                <a16:creationId xmlns:a16="http://schemas.microsoft.com/office/drawing/2014/main" id="{6B165D6A-33F1-CC46-B69E-A5FDF1E350F7}"/>
              </a:ext>
            </a:extLst>
          </p:cNvPr>
          <p:cNvSpPr txBox="1"/>
          <p:nvPr/>
        </p:nvSpPr>
        <p:spPr>
          <a:xfrm>
            <a:off x="543519" y="1606483"/>
            <a:ext cx="2126293" cy="319446"/>
          </a:xfrm>
          <a:prstGeom prst="rect">
            <a:avLst/>
          </a:prstGeom>
          <a:noFill/>
        </p:spPr>
        <p:txBody>
          <a:bodyPr wrap="square" rtlCol="0">
            <a:spAutoFit/>
          </a:bodyPr>
          <a:lstStyle/>
          <a:p>
            <a:pPr marR="0" defTabSz="914400" rtl="0" eaLnBrk="1" fontAlgn="auto" latinLnBrk="0" hangingPunct="1">
              <a:lnSpc>
                <a:spcPct val="80000"/>
              </a:lnSpc>
              <a:spcBef>
                <a:spcPts val="1200"/>
              </a:spcBef>
              <a:spcAft>
                <a:spcPts val="0"/>
              </a:spcAft>
              <a:buClr>
                <a:schemeClr val="tx2"/>
              </a:buClr>
              <a:buSzTx/>
              <a:tabLst/>
            </a:pPr>
            <a:r>
              <a:rPr lang="en-GB" b="1"/>
              <a:t>Context:</a:t>
            </a:r>
          </a:p>
        </p:txBody>
      </p:sp>
      <p:sp>
        <p:nvSpPr>
          <p:cNvPr id="35" name="TextBox 34">
            <a:extLst>
              <a:ext uri="{FF2B5EF4-FFF2-40B4-BE49-F238E27FC236}">
                <a16:creationId xmlns:a16="http://schemas.microsoft.com/office/drawing/2014/main" id="{2AFAD184-34BC-3A4F-B6A6-D13D8B3DDF09}"/>
              </a:ext>
            </a:extLst>
          </p:cNvPr>
          <p:cNvSpPr txBox="1"/>
          <p:nvPr/>
        </p:nvSpPr>
        <p:spPr>
          <a:xfrm>
            <a:off x="404142" y="2108401"/>
            <a:ext cx="4531339" cy="4247317"/>
          </a:xfrm>
          <a:prstGeom prst="rect">
            <a:avLst/>
          </a:prstGeom>
          <a:noFill/>
        </p:spPr>
        <p:txBody>
          <a:bodyPr wrap="square" rtlCol="0">
            <a:spAutoFit/>
          </a:bodyPr>
          <a:lstStyle/>
          <a:p>
            <a:pPr marL="185738" marR="0" indent="-174625" algn="l" defTabSz="914400" rtl="0" eaLnBrk="1" fontAlgn="auto" latinLnBrk="0" hangingPunct="1">
              <a:spcBef>
                <a:spcPts val="1200"/>
              </a:spcBef>
              <a:spcAft>
                <a:spcPts val="0"/>
              </a:spcAft>
              <a:buClr>
                <a:schemeClr val="tx2"/>
              </a:buClr>
              <a:buSzTx/>
              <a:buFont typeface="Arial" panose="020B0604020202020204" pitchFamily="34" charset="0"/>
              <a:buChar char="•"/>
            </a:pPr>
            <a:r>
              <a:rPr lang="en-US" sz="1500"/>
              <a:t>Galapagos is launching in 7+ European markets across two indications for </a:t>
            </a:r>
            <a:r>
              <a:rPr lang="en-US" sz="1500" err="1"/>
              <a:t>Jyseleca</a:t>
            </a:r>
            <a:r>
              <a:rPr lang="en-US" sz="1500"/>
              <a:t>, with different timings and levels of market maturity</a:t>
            </a:r>
          </a:p>
          <a:p>
            <a:pPr marL="185738" marR="0" indent="-174625" algn="l" defTabSz="914400" rtl="0" eaLnBrk="1" fontAlgn="auto" latinLnBrk="0" hangingPunct="1">
              <a:spcBef>
                <a:spcPts val="1200"/>
              </a:spcBef>
              <a:spcAft>
                <a:spcPts val="0"/>
              </a:spcAft>
              <a:buClr>
                <a:schemeClr val="tx2"/>
              </a:buClr>
              <a:buSzTx/>
              <a:buFont typeface="Arial" panose="020B0604020202020204" pitchFamily="34" charset="0"/>
              <a:buChar char="•"/>
            </a:pPr>
            <a:r>
              <a:rPr lang="en-US" sz="1500"/>
              <a:t>Key planning work has already been undertaken or is underway, including field force structure/sizing (with IQVIA) and customer journey mapping (with Veeva)</a:t>
            </a:r>
          </a:p>
          <a:p>
            <a:pPr marL="185738" indent="-174625">
              <a:spcBef>
                <a:spcPts val="1200"/>
              </a:spcBef>
              <a:buClr>
                <a:schemeClr val="tx2"/>
              </a:buClr>
              <a:buFont typeface="Arial" panose="020B0604020202020204" pitchFamily="34" charset="0"/>
              <a:buChar char="•"/>
            </a:pPr>
            <a:r>
              <a:rPr lang="en-US" sz="1500"/>
              <a:t>Covid-19 has triggered a the ‘new normal’ that will continue to shape any future engagement with stakeholders, and increase the competitive pressure for HCP accessibility, and challenge of quality engagement</a:t>
            </a:r>
          </a:p>
          <a:p>
            <a:pPr marL="185738" indent="-174625">
              <a:spcBef>
                <a:spcPts val="1200"/>
              </a:spcBef>
              <a:buClr>
                <a:schemeClr val="tx2"/>
              </a:buClr>
              <a:buFont typeface="Arial" panose="020B0604020202020204" pitchFamily="34" charset="0"/>
              <a:buChar char="•"/>
            </a:pPr>
            <a:r>
              <a:rPr lang="en-US" sz="1500"/>
              <a:t>CI&amp;E want to develop a market-centric engagement model framework to activate and build the engagement infrastructure and capability to promote </a:t>
            </a:r>
            <a:r>
              <a:rPr lang="en-US" sz="1500" err="1"/>
              <a:t>Jyseleca</a:t>
            </a:r>
            <a:r>
              <a:rPr lang="en-US" sz="1500"/>
              <a:t> and win market share in a highly competitive area</a:t>
            </a:r>
          </a:p>
        </p:txBody>
      </p:sp>
      <p:sp>
        <p:nvSpPr>
          <p:cNvPr id="37" name="TextBox 36">
            <a:extLst>
              <a:ext uri="{FF2B5EF4-FFF2-40B4-BE49-F238E27FC236}">
                <a16:creationId xmlns:a16="http://schemas.microsoft.com/office/drawing/2014/main" id="{26A8871C-4EE2-D94F-948A-17B4E33D0F73}"/>
              </a:ext>
            </a:extLst>
          </p:cNvPr>
          <p:cNvSpPr txBox="1"/>
          <p:nvPr/>
        </p:nvSpPr>
        <p:spPr>
          <a:xfrm>
            <a:off x="5489108" y="1621539"/>
            <a:ext cx="6029879" cy="319446"/>
          </a:xfrm>
          <a:prstGeom prst="rect">
            <a:avLst/>
          </a:prstGeom>
          <a:noFill/>
        </p:spPr>
        <p:txBody>
          <a:bodyPr wrap="square" rtlCol="0">
            <a:spAutoFit/>
          </a:bodyPr>
          <a:lstStyle/>
          <a:p>
            <a:pPr marR="0" defTabSz="914400" rtl="0" eaLnBrk="1" fontAlgn="auto" latinLnBrk="0" hangingPunct="1">
              <a:lnSpc>
                <a:spcPct val="80000"/>
              </a:lnSpc>
              <a:spcBef>
                <a:spcPts val="1200"/>
              </a:spcBef>
              <a:spcAft>
                <a:spcPts val="0"/>
              </a:spcAft>
              <a:buClr>
                <a:schemeClr val="tx2"/>
              </a:buClr>
              <a:buSzTx/>
              <a:tabLst/>
            </a:pPr>
            <a:r>
              <a:rPr lang="en-GB" b="1"/>
              <a:t>Galapagos requires support to:</a:t>
            </a:r>
          </a:p>
        </p:txBody>
      </p:sp>
      <p:cxnSp>
        <p:nvCxnSpPr>
          <p:cNvPr id="40" name="Straight Connector 39">
            <a:extLst>
              <a:ext uri="{FF2B5EF4-FFF2-40B4-BE49-F238E27FC236}">
                <a16:creationId xmlns:a16="http://schemas.microsoft.com/office/drawing/2014/main" id="{6EA7A6AF-5AF1-BE48-8BCE-2F8879A0798E}"/>
              </a:ext>
            </a:extLst>
          </p:cNvPr>
          <p:cNvCxnSpPr>
            <a:cxnSpLocks/>
          </p:cNvCxnSpPr>
          <p:nvPr/>
        </p:nvCxnSpPr>
        <p:spPr>
          <a:xfrm>
            <a:off x="404142" y="1909569"/>
            <a:ext cx="453133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ED09729C-005D-D946-A78C-B6C09FF72BF7}"/>
              </a:ext>
            </a:extLst>
          </p:cNvPr>
          <p:cNvSpPr/>
          <p:nvPr/>
        </p:nvSpPr>
        <p:spPr>
          <a:xfrm>
            <a:off x="5494179" y="3595952"/>
            <a:ext cx="6264000" cy="110121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27000" lvl="1">
              <a:spcBef>
                <a:spcPts val="1200"/>
              </a:spcBef>
              <a:buClr>
                <a:schemeClr val="tx2"/>
              </a:buClr>
            </a:pPr>
            <a:r>
              <a:rPr lang="en-US" sz="1600" b="1">
                <a:solidFill>
                  <a:schemeClr val="tx1"/>
                </a:solidFill>
              </a:rPr>
              <a:t>Embed omnichannel and people capabilities required to execute</a:t>
            </a:r>
          </a:p>
          <a:p>
            <a:pPr marL="127000" lvl="1">
              <a:spcBef>
                <a:spcPts val="600"/>
              </a:spcBef>
              <a:buClr>
                <a:schemeClr val="tx2"/>
              </a:buClr>
            </a:pPr>
            <a:r>
              <a:rPr lang="en-US" sz="1400">
                <a:solidFill>
                  <a:schemeClr val="tx1"/>
                </a:solidFill>
              </a:rPr>
              <a:t>Identify the new ways of operating that are required to deploy the engagement model, such as close collaboration with medical or capturing new sets of customer insights, and embed these within Galapagos </a:t>
            </a:r>
          </a:p>
        </p:txBody>
      </p:sp>
      <p:pic>
        <p:nvPicPr>
          <p:cNvPr id="4" name="Graphic 3" descr="Target Audience with solid fill">
            <a:extLst>
              <a:ext uri="{FF2B5EF4-FFF2-40B4-BE49-F238E27FC236}">
                <a16:creationId xmlns:a16="http://schemas.microsoft.com/office/drawing/2014/main" id="{9591F6BB-8494-0B40-A42C-AC55AD410D8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77802" y="3505500"/>
            <a:ext cx="432757" cy="432757"/>
          </a:xfrm>
          <a:prstGeom prst="rect">
            <a:avLst/>
          </a:prstGeom>
        </p:spPr>
      </p:pic>
      <p:sp>
        <p:nvSpPr>
          <p:cNvPr id="41" name="Rectangle 40">
            <a:extLst>
              <a:ext uri="{FF2B5EF4-FFF2-40B4-BE49-F238E27FC236}">
                <a16:creationId xmlns:a16="http://schemas.microsoft.com/office/drawing/2014/main" id="{4C86E4DB-A591-474E-903B-85C0DBCDEEBB}"/>
              </a:ext>
            </a:extLst>
          </p:cNvPr>
          <p:cNvSpPr/>
          <p:nvPr/>
        </p:nvSpPr>
        <p:spPr>
          <a:xfrm>
            <a:off x="5507270" y="4976936"/>
            <a:ext cx="6264000" cy="110121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0" lvl="1">
              <a:spcBef>
                <a:spcPts val="600"/>
              </a:spcBef>
              <a:buClr>
                <a:schemeClr val="tx2"/>
              </a:buClr>
            </a:pPr>
            <a:r>
              <a:rPr lang="en-US" sz="1600" b="1">
                <a:solidFill>
                  <a:schemeClr val="tx1"/>
                </a:solidFill>
              </a:rPr>
              <a:t>Tailor the Customer Engagement model for launch markets</a:t>
            </a:r>
          </a:p>
          <a:p>
            <a:pPr marL="127000" lvl="1">
              <a:spcBef>
                <a:spcPts val="600"/>
              </a:spcBef>
              <a:buClr>
                <a:schemeClr val="tx2"/>
              </a:buClr>
            </a:pPr>
            <a:r>
              <a:rPr lang="en-US" sz="1400">
                <a:solidFill>
                  <a:schemeClr val="tx1"/>
                </a:solidFill>
              </a:rPr>
              <a:t>The engagement model needs to be seamless to operationalize at scale, and therefore this must be comprehensive yet flexible, and it should be clear what this means in practical terms for the sales cycle and for the reps</a:t>
            </a:r>
          </a:p>
        </p:txBody>
      </p:sp>
      <p:pic>
        <p:nvPicPr>
          <p:cNvPr id="6" name="Graphic 5" descr="Circles with lines with solid fill">
            <a:extLst>
              <a:ext uri="{FF2B5EF4-FFF2-40B4-BE49-F238E27FC236}">
                <a16:creationId xmlns:a16="http://schemas.microsoft.com/office/drawing/2014/main" id="{F900DBCE-FC13-BE43-932B-2E8CE0DFAE06}"/>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290893" y="4831224"/>
            <a:ext cx="432757" cy="432757"/>
          </a:xfrm>
          <a:prstGeom prst="rect">
            <a:avLst/>
          </a:prstGeom>
        </p:spPr>
      </p:pic>
      <p:sp>
        <p:nvSpPr>
          <p:cNvPr id="36" name="Rectangle 35">
            <a:extLst>
              <a:ext uri="{FF2B5EF4-FFF2-40B4-BE49-F238E27FC236}">
                <a16:creationId xmlns:a16="http://schemas.microsoft.com/office/drawing/2014/main" id="{24A771CC-CA98-CB40-B8F9-836CF81EB7F7}"/>
              </a:ext>
            </a:extLst>
          </p:cNvPr>
          <p:cNvSpPr/>
          <p:nvPr/>
        </p:nvSpPr>
        <p:spPr>
          <a:xfrm>
            <a:off x="5507270" y="2186288"/>
            <a:ext cx="6264000" cy="121133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0" lvl="1">
              <a:lnSpc>
                <a:spcPct val="80000"/>
              </a:lnSpc>
              <a:spcBef>
                <a:spcPts val="600"/>
              </a:spcBef>
              <a:buClr>
                <a:schemeClr val="tx2"/>
              </a:buClr>
            </a:pPr>
            <a:r>
              <a:rPr lang="en-US" sz="1600" b="1">
                <a:solidFill>
                  <a:schemeClr val="tx1"/>
                </a:solidFill>
              </a:rPr>
              <a:t>Design a future fit Customer Engagement model for launching </a:t>
            </a:r>
            <a:r>
              <a:rPr lang="en-US" sz="1600" b="1" err="1">
                <a:solidFill>
                  <a:schemeClr val="tx1"/>
                </a:solidFill>
              </a:rPr>
              <a:t>Jyseleca</a:t>
            </a:r>
            <a:endParaRPr lang="en-US" sz="1600" b="1">
              <a:solidFill>
                <a:schemeClr val="tx1"/>
              </a:solidFill>
            </a:endParaRPr>
          </a:p>
          <a:p>
            <a:pPr marL="127000" lvl="1">
              <a:spcBef>
                <a:spcPts val="600"/>
              </a:spcBef>
              <a:buClr>
                <a:schemeClr val="tx2"/>
              </a:buClr>
            </a:pPr>
            <a:r>
              <a:rPr lang="en-US" sz="1400">
                <a:solidFill>
                  <a:schemeClr val="tx1"/>
                </a:solidFill>
              </a:rPr>
              <a:t>The Customer Engagement model should be designed based on market archetypes and a deep understanding of HCP needs, behaviors and preferences. There should be a focus on hybrid/multichannel engagement to deliver the best experiences to customers while meeting business objectives </a:t>
            </a:r>
          </a:p>
        </p:txBody>
      </p:sp>
      <p:pic>
        <p:nvPicPr>
          <p:cNvPr id="8" name="Graphic 7" descr="Brain in head outline">
            <a:extLst>
              <a:ext uri="{FF2B5EF4-FFF2-40B4-BE49-F238E27FC236}">
                <a16:creationId xmlns:a16="http://schemas.microsoft.com/office/drawing/2014/main" id="{86104ED7-A1A7-A545-A93F-EE6C234369F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310564" y="2079099"/>
            <a:ext cx="393415" cy="393415"/>
          </a:xfrm>
          <a:prstGeom prst="rect">
            <a:avLst/>
          </a:prstGeom>
        </p:spPr>
      </p:pic>
      <p:cxnSp>
        <p:nvCxnSpPr>
          <p:cNvPr id="31" name="Straight Connector 30">
            <a:extLst>
              <a:ext uri="{FF2B5EF4-FFF2-40B4-BE49-F238E27FC236}">
                <a16:creationId xmlns:a16="http://schemas.microsoft.com/office/drawing/2014/main" id="{B34DFECB-9BDE-9642-A6A3-6008D03D3126}"/>
              </a:ext>
            </a:extLst>
          </p:cNvPr>
          <p:cNvCxnSpPr>
            <a:cxnSpLocks/>
          </p:cNvCxnSpPr>
          <p:nvPr/>
        </p:nvCxnSpPr>
        <p:spPr>
          <a:xfrm>
            <a:off x="5503570" y="1909569"/>
            <a:ext cx="622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10953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FD804-A5B5-5E40-903F-C807E5B7979C}"/>
              </a:ext>
            </a:extLst>
          </p:cNvPr>
          <p:cNvSpPr>
            <a:spLocks noGrp="1"/>
          </p:cNvSpPr>
          <p:nvPr>
            <p:ph type="title"/>
          </p:nvPr>
        </p:nvSpPr>
        <p:spPr/>
        <p:txBody>
          <a:bodyPr vert="horz" lIns="91440" tIns="45720" rIns="91440" bIns="45720" rtlCol="0" anchor="ctr" anchorCtr="0">
            <a:noAutofit/>
          </a:bodyPr>
          <a:lstStyle/>
          <a:p>
            <a:r>
              <a:rPr lang="en-US">
                <a:latin typeface="Calibri"/>
                <a:cs typeface="Calibri"/>
              </a:rPr>
              <a:t>Table of contents </a:t>
            </a:r>
            <a:endParaRPr lang="en-US">
              <a:latin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1F5171ED-7FD5-3B4E-849A-C7456E45C59A}"/>
              </a:ext>
            </a:extLst>
          </p:cNvPr>
          <p:cNvSpPr/>
          <p:nvPr/>
        </p:nvSpPr>
        <p:spPr>
          <a:xfrm>
            <a:off x="2882977" y="1351499"/>
            <a:ext cx="7750346" cy="85534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a:defRPr/>
            </a:pPr>
            <a:r>
              <a:rPr lang="en-US">
                <a:solidFill>
                  <a:schemeClr val="bg2">
                    <a:lumMod val="90000"/>
                  </a:schemeClr>
                </a:solidFill>
                <a:cs typeface="Calibri"/>
              </a:rPr>
              <a:t>Galapagos Context &amp; Customer Engagement Challenge</a:t>
            </a:r>
          </a:p>
        </p:txBody>
      </p:sp>
      <p:sp>
        <p:nvSpPr>
          <p:cNvPr id="24" name="Rectangle 23">
            <a:extLst>
              <a:ext uri="{FF2B5EF4-FFF2-40B4-BE49-F238E27FC236}">
                <a16:creationId xmlns:a16="http://schemas.microsoft.com/office/drawing/2014/main" id="{BAB6C9B4-D3FF-6F44-BE38-F5842696F23E}"/>
              </a:ext>
            </a:extLst>
          </p:cNvPr>
          <p:cNvSpPr/>
          <p:nvPr/>
        </p:nvSpPr>
        <p:spPr>
          <a:xfrm>
            <a:off x="2882977" y="2290546"/>
            <a:ext cx="7750344" cy="86439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a:defRPr/>
            </a:pPr>
            <a:r>
              <a:rPr lang="en-US">
                <a:solidFill>
                  <a:schemeClr val="bg2">
                    <a:lumMod val="90000"/>
                  </a:schemeClr>
                </a:solidFill>
                <a:cs typeface="Calibri"/>
              </a:rPr>
              <a:t>Our Point of View </a:t>
            </a:r>
          </a:p>
        </p:txBody>
      </p:sp>
      <p:sp>
        <p:nvSpPr>
          <p:cNvPr id="25" name="Rectangle 24">
            <a:extLst>
              <a:ext uri="{FF2B5EF4-FFF2-40B4-BE49-F238E27FC236}">
                <a16:creationId xmlns:a16="http://schemas.microsoft.com/office/drawing/2014/main" id="{DB9AFA33-1F5A-4F4E-A4F8-B9C750A9320C}"/>
              </a:ext>
            </a:extLst>
          </p:cNvPr>
          <p:cNvSpPr/>
          <p:nvPr/>
        </p:nvSpPr>
        <p:spPr>
          <a:xfrm>
            <a:off x="2882977" y="3217210"/>
            <a:ext cx="7750344" cy="864399"/>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2">
                    <a:lumMod val="90000"/>
                  </a:schemeClr>
                </a:solidFill>
                <a:effectLst/>
                <a:uLnTx/>
                <a:uFillTx/>
                <a:latin typeface="Calibri" panose="020F0502020204030204" pitchFamily="34" charset="0"/>
                <a:cs typeface="Calibri" panose="020F0502020204030204" pitchFamily="34" charset="0"/>
              </a:rPr>
              <a:t>Proposed Solution &amp; Approach</a:t>
            </a:r>
          </a:p>
        </p:txBody>
      </p:sp>
      <p:sp>
        <p:nvSpPr>
          <p:cNvPr id="26" name="Rectangle 25">
            <a:extLst>
              <a:ext uri="{FF2B5EF4-FFF2-40B4-BE49-F238E27FC236}">
                <a16:creationId xmlns:a16="http://schemas.microsoft.com/office/drawing/2014/main" id="{6B30B172-6DF1-3A4D-88C4-3343F61351B5}"/>
              </a:ext>
            </a:extLst>
          </p:cNvPr>
          <p:cNvSpPr/>
          <p:nvPr/>
        </p:nvSpPr>
        <p:spPr>
          <a:xfrm>
            <a:off x="2882977" y="4181556"/>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2">
                    <a:lumMod val="90000"/>
                  </a:schemeClr>
                </a:solidFill>
                <a:effectLst/>
                <a:uLnTx/>
                <a:uFillTx/>
                <a:latin typeface="Calibri" panose="020F0502020204030204" pitchFamily="34" charset="0"/>
                <a:cs typeface="Calibri" panose="020F0502020204030204" pitchFamily="34" charset="0"/>
              </a:rPr>
              <a:t>Team, Price and Why Veeva</a:t>
            </a:r>
          </a:p>
        </p:txBody>
      </p:sp>
      <p:sp>
        <p:nvSpPr>
          <p:cNvPr id="27" name="AutoShape 22">
            <a:extLst>
              <a:ext uri="{FF2B5EF4-FFF2-40B4-BE49-F238E27FC236}">
                <a16:creationId xmlns:a16="http://schemas.microsoft.com/office/drawing/2014/main" id="{11645B44-FFAA-7E4C-BF54-7A6C35481741}"/>
              </a:ext>
            </a:extLst>
          </p:cNvPr>
          <p:cNvSpPr>
            <a:spLocks noChangeAspect="1" noChangeArrowheads="1" noTextEdit="1"/>
          </p:cNvSpPr>
          <p:nvPr/>
        </p:nvSpPr>
        <p:spPr bwMode="auto">
          <a:xfrm>
            <a:off x="1739333" y="1254162"/>
            <a:ext cx="1980550" cy="3636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8" name="Freeform 24">
            <a:extLst>
              <a:ext uri="{FF2B5EF4-FFF2-40B4-BE49-F238E27FC236}">
                <a16:creationId xmlns:a16="http://schemas.microsoft.com/office/drawing/2014/main" id="{59B8AB3A-E5CA-D44A-BCFB-188DA2578DF8}"/>
              </a:ext>
            </a:extLst>
          </p:cNvPr>
          <p:cNvSpPr>
            <a:spLocks/>
          </p:cNvSpPr>
          <p:nvPr/>
        </p:nvSpPr>
        <p:spPr bwMode="auto">
          <a:xfrm>
            <a:off x="1957054" y="1350735"/>
            <a:ext cx="1172040" cy="863153"/>
          </a:xfrm>
          <a:custGeom>
            <a:avLst/>
            <a:gdLst>
              <a:gd name="T0" fmla="*/ 4210 w 4210"/>
              <a:gd name="T1" fmla="*/ 414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2 h 831"/>
              <a:gd name="T24" fmla="*/ 4210 w 4210"/>
              <a:gd name="T25" fmla="*/ 414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4"/>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2"/>
                </a:lnTo>
                <a:lnTo>
                  <a:pt x="4210" y="41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9" name="Freeform 25">
            <a:extLst>
              <a:ext uri="{FF2B5EF4-FFF2-40B4-BE49-F238E27FC236}">
                <a16:creationId xmlns:a16="http://schemas.microsoft.com/office/drawing/2014/main" id="{BFADE614-C9E8-9F48-8F8F-A8CEE2F0FAC7}"/>
              </a:ext>
            </a:extLst>
          </p:cNvPr>
          <p:cNvSpPr>
            <a:spLocks/>
          </p:cNvSpPr>
          <p:nvPr/>
        </p:nvSpPr>
        <p:spPr bwMode="auto">
          <a:xfrm>
            <a:off x="1957054" y="2291789"/>
            <a:ext cx="1172040" cy="863153"/>
          </a:xfrm>
          <a:custGeom>
            <a:avLst/>
            <a:gdLst>
              <a:gd name="T0" fmla="*/ 4210 w 4210"/>
              <a:gd name="T1" fmla="*/ 417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3 h 831"/>
              <a:gd name="T24" fmla="*/ 4210 w 4210"/>
              <a:gd name="T25" fmla="*/ 4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7"/>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3"/>
                </a:lnTo>
                <a:lnTo>
                  <a:pt x="4210" y="41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0" name="Freeform 26">
            <a:extLst>
              <a:ext uri="{FF2B5EF4-FFF2-40B4-BE49-F238E27FC236}">
                <a16:creationId xmlns:a16="http://schemas.microsoft.com/office/drawing/2014/main" id="{9B3DABE6-E79D-E144-BEC1-249741BCFB6B}"/>
              </a:ext>
            </a:extLst>
          </p:cNvPr>
          <p:cNvSpPr>
            <a:spLocks/>
          </p:cNvSpPr>
          <p:nvPr/>
        </p:nvSpPr>
        <p:spPr bwMode="auto">
          <a:xfrm>
            <a:off x="1957054" y="3220326"/>
            <a:ext cx="1172040" cy="866270"/>
          </a:xfrm>
          <a:custGeom>
            <a:avLst/>
            <a:gdLst>
              <a:gd name="T0" fmla="*/ 4210 w 4210"/>
              <a:gd name="T1" fmla="*/ 417 h 834"/>
              <a:gd name="T2" fmla="*/ 4039 w 4210"/>
              <a:gd name="T3" fmla="*/ 209 h 834"/>
              <a:gd name="T4" fmla="*/ 3868 w 4210"/>
              <a:gd name="T5" fmla="*/ 0 h 834"/>
              <a:gd name="T6" fmla="*/ 3868 w 4210"/>
              <a:gd name="T7" fmla="*/ 0 h 834"/>
              <a:gd name="T8" fmla="*/ 0 w 4210"/>
              <a:gd name="T9" fmla="*/ 0 h 834"/>
              <a:gd name="T10" fmla="*/ 0 w 4210"/>
              <a:gd name="T11" fmla="*/ 834 h 834"/>
              <a:gd name="T12" fmla="*/ 3868 w 4210"/>
              <a:gd name="T13" fmla="*/ 834 h 834"/>
              <a:gd name="T14" fmla="*/ 3868 w 4210"/>
              <a:gd name="T15" fmla="*/ 834 h 834"/>
              <a:gd name="T16" fmla="*/ 3868 w 4210"/>
              <a:gd name="T17" fmla="*/ 834 h 834"/>
              <a:gd name="T18" fmla="*/ 3868 w 4210"/>
              <a:gd name="T19" fmla="*/ 834 h 834"/>
              <a:gd name="T20" fmla="*/ 3868 w 4210"/>
              <a:gd name="T21" fmla="*/ 834 h 834"/>
              <a:gd name="T22" fmla="*/ 4039 w 4210"/>
              <a:gd name="T23" fmla="*/ 626 h 834"/>
              <a:gd name="T24" fmla="*/ 4210 w 4210"/>
              <a:gd name="T25" fmla="*/ 417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4">
                <a:moveTo>
                  <a:pt x="4210" y="417"/>
                </a:moveTo>
                <a:lnTo>
                  <a:pt x="4039" y="209"/>
                </a:lnTo>
                <a:lnTo>
                  <a:pt x="3868" y="0"/>
                </a:lnTo>
                <a:lnTo>
                  <a:pt x="3868" y="0"/>
                </a:lnTo>
                <a:lnTo>
                  <a:pt x="0" y="0"/>
                </a:lnTo>
                <a:lnTo>
                  <a:pt x="0" y="834"/>
                </a:lnTo>
                <a:lnTo>
                  <a:pt x="3868" y="834"/>
                </a:lnTo>
                <a:lnTo>
                  <a:pt x="3868" y="834"/>
                </a:lnTo>
                <a:lnTo>
                  <a:pt x="3868" y="834"/>
                </a:lnTo>
                <a:lnTo>
                  <a:pt x="3868" y="834"/>
                </a:lnTo>
                <a:lnTo>
                  <a:pt x="3868" y="834"/>
                </a:lnTo>
                <a:lnTo>
                  <a:pt x="4039" y="626"/>
                </a:lnTo>
                <a:lnTo>
                  <a:pt x="4210" y="41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1" name="Freeform 27">
            <a:extLst>
              <a:ext uri="{FF2B5EF4-FFF2-40B4-BE49-F238E27FC236}">
                <a16:creationId xmlns:a16="http://schemas.microsoft.com/office/drawing/2014/main" id="{3830514F-71AF-BB4C-99C1-9AB1EDDCA36C}"/>
              </a:ext>
            </a:extLst>
          </p:cNvPr>
          <p:cNvSpPr>
            <a:spLocks/>
          </p:cNvSpPr>
          <p:nvPr/>
        </p:nvSpPr>
        <p:spPr bwMode="auto">
          <a:xfrm>
            <a:off x="1957054" y="4184671"/>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2" name="Freeform 28">
            <a:extLst>
              <a:ext uri="{FF2B5EF4-FFF2-40B4-BE49-F238E27FC236}">
                <a16:creationId xmlns:a16="http://schemas.microsoft.com/office/drawing/2014/main" id="{6629BF95-ECB2-C64D-BC5D-4BED137FDFE8}"/>
              </a:ext>
            </a:extLst>
          </p:cNvPr>
          <p:cNvSpPr>
            <a:spLocks/>
          </p:cNvSpPr>
          <p:nvPr/>
        </p:nvSpPr>
        <p:spPr bwMode="auto">
          <a:xfrm>
            <a:off x="1558676" y="1350735"/>
            <a:ext cx="398378" cy="1107246"/>
          </a:xfrm>
          <a:custGeom>
            <a:avLst/>
            <a:gdLst>
              <a:gd name="T0" fmla="*/ 372 w 372"/>
              <a:gd name="T1" fmla="*/ 0 h 1066"/>
              <a:gd name="T2" fmla="*/ 0 w 372"/>
              <a:gd name="T3" fmla="*/ 467 h 1066"/>
              <a:gd name="T4" fmla="*/ 0 w 372"/>
              <a:gd name="T5" fmla="*/ 1066 h 1066"/>
              <a:gd name="T6" fmla="*/ 372 w 372"/>
              <a:gd name="T7" fmla="*/ 831 h 1066"/>
              <a:gd name="T8" fmla="*/ 372 w 372"/>
              <a:gd name="T9" fmla="*/ 0 h 1066"/>
            </a:gdLst>
            <a:ahLst/>
            <a:cxnLst>
              <a:cxn ang="0">
                <a:pos x="T0" y="T1"/>
              </a:cxn>
              <a:cxn ang="0">
                <a:pos x="T2" y="T3"/>
              </a:cxn>
              <a:cxn ang="0">
                <a:pos x="T4" y="T5"/>
              </a:cxn>
              <a:cxn ang="0">
                <a:pos x="T6" y="T7"/>
              </a:cxn>
              <a:cxn ang="0">
                <a:pos x="T8" y="T9"/>
              </a:cxn>
            </a:cxnLst>
            <a:rect l="0" t="0" r="r" b="b"/>
            <a:pathLst>
              <a:path w="372" h="1066">
                <a:moveTo>
                  <a:pt x="372" y="0"/>
                </a:moveTo>
                <a:lnTo>
                  <a:pt x="0" y="467"/>
                </a:lnTo>
                <a:lnTo>
                  <a:pt x="0" y="1066"/>
                </a:lnTo>
                <a:lnTo>
                  <a:pt x="372" y="831"/>
                </a:lnTo>
                <a:lnTo>
                  <a:pt x="372"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3" name="Freeform 29">
            <a:extLst>
              <a:ext uri="{FF2B5EF4-FFF2-40B4-BE49-F238E27FC236}">
                <a16:creationId xmlns:a16="http://schemas.microsoft.com/office/drawing/2014/main" id="{CE64AD97-7BF4-1C42-AE32-1A110F0D6A1C}"/>
              </a:ext>
            </a:extLst>
          </p:cNvPr>
          <p:cNvSpPr>
            <a:spLocks/>
          </p:cNvSpPr>
          <p:nvPr/>
        </p:nvSpPr>
        <p:spPr bwMode="auto">
          <a:xfrm>
            <a:off x="1558676" y="2291789"/>
            <a:ext cx="398378" cy="863153"/>
          </a:xfrm>
          <a:custGeom>
            <a:avLst/>
            <a:gdLst>
              <a:gd name="T0" fmla="*/ 372 w 372"/>
              <a:gd name="T1" fmla="*/ 831 h 831"/>
              <a:gd name="T2" fmla="*/ 0 w 372"/>
              <a:gd name="T3" fmla="*/ 831 h 831"/>
              <a:gd name="T4" fmla="*/ 0 w 372"/>
              <a:gd name="T5" fmla="*/ 235 h 831"/>
              <a:gd name="T6" fmla="*/ 372 w 372"/>
              <a:gd name="T7" fmla="*/ 0 h 831"/>
              <a:gd name="T8" fmla="*/ 372 w 372"/>
              <a:gd name="T9" fmla="*/ 831 h 831"/>
            </a:gdLst>
            <a:ahLst/>
            <a:cxnLst>
              <a:cxn ang="0">
                <a:pos x="T0" y="T1"/>
              </a:cxn>
              <a:cxn ang="0">
                <a:pos x="T2" y="T3"/>
              </a:cxn>
              <a:cxn ang="0">
                <a:pos x="T4" y="T5"/>
              </a:cxn>
              <a:cxn ang="0">
                <a:pos x="T6" y="T7"/>
              </a:cxn>
              <a:cxn ang="0">
                <a:pos x="T8" y="T9"/>
              </a:cxn>
            </a:cxnLst>
            <a:rect l="0" t="0" r="r" b="b"/>
            <a:pathLst>
              <a:path w="372" h="831">
                <a:moveTo>
                  <a:pt x="372" y="831"/>
                </a:moveTo>
                <a:lnTo>
                  <a:pt x="0" y="831"/>
                </a:lnTo>
                <a:lnTo>
                  <a:pt x="0" y="235"/>
                </a:lnTo>
                <a:lnTo>
                  <a:pt x="372" y="0"/>
                </a:lnTo>
                <a:lnTo>
                  <a:pt x="372" y="83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4" name="Freeform 30">
            <a:extLst>
              <a:ext uri="{FF2B5EF4-FFF2-40B4-BE49-F238E27FC236}">
                <a16:creationId xmlns:a16="http://schemas.microsoft.com/office/drawing/2014/main" id="{D5DC57F2-93E2-B94D-9117-9901B5E94D24}"/>
              </a:ext>
            </a:extLst>
          </p:cNvPr>
          <p:cNvSpPr>
            <a:spLocks/>
          </p:cNvSpPr>
          <p:nvPr/>
        </p:nvSpPr>
        <p:spPr bwMode="auto">
          <a:xfrm>
            <a:off x="1558676" y="3943695"/>
            <a:ext cx="398378" cy="1107246"/>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Lst>
            <a:ahLst/>
            <a:cxnLst>
              <a:cxn ang="0">
                <a:pos x="T0" y="T1"/>
              </a:cxn>
              <a:cxn ang="0">
                <a:pos x="T2" y="T3"/>
              </a:cxn>
              <a:cxn ang="0">
                <a:pos x="T4" y="T5"/>
              </a:cxn>
              <a:cxn ang="0">
                <a:pos x="T6" y="T7"/>
              </a:cxn>
              <a:cxn ang="0">
                <a:pos x="T8" y="T9"/>
              </a:cxn>
            </a:cxnLst>
            <a:rect l="0" t="0" r="r" b="b"/>
            <a:pathLst>
              <a:path w="372" h="1066">
                <a:moveTo>
                  <a:pt x="372" y="1066"/>
                </a:moveTo>
                <a:lnTo>
                  <a:pt x="0" y="599"/>
                </a:lnTo>
                <a:lnTo>
                  <a:pt x="0" y="0"/>
                </a:lnTo>
                <a:lnTo>
                  <a:pt x="372" y="235"/>
                </a:lnTo>
                <a:lnTo>
                  <a:pt x="372" y="106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5" name="Freeform 31">
            <a:extLst>
              <a:ext uri="{FF2B5EF4-FFF2-40B4-BE49-F238E27FC236}">
                <a16:creationId xmlns:a16="http://schemas.microsoft.com/office/drawing/2014/main" id="{72619A4B-3A9E-B74C-9D1F-DB203FE9E0FE}"/>
              </a:ext>
            </a:extLst>
          </p:cNvPr>
          <p:cNvSpPr>
            <a:spLocks/>
          </p:cNvSpPr>
          <p:nvPr/>
        </p:nvSpPr>
        <p:spPr bwMode="auto">
          <a:xfrm>
            <a:off x="1558676" y="3220326"/>
            <a:ext cx="398378" cy="869385"/>
          </a:xfrm>
          <a:custGeom>
            <a:avLst/>
            <a:gdLst>
              <a:gd name="T0" fmla="*/ 372 w 372"/>
              <a:gd name="T1" fmla="*/ 0 h 837"/>
              <a:gd name="T2" fmla="*/ 0 w 372"/>
              <a:gd name="T3" fmla="*/ 0 h 837"/>
              <a:gd name="T4" fmla="*/ 0 w 372"/>
              <a:gd name="T5" fmla="*/ 602 h 837"/>
              <a:gd name="T6" fmla="*/ 372 w 372"/>
              <a:gd name="T7" fmla="*/ 837 h 837"/>
              <a:gd name="T8" fmla="*/ 372 w 372"/>
              <a:gd name="T9" fmla="*/ 0 h 837"/>
            </a:gdLst>
            <a:ahLst/>
            <a:cxnLst>
              <a:cxn ang="0">
                <a:pos x="T0" y="T1"/>
              </a:cxn>
              <a:cxn ang="0">
                <a:pos x="T2" y="T3"/>
              </a:cxn>
              <a:cxn ang="0">
                <a:pos x="T4" y="T5"/>
              </a:cxn>
              <a:cxn ang="0">
                <a:pos x="T6" y="T7"/>
              </a:cxn>
              <a:cxn ang="0">
                <a:pos x="T8" y="T9"/>
              </a:cxn>
            </a:cxnLst>
            <a:rect l="0" t="0" r="r" b="b"/>
            <a:pathLst>
              <a:path w="372" h="837">
                <a:moveTo>
                  <a:pt x="372" y="0"/>
                </a:moveTo>
                <a:lnTo>
                  <a:pt x="0" y="0"/>
                </a:lnTo>
                <a:lnTo>
                  <a:pt x="0" y="602"/>
                </a:lnTo>
                <a:lnTo>
                  <a:pt x="372" y="837"/>
                </a:lnTo>
                <a:lnTo>
                  <a:pt x="372"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6" name="Rectangle 23">
            <a:extLst>
              <a:ext uri="{FF2B5EF4-FFF2-40B4-BE49-F238E27FC236}">
                <a16:creationId xmlns:a16="http://schemas.microsoft.com/office/drawing/2014/main" id="{F98C82FC-3A14-7E46-826C-D5730AE9E76D}"/>
              </a:ext>
            </a:extLst>
          </p:cNvPr>
          <p:cNvSpPr>
            <a:spLocks noChangeArrowheads="1"/>
          </p:cNvSpPr>
          <p:nvPr/>
        </p:nvSpPr>
        <p:spPr bwMode="auto">
          <a:xfrm>
            <a:off x="2203257" y="1470644"/>
            <a:ext cx="57066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1</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7" name="Rectangle 24">
            <a:extLst>
              <a:ext uri="{FF2B5EF4-FFF2-40B4-BE49-F238E27FC236}">
                <a16:creationId xmlns:a16="http://schemas.microsoft.com/office/drawing/2014/main" id="{28182DB4-9392-4D48-A6A2-A6DED9EFF48C}"/>
              </a:ext>
            </a:extLst>
          </p:cNvPr>
          <p:cNvSpPr>
            <a:spLocks noChangeArrowheads="1"/>
          </p:cNvSpPr>
          <p:nvPr/>
        </p:nvSpPr>
        <p:spPr bwMode="auto">
          <a:xfrm>
            <a:off x="2203257" y="2419658"/>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2</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8" name="Rectangle 25">
            <a:extLst>
              <a:ext uri="{FF2B5EF4-FFF2-40B4-BE49-F238E27FC236}">
                <a16:creationId xmlns:a16="http://schemas.microsoft.com/office/drawing/2014/main" id="{72B7EFC7-80EF-0643-8091-824A7E72EE81}"/>
              </a:ext>
            </a:extLst>
          </p:cNvPr>
          <p:cNvSpPr>
            <a:spLocks noChangeArrowheads="1"/>
          </p:cNvSpPr>
          <p:nvPr/>
        </p:nvSpPr>
        <p:spPr bwMode="auto">
          <a:xfrm>
            <a:off x="2203257" y="3334352"/>
            <a:ext cx="100008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3</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9" name="Rectangle 26">
            <a:extLst>
              <a:ext uri="{FF2B5EF4-FFF2-40B4-BE49-F238E27FC236}">
                <a16:creationId xmlns:a16="http://schemas.microsoft.com/office/drawing/2014/main" id="{ACAC2FE4-4344-FA48-8760-FB72DC971BA6}"/>
              </a:ext>
            </a:extLst>
          </p:cNvPr>
          <p:cNvSpPr>
            <a:spLocks noChangeArrowheads="1"/>
          </p:cNvSpPr>
          <p:nvPr/>
        </p:nvSpPr>
        <p:spPr bwMode="auto">
          <a:xfrm>
            <a:off x="2203257" y="4294003"/>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4</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40" name="Rectangle 39">
            <a:extLst>
              <a:ext uri="{FF2B5EF4-FFF2-40B4-BE49-F238E27FC236}">
                <a16:creationId xmlns:a16="http://schemas.microsoft.com/office/drawing/2014/main" id="{20D506A7-95B6-9343-810B-3A2D9215FB6A}"/>
              </a:ext>
            </a:extLst>
          </p:cNvPr>
          <p:cNvSpPr/>
          <p:nvPr/>
        </p:nvSpPr>
        <p:spPr>
          <a:xfrm>
            <a:off x="2882977" y="5180468"/>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646569"/>
                </a:solidFill>
                <a:latin typeface="Calibri" panose="020F0502020204030204" pitchFamily="34" charset="0"/>
                <a:cs typeface="Calibri" panose="020F0502020204030204" pitchFamily="34" charset="0"/>
              </a:rPr>
              <a:t>Appendix: Detailed breakdown of activities and deliverables &amp; Veeva Credentials</a:t>
            </a:r>
            <a:endParaRPr kumimoji="0" lang="en-US"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41" name="Freeform 27">
            <a:extLst>
              <a:ext uri="{FF2B5EF4-FFF2-40B4-BE49-F238E27FC236}">
                <a16:creationId xmlns:a16="http://schemas.microsoft.com/office/drawing/2014/main" id="{76EF665B-D7E3-DB4A-848B-208A7930807F}"/>
              </a:ext>
            </a:extLst>
          </p:cNvPr>
          <p:cNvSpPr>
            <a:spLocks/>
          </p:cNvSpPr>
          <p:nvPr/>
        </p:nvSpPr>
        <p:spPr bwMode="auto">
          <a:xfrm>
            <a:off x="1957054" y="5183583"/>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42" name="Rectangle 26">
            <a:extLst>
              <a:ext uri="{FF2B5EF4-FFF2-40B4-BE49-F238E27FC236}">
                <a16:creationId xmlns:a16="http://schemas.microsoft.com/office/drawing/2014/main" id="{34093482-EC57-B24C-9C0E-C1C39E708502}"/>
              </a:ext>
            </a:extLst>
          </p:cNvPr>
          <p:cNvSpPr>
            <a:spLocks noChangeArrowheads="1"/>
          </p:cNvSpPr>
          <p:nvPr/>
        </p:nvSpPr>
        <p:spPr bwMode="auto">
          <a:xfrm>
            <a:off x="2203257" y="5292915"/>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5</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43" name="Freeform 30">
            <a:extLst>
              <a:ext uri="{FF2B5EF4-FFF2-40B4-BE49-F238E27FC236}">
                <a16:creationId xmlns:a16="http://schemas.microsoft.com/office/drawing/2014/main" id="{38545DF4-6259-7342-B699-6D8C62B9697B}"/>
              </a:ext>
            </a:extLst>
          </p:cNvPr>
          <p:cNvSpPr>
            <a:spLocks/>
          </p:cNvSpPr>
          <p:nvPr/>
        </p:nvSpPr>
        <p:spPr bwMode="auto">
          <a:xfrm>
            <a:off x="1558676" y="4724357"/>
            <a:ext cx="398378" cy="1326038"/>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 name="connsiteX0" fmla="*/ 10000 w 10000"/>
              <a:gd name="connsiteY0" fmla="*/ 11976 h 11976"/>
              <a:gd name="connsiteX1" fmla="*/ 0 w 10000"/>
              <a:gd name="connsiteY1" fmla="*/ 7595 h 11976"/>
              <a:gd name="connsiteX2" fmla="*/ 0 w 10000"/>
              <a:gd name="connsiteY2" fmla="*/ 0 h 11976"/>
              <a:gd name="connsiteX3" fmla="*/ 10000 w 10000"/>
              <a:gd name="connsiteY3" fmla="*/ 4181 h 11976"/>
              <a:gd name="connsiteX4" fmla="*/ 10000 w 10000"/>
              <a:gd name="connsiteY4" fmla="*/ 11976 h 11976"/>
              <a:gd name="connsiteX0" fmla="*/ 10000 w 10000"/>
              <a:gd name="connsiteY0" fmla="*/ 11976 h 11976"/>
              <a:gd name="connsiteX1" fmla="*/ 0 w 10000"/>
              <a:gd name="connsiteY1" fmla="*/ 5518 h 11976"/>
              <a:gd name="connsiteX2" fmla="*/ 0 w 10000"/>
              <a:gd name="connsiteY2" fmla="*/ 0 h 11976"/>
              <a:gd name="connsiteX3" fmla="*/ 10000 w 10000"/>
              <a:gd name="connsiteY3" fmla="*/ 4181 h 11976"/>
              <a:gd name="connsiteX4" fmla="*/ 10000 w 10000"/>
              <a:gd name="connsiteY4" fmla="*/ 11976 h 11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976">
                <a:moveTo>
                  <a:pt x="10000" y="11976"/>
                </a:moveTo>
                <a:lnTo>
                  <a:pt x="0" y="5518"/>
                </a:lnTo>
                <a:lnTo>
                  <a:pt x="0" y="0"/>
                </a:lnTo>
                <a:lnTo>
                  <a:pt x="10000" y="4181"/>
                </a:lnTo>
                <a:lnTo>
                  <a:pt x="10000" y="11976"/>
                </a:lnTo>
                <a:close/>
              </a:path>
            </a:pathLst>
          </a:custGeom>
          <a:solidFill>
            <a:srgbClr val="3C1A0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5281712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E28E277-E125-5447-AA65-FE5CB486BCDE}"/>
              </a:ext>
            </a:extLst>
          </p:cNvPr>
          <p:cNvSpPr/>
          <p:nvPr/>
        </p:nvSpPr>
        <p:spPr>
          <a:xfrm>
            <a:off x="351722" y="1492573"/>
            <a:ext cx="8590749" cy="4700758"/>
          </a:xfrm>
          <a:prstGeom prst="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DD04ACF7-22C5-FC4C-9437-F800635DC519}"/>
              </a:ext>
            </a:extLst>
          </p:cNvPr>
          <p:cNvSpPr txBox="1"/>
          <p:nvPr/>
        </p:nvSpPr>
        <p:spPr>
          <a:xfrm>
            <a:off x="2525128" y="1400154"/>
            <a:ext cx="4148904" cy="319446"/>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182880" algn="ctr">
              <a:lnSpc>
                <a:spcPct val="80000"/>
              </a:lnSpc>
              <a:spcBef>
                <a:spcPts val="1200"/>
              </a:spcBef>
            </a:pPr>
            <a:r>
              <a:rPr lang="en-GB" b="1">
                <a:solidFill>
                  <a:srgbClr val="646569"/>
                </a:solidFill>
              </a:rPr>
              <a:t>CUSTOMER ENGAGEMENT FRAMEWORK</a:t>
            </a:r>
            <a:endParaRPr lang="en-US"/>
          </a:p>
        </p:txBody>
      </p:sp>
      <p:sp>
        <p:nvSpPr>
          <p:cNvPr id="45" name="Title 44">
            <a:extLst>
              <a:ext uri="{FF2B5EF4-FFF2-40B4-BE49-F238E27FC236}">
                <a16:creationId xmlns:a16="http://schemas.microsoft.com/office/drawing/2014/main" id="{5F77FDCE-81E5-3445-8AB6-06322E3A2FB6}"/>
              </a:ext>
            </a:extLst>
          </p:cNvPr>
          <p:cNvSpPr>
            <a:spLocks noGrp="1"/>
          </p:cNvSpPr>
          <p:nvPr>
            <p:ph type="title"/>
          </p:nvPr>
        </p:nvSpPr>
        <p:spPr/>
        <p:txBody>
          <a:bodyPr vert="horz" lIns="91440" tIns="45720" rIns="91440" bIns="45720" rtlCol="0" anchor="ctr" anchorCtr="0">
            <a:noAutofit/>
          </a:bodyPr>
          <a:lstStyle/>
          <a:p>
            <a:r>
              <a:rPr lang="en-US"/>
              <a:t>Deep Dive on our Approach</a:t>
            </a:r>
          </a:p>
        </p:txBody>
      </p:sp>
      <p:sp>
        <p:nvSpPr>
          <p:cNvPr id="48" name="Rectangle 47">
            <a:extLst>
              <a:ext uri="{FF2B5EF4-FFF2-40B4-BE49-F238E27FC236}">
                <a16:creationId xmlns:a16="http://schemas.microsoft.com/office/drawing/2014/main" id="{F4F36D8D-B461-EA41-881F-026A1BFB06A2}"/>
              </a:ext>
            </a:extLst>
          </p:cNvPr>
          <p:cNvSpPr/>
          <p:nvPr/>
        </p:nvSpPr>
        <p:spPr>
          <a:xfrm>
            <a:off x="425054" y="1934913"/>
            <a:ext cx="2687600" cy="8288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600" b="1">
                <a:solidFill>
                  <a:schemeClr val="bg1"/>
                </a:solidFill>
              </a:rPr>
              <a:t>1. DEFINE THE </a:t>
            </a:r>
          </a:p>
          <a:p>
            <a:pPr algn="ctr"/>
            <a:r>
              <a:rPr lang="en-GB" sz="1600" b="1">
                <a:solidFill>
                  <a:schemeClr val="bg1"/>
                </a:solidFill>
              </a:rPr>
              <a:t>ENGAGEMENT MODEL</a:t>
            </a:r>
          </a:p>
        </p:txBody>
      </p:sp>
      <p:sp>
        <p:nvSpPr>
          <p:cNvPr id="70" name="Rectangle 69">
            <a:extLst>
              <a:ext uri="{FF2B5EF4-FFF2-40B4-BE49-F238E27FC236}">
                <a16:creationId xmlns:a16="http://schemas.microsoft.com/office/drawing/2014/main" id="{6B60FC1B-D555-2840-9870-52EFD8322387}"/>
              </a:ext>
            </a:extLst>
          </p:cNvPr>
          <p:cNvSpPr/>
          <p:nvPr/>
        </p:nvSpPr>
        <p:spPr>
          <a:xfrm>
            <a:off x="9085662" y="1934913"/>
            <a:ext cx="2687600" cy="8288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bg1"/>
              </a:solidFill>
            </a:endParaRPr>
          </a:p>
          <a:p>
            <a:pPr algn="ctr"/>
            <a:r>
              <a:rPr lang="en-GB" sz="1600" b="1">
                <a:solidFill>
                  <a:schemeClr val="bg1"/>
                </a:solidFill>
              </a:rPr>
              <a:t>4. TEST, LEARN &amp; ITERATE</a:t>
            </a:r>
          </a:p>
        </p:txBody>
      </p:sp>
      <p:sp>
        <p:nvSpPr>
          <p:cNvPr id="71" name="Oval 70">
            <a:extLst>
              <a:ext uri="{FF2B5EF4-FFF2-40B4-BE49-F238E27FC236}">
                <a16:creationId xmlns:a16="http://schemas.microsoft.com/office/drawing/2014/main" id="{EAA9EE2D-20FE-1540-9B15-09516D75F904}"/>
              </a:ext>
            </a:extLst>
          </p:cNvPr>
          <p:cNvSpPr/>
          <p:nvPr/>
        </p:nvSpPr>
        <p:spPr>
          <a:xfrm>
            <a:off x="1512252" y="1648786"/>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Graphic 71" descr="Treasure Map with solid fill">
            <a:extLst>
              <a:ext uri="{FF2B5EF4-FFF2-40B4-BE49-F238E27FC236}">
                <a16:creationId xmlns:a16="http://schemas.microsoft.com/office/drawing/2014/main" id="{32D2BC8B-C9A7-A740-9044-4F6930D0D7D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574541" y="1698700"/>
            <a:ext cx="457200" cy="457200"/>
          </a:xfrm>
          <a:prstGeom prst="rect">
            <a:avLst/>
          </a:prstGeom>
        </p:spPr>
      </p:pic>
      <p:sp>
        <p:nvSpPr>
          <p:cNvPr id="22" name="Oval 21">
            <a:extLst>
              <a:ext uri="{FF2B5EF4-FFF2-40B4-BE49-F238E27FC236}">
                <a16:creationId xmlns:a16="http://schemas.microsoft.com/office/drawing/2014/main" id="{1A7CAAF2-4421-E34A-B421-FD6309A4BE53}"/>
              </a:ext>
            </a:extLst>
          </p:cNvPr>
          <p:cNvSpPr/>
          <p:nvPr/>
        </p:nvSpPr>
        <p:spPr>
          <a:xfrm>
            <a:off x="10182489" y="1662232"/>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Rocket with solid fill">
            <a:extLst>
              <a:ext uri="{FF2B5EF4-FFF2-40B4-BE49-F238E27FC236}">
                <a16:creationId xmlns:a16="http://schemas.microsoft.com/office/drawing/2014/main" id="{AB591FE1-1CFE-CC43-BB72-A610CDA5A6F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9027964">
            <a:off x="10245187" y="1749010"/>
            <a:ext cx="457200" cy="457200"/>
          </a:xfrm>
          <a:prstGeom prst="rect">
            <a:avLst/>
          </a:prstGeom>
        </p:spPr>
      </p:pic>
      <p:grpSp>
        <p:nvGrpSpPr>
          <p:cNvPr id="2" name="Group 1">
            <a:extLst>
              <a:ext uri="{FF2B5EF4-FFF2-40B4-BE49-F238E27FC236}">
                <a16:creationId xmlns:a16="http://schemas.microsoft.com/office/drawing/2014/main" id="{7A13E73D-0589-3340-89A1-A334B50EDD7E}"/>
              </a:ext>
            </a:extLst>
          </p:cNvPr>
          <p:cNvGrpSpPr/>
          <p:nvPr/>
        </p:nvGrpSpPr>
        <p:grpSpPr>
          <a:xfrm>
            <a:off x="443717" y="2884790"/>
            <a:ext cx="11348206" cy="3177914"/>
            <a:chOff x="429737" y="2853251"/>
            <a:chExt cx="11348206" cy="2816220"/>
          </a:xfrm>
        </p:grpSpPr>
        <p:sp>
          <p:nvSpPr>
            <p:cNvPr id="59" name="Rounded Rectangle 58">
              <a:extLst>
                <a:ext uri="{FF2B5EF4-FFF2-40B4-BE49-F238E27FC236}">
                  <a16:creationId xmlns:a16="http://schemas.microsoft.com/office/drawing/2014/main" id="{280E67B7-E428-B046-9078-0135327B0403}"/>
                </a:ext>
              </a:extLst>
            </p:cNvPr>
            <p:cNvSpPr/>
            <p:nvPr/>
          </p:nvSpPr>
          <p:spPr>
            <a:xfrm>
              <a:off x="429737" y="3573247"/>
              <a:ext cx="2687599" cy="648000"/>
            </a:xfrm>
            <a:prstGeom prst="roundRect">
              <a:avLst/>
            </a:prstGeom>
            <a:solidFill>
              <a:schemeClr val="bg1"/>
            </a:solidFill>
            <a:ln>
              <a:solidFill>
                <a:schemeClr val="accent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      Define and build the rep activity allocation &amp; MCCP process including collaboration opportunities with medical</a:t>
              </a:r>
            </a:p>
          </p:txBody>
        </p:sp>
        <p:sp>
          <p:nvSpPr>
            <p:cNvPr id="57" name="Rounded Rectangle 56">
              <a:extLst>
                <a:ext uri="{FF2B5EF4-FFF2-40B4-BE49-F238E27FC236}">
                  <a16:creationId xmlns:a16="http://schemas.microsoft.com/office/drawing/2014/main" id="{347E3E4A-FACC-D449-8B8D-A1C6FEA73329}"/>
                </a:ext>
              </a:extLst>
            </p:cNvPr>
            <p:cNvSpPr/>
            <p:nvPr/>
          </p:nvSpPr>
          <p:spPr>
            <a:xfrm>
              <a:off x="429737" y="2853251"/>
              <a:ext cx="2687599" cy="648000"/>
            </a:xfrm>
            <a:prstGeom prst="roundRect">
              <a:avLst/>
            </a:prstGeom>
            <a:solidFill>
              <a:schemeClr val="bg1"/>
            </a:solidFill>
            <a:ln>
              <a:solidFill>
                <a:schemeClr val="accent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Define the 2 market archetypes (account based vs. HCP based) and key go-to-market considerations for each</a:t>
              </a:r>
              <a:endParaRPr lang="en-GB" sz="1100" strike="sngStrike">
                <a:solidFill>
                  <a:srgbClr val="FF0000"/>
                </a:solidFill>
              </a:endParaRPr>
            </a:p>
          </p:txBody>
        </p:sp>
        <p:sp>
          <p:nvSpPr>
            <p:cNvPr id="58" name="Rounded Rectangle 57">
              <a:extLst>
                <a:ext uri="{FF2B5EF4-FFF2-40B4-BE49-F238E27FC236}">
                  <a16:creationId xmlns:a16="http://schemas.microsoft.com/office/drawing/2014/main" id="{1CBB49DE-B3DB-1848-9F54-ACF128911A5E}"/>
                </a:ext>
              </a:extLst>
            </p:cNvPr>
            <p:cNvSpPr/>
            <p:nvPr/>
          </p:nvSpPr>
          <p:spPr>
            <a:xfrm>
              <a:off x="429737" y="4293243"/>
              <a:ext cx="2687599" cy="648000"/>
            </a:xfrm>
            <a:prstGeom prst="roundRect">
              <a:avLst/>
            </a:prstGeom>
            <a:solidFill>
              <a:schemeClr val="bg1"/>
            </a:solidFill>
            <a:ln>
              <a:solidFill>
                <a:schemeClr val="accent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 Design the engagement blueprint for the ‘day in the life’ of a hybrid rep through a sales cycle, capturing nuances for each archetype</a:t>
              </a:r>
            </a:p>
          </p:txBody>
        </p:sp>
        <p:sp>
          <p:nvSpPr>
            <p:cNvPr id="60" name="Rounded Rectangle 59">
              <a:extLst>
                <a:ext uri="{FF2B5EF4-FFF2-40B4-BE49-F238E27FC236}">
                  <a16:creationId xmlns:a16="http://schemas.microsoft.com/office/drawing/2014/main" id="{B681263C-62F7-164F-850C-69C31493311E}"/>
                </a:ext>
              </a:extLst>
            </p:cNvPr>
            <p:cNvSpPr/>
            <p:nvPr/>
          </p:nvSpPr>
          <p:spPr>
            <a:xfrm>
              <a:off x="3316606" y="2853251"/>
              <a:ext cx="2687599" cy="648000"/>
            </a:xfrm>
            <a:prstGeom prst="roundRect">
              <a:avLst/>
            </a:prstGeom>
            <a:solidFill>
              <a:schemeClr val="bg1"/>
            </a:solidFill>
            <a:ln>
              <a:solidFill>
                <a:schemeClr val="accent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Create pre-call plan, call execution and post-call best practice playbooks, detailing key insights for reps to gather</a:t>
              </a:r>
            </a:p>
          </p:txBody>
        </p:sp>
        <p:sp>
          <p:nvSpPr>
            <p:cNvPr id="61" name="Rounded Rectangle 60">
              <a:extLst>
                <a:ext uri="{FF2B5EF4-FFF2-40B4-BE49-F238E27FC236}">
                  <a16:creationId xmlns:a16="http://schemas.microsoft.com/office/drawing/2014/main" id="{DD70DFF8-55D5-0C42-A580-68196B7E6779}"/>
                </a:ext>
              </a:extLst>
            </p:cNvPr>
            <p:cNvSpPr/>
            <p:nvPr/>
          </p:nvSpPr>
          <p:spPr>
            <a:xfrm>
              <a:off x="3316606" y="3573247"/>
              <a:ext cx="2687599" cy="648000"/>
            </a:xfrm>
            <a:prstGeom prst="roundRect">
              <a:avLst/>
            </a:prstGeom>
            <a:solidFill>
              <a:schemeClr val="bg1"/>
            </a:solidFill>
            <a:ln>
              <a:solidFill>
                <a:schemeClr val="accent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Adapt sales choreography / objection handling guidance (with medical) to ensure these are fit for an omnichannel context </a:t>
              </a:r>
            </a:p>
          </p:txBody>
        </p:sp>
        <p:sp>
          <p:nvSpPr>
            <p:cNvPr id="62" name="Rounded Rectangle 61">
              <a:extLst>
                <a:ext uri="{FF2B5EF4-FFF2-40B4-BE49-F238E27FC236}">
                  <a16:creationId xmlns:a16="http://schemas.microsoft.com/office/drawing/2014/main" id="{C1C7DEA2-4E2B-334D-BC10-12E3DD586094}"/>
                </a:ext>
              </a:extLst>
            </p:cNvPr>
            <p:cNvSpPr/>
            <p:nvPr/>
          </p:nvSpPr>
          <p:spPr>
            <a:xfrm>
              <a:off x="3316606" y="4293243"/>
              <a:ext cx="2687599" cy="648000"/>
            </a:xfrm>
            <a:prstGeom prst="roundRect">
              <a:avLst/>
            </a:prstGeom>
            <a:solidFill>
              <a:schemeClr val="bg1"/>
            </a:solidFill>
            <a:ln>
              <a:solidFill>
                <a:schemeClr val="accent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Configure Veeva CRM to optimise execution of the engagement model</a:t>
              </a:r>
              <a:endParaRPr lang="en-GB" sz="1100">
                <a:solidFill>
                  <a:schemeClr val="tx1"/>
                </a:solidFill>
                <a:highlight>
                  <a:srgbClr val="FFFF00"/>
                </a:highlight>
              </a:endParaRPr>
            </a:p>
          </p:txBody>
        </p:sp>
        <p:sp>
          <p:nvSpPr>
            <p:cNvPr id="63" name="Rounded Rectangle 62">
              <a:extLst>
                <a:ext uri="{FF2B5EF4-FFF2-40B4-BE49-F238E27FC236}">
                  <a16:creationId xmlns:a16="http://schemas.microsoft.com/office/drawing/2014/main" id="{DB2A6E8F-8D5E-3746-B254-8EBC0A087D9C}"/>
                </a:ext>
              </a:extLst>
            </p:cNvPr>
            <p:cNvSpPr/>
            <p:nvPr/>
          </p:nvSpPr>
          <p:spPr>
            <a:xfrm>
              <a:off x="6203475" y="2853251"/>
              <a:ext cx="2687599" cy="648000"/>
            </a:xfrm>
            <a:prstGeom prst="roundRect">
              <a:avLst/>
            </a:prstGeom>
            <a:solidFill>
              <a:schemeClr val="bg1"/>
            </a:solidFill>
            <a:ln>
              <a:solidFill>
                <a:schemeClr val="accent5">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Create training materials to deliver an omnichannel experience building on ELITE and other existing trainings</a:t>
              </a:r>
            </a:p>
          </p:txBody>
        </p:sp>
        <p:sp>
          <p:nvSpPr>
            <p:cNvPr id="64" name="Rounded Rectangle 63">
              <a:extLst>
                <a:ext uri="{FF2B5EF4-FFF2-40B4-BE49-F238E27FC236}">
                  <a16:creationId xmlns:a16="http://schemas.microsoft.com/office/drawing/2014/main" id="{0B4DCB1E-2C4E-8840-B8CA-10FB39E2CA5A}"/>
                </a:ext>
              </a:extLst>
            </p:cNvPr>
            <p:cNvSpPr/>
            <p:nvPr/>
          </p:nvSpPr>
          <p:spPr>
            <a:xfrm>
              <a:off x="6203475" y="3573247"/>
              <a:ext cx="2687599" cy="648000"/>
            </a:xfrm>
            <a:prstGeom prst="roundRect">
              <a:avLst/>
            </a:prstGeom>
            <a:solidFill>
              <a:schemeClr val="bg1"/>
            </a:solidFill>
            <a:ln>
              <a:solidFill>
                <a:schemeClr val="accent5">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Prioritise and build the highest impact interventions, and deliver train-the trainer sessions</a:t>
              </a:r>
            </a:p>
          </p:txBody>
        </p:sp>
        <p:sp>
          <p:nvSpPr>
            <p:cNvPr id="65" name="Rounded Rectangle 64">
              <a:extLst>
                <a:ext uri="{FF2B5EF4-FFF2-40B4-BE49-F238E27FC236}">
                  <a16:creationId xmlns:a16="http://schemas.microsoft.com/office/drawing/2014/main" id="{81217C7F-25D8-884A-81F4-E429772777F7}"/>
                </a:ext>
              </a:extLst>
            </p:cNvPr>
            <p:cNvSpPr/>
            <p:nvPr/>
          </p:nvSpPr>
          <p:spPr>
            <a:xfrm>
              <a:off x="6203475" y="4293243"/>
              <a:ext cx="2687599" cy="648000"/>
            </a:xfrm>
            <a:prstGeom prst="roundRect">
              <a:avLst/>
            </a:prstGeom>
            <a:solidFill>
              <a:schemeClr val="bg1"/>
            </a:solidFill>
            <a:ln>
              <a:solidFill>
                <a:schemeClr val="accent5">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Update the learning &amp; development journey</a:t>
              </a:r>
            </a:p>
          </p:txBody>
        </p:sp>
        <p:sp>
          <p:nvSpPr>
            <p:cNvPr id="66" name="Rounded Rectangle 65">
              <a:extLst>
                <a:ext uri="{FF2B5EF4-FFF2-40B4-BE49-F238E27FC236}">
                  <a16:creationId xmlns:a16="http://schemas.microsoft.com/office/drawing/2014/main" id="{58849610-1C12-3C44-8316-4971CC8B0655}"/>
                </a:ext>
              </a:extLst>
            </p:cNvPr>
            <p:cNvSpPr/>
            <p:nvPr/>
          </p:nvSpPr>
          <p:spPr>
            <a:xfrm>
              <a:off x="9090344" y="2853251"/>
              <a:ext cx="2687599" cy="648000"/>
            </a:xfrm>
            <a:prstGeom prst="roundRect">
              <a:avLst/>
            </a:prstGeom>
            <a:solidFill>
              <a:schemeClr val="bg1"/>
            </a:solidFill>
            <a:ln>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 Build and execute a pilot for each market archetype and enhance engagement blueprints</a:t>
              </a:r>
            </a:p>
          </p:txBody>
        </p:sp>
        <p:sp>
          <p:nvSpPr>
            <p:cNvPr id="73" name="Rounded Rectangle 72">
              <a:extLst>
                <a:ext uri="{FF2B5EF4-FFF2-40B4-BE49-F238E27FC236}">
                  <a16:creationId xmlns:a16="http://schemas.microsoft.com/office/drawing/2014/main" id="{56248838-BCDB-A74D-8CED-40570558B039}"/>
                </a:ext>
              </a:extLst>
            </p:cNvPr>
            <p:cNvSpPr/>
            <p:nvPr/>
          </p:nvSpPr>
          <p:spPr>
            <a:xfrm>
              <a:off x="429737" y="5021471"/>
              <a:ext cx="2687599" cy="648000"/>
            </a:xfrm>
            <a:prstGeom prst="roundRect">
              <a:avLst/>
            </a:prstGeom>
            <a:solidFill>
              <a:schemeClr val="bg1"/>
            </a:solidFill>
            <a:ln>
              <a:solidFill>
                <a:schemeClr val="accent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Define the governance and adoption framework, including key metrics to be measured</a:t>
              </a:r>
            </a:p>
          </p:txBody>
        </p:sp>
      </p:grpSp>
      <p:sp>
        <p:nvSpPr>
          <p:cNvPr id="38" name="Rectangle 37">
            <a:extLst>
              <a:ext uri="{FF2B5EF4-FFF2-40B4-BE49-F238E27FC236}">
                <a16:creationId xmlns:a16="http://schemas.microsoft.com/office/drawing/2014/main" id="{65740819-7BB3-0644-B785-6F735978B7AC}"/>
              </a:ext>
            </a:extLst>
          </p:cNvPr>
          <p:cNvSpPr/>
          <p:nvPr/>
        </p:nvSpPr>
        <p:spPr>
          <a:xfrm>
            <a:off x="3322052" y="1934912"/>
            <a:ext cx="2687599" cy="8288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bg1"/>
              </a:solidFill>
            </a:endParaRPr>
          </a:p>
          <a:p>
            <a:pPr algn="ctr"/>
            <a:r>
              <a:rPr lang="en-GB" sz="1600" b="1">
                <a:solidFill>
                  <a:schemeClr val="bg1"/>
                </a:solidFill>
              </a:rPr>
              <a:t>2. ENABLE EXECUTION</a:t>
            </a:r>
          </a:p>
        </p:txBody>
      </p:sp>
      <p:sp>
        <p:nvSpPr>
          <p:cNvPr id="42" name="Rectangle 41">
            <a:extLst>
              <a:ext uri="{FF2B5EF4-FFF2-40B4-BE49-F238E27FC236}">
                <a16:creationId xmlns:a16="http://schemas.microsoft.com/office/drawing/2014/main" id="{10110E09-2909-9445-B4D8-C56A84F4EB6D}"/>
              </a:ext>
            </a:extLst>
          </p:cNvPr>
          <p:cNvSpPr/>
          <p:nvPr/>
        </p:nvSpPr>
        <p:spPr>
          <a:xfrm>
            <a:off x="6172130" y="1934912"/>
            <a:ext cx="2687599" cy="828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600" b="1">
                <a:solidFill>
                  <a:schemeClr val="bg1"/>
                </a:solidFill>
              </a:rPr>
              <a:t>3. EMPOWER </a:t>
            </a:r>
          </a:p>
          <a:p>
            <a:pPr algn="ctr"/>
            <a:r>
              <a:rPr lang="en-GB" sz="1600" b="1">
                <a:solidFill>
                  <a:schemeClr val="bg1"/>
                </a:solidFill>
              </a:rPr>
              <a:t>THE HYBRID-REP</a:t>
            </a:r>
          </a:p>
        </p:txBody>
      </p:sp>
      <p:grpSp>
        <p:nvGrpSpPr>
          <p:cNvPr id="3" name="Group 2">
            <a:extLst>
              <a:ext uri="{FF2B5EF4-FFF2-40B4-BE49-F238E27FC236}">
                <a16:creationId xmlns:a16="http://schemas.microsoft.com/office/drawing/2014/main" id="{D15989EB-23CF-D843-968A-AD4A11BF4889}"/>
              </a:ext>
            </a:extLst>
          </p:cNvPr>
          <p:cNvGrpSpPr/>
          <p:nvPr/>
        </p:nvGrpSpPr>
        <p:grpSpPr>
          <a:xfrm>
            <a:off x="4365814" y="1643265"/>
            <a:ext cx="600075" cy="568070"/>
            <a:chOff x="3451733" y="1460510"/>
            <a:chExt cx="600075" cy="568070"/>
          </a:xfrm>
        </p:grpSpPr>
        <p:sp>
          <p:nvSpPr>
            <p:cNvPr id="39" name="Oval 38">
              <a:extLst>
                <a:ext uri="{FF2B5EF4-FFF2-40B4-BE49-F238E27FC236}">
                  <a16:creationId xmlns:a16="http://schemas.microsoft.com/office/drawing/2014/main" id="{74D72BBE-883E-0340-AF76-4F9CB29B835C}"/>
                </a:ext>
              </a:extLst>
            </p:cNvPr>
            <p:cNvSpPr/>
            <p:nvPr/>
          </p:nvSpPr>
          <p:spPr>
            <a:xfrm>
              <a:off x="3451733" y="1460510"/>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Graphic 42" descr="Lights On with solid fill">
              <a:extLst>
                <a:ext uri="{FF2B5EF4-FFF2-40B4-BE49-F238E27FC236}">
                  <a16:creationId xmlns:a16="http://schemas.microsoft.com/office/drawing/2014/main" id="{C0C913E4-430A-1249-B732-C4AFF56C10E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44407" y="1523400"/>
              <a:ext cx="432000" cy="432000"/>
            </a:xfrm>
            <a:prstGeom prst="rect">
              <a:avLst/>
            </a:prstGeom>
          </p:spPr>
        </p:pic>
      </p:grpSp>
      <p:sp>
        <p:nvSpPr>
          <p:cNvPr id="32" name="Chevron 31">
            <a:extLst>
              <a:ext uri="{FF2B5EF4-FFF2-40B4-BE49-F238E27FC236}">
                <a16:creationId xmlns:a16="http://schemas.microsoft.com/office/drawing/2014/main" id="{A4B13AC5-D28A-5C49-A1D7-1FF9816C4804}"/>
              </a:ext>
            </a:extLst>
          </p:cNvPr>
          <p:cNvSpPr/>
          <p:nvPr/>
        </p:nvSpPr>
        <p:spPr>
          <a:xfrm>
            <a:off x="8863347" y="2086561"/>
            <a:ext cx="279145" cy="51283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hevron 32">
            <a:extLst>
              <a:ext uri="{FF2B5EF4-FFF2-40B4-BE49-F238E27FC236}">
                <a16:creationId xmlns:a16="http://schemas.microsoft.com/office/drawing/2014/main" id="{0465C081-030C-9E4E-8E86-635F0CEF1114}"/>
              </a:ext>
            </a:extLst>
          </p:cNvPr>
          <p:cNvSpPr/>
          <p:nvPr/>
        </p:nvSpPr>
        <p:spPr>
          <a:xfrm>
            <a:off x="3059165" y="2086561"/>
            <a:ext cx="279145" cy="51283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4" name="Group 3">
            <a:extLst>
              <a:ext uri="{FF2B5EF4-FFF2-40B4-BE49-F238E27FC236}">
                <a16:creationId xmlns:a16="http://schemas.microsoft.com/office/drawing/2014/main" id="{C4B7A13C-094D-C340-9DE3-89AB941BEE01}"/>
              </a:ext>
            </a:extLst>
          </p:cNvPr>
          <p:cNvGrpSpPr/>
          <p:nvPr/>
        </p:nvGrpSpPr>
        <p:grpSpPr>
          <a:xfrm>
            <a:off x="7215892" y="1649337"/>
            <a:ext cx="600075" cy="568070"/>
            <a:chOff x="7110821" y="1466582"/>
            <a:chExt cx="600075" cy="568070"/>
          </a:xfrm>
        </p:grpSpPr>
        <p:sp>
          <p:nvSpPr>
            <p:cNvPr id="34" name="Oval 33">
              <a:extLst>
                <a:ext uri="{FF2B5EF4-FFF2-40B4-BE49-F238E27FC236}">
                  <a16:creationId xmlns:a16="http://schemas.microsoft.com/office/drawing/2014/main" id="{B4F16E7B-3CB2-8F4A-A100-2A9384A9CA82}"/>
                </a:ext>
              </a:extLst>
            </p:cNvPr>
            <p:cNvSpPr/>
            <p:nvPr/>
          </p:nvSpPr>
          <p:spPr>
            <a:xfrm>
              <a:off x="7110821" y="1466582"/>
              <a:ext cx="600075" cy="568070"/>
            </a:xfrm>
            <a:prstGeom prst="ellipse">
              <a:avLst/>
            </a:prstGeom>
            <a:solidFill>
              <a:schemeClr val="bg1"/>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descr="Podium with solid fill">
              <a:extLst>
                <a:ext uri="{FF2B5EF4-FFF2-40B4-BE49-F238E27FC236}">
                  <a16:creationId xmlns:a16="http://schemas.microsoft.com/office/drawing/2014/main" id="{A3EB953B-3924-A540-897C-78448A58A6BD}"/>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188656" y="1539351"/>
              <a:ext cx="437754" cy="437755"/>
            </a:xfrm>
            <a:prstGeom prst="rect">
              <a:avLst/>
            </a:prstGeom>
          </p:spPr>
        </p:pic>
      </p:grpSp>
      <p:sp>
        <p:nvSpPr>
          <p:cNvPr id="36" name="Chevron 35">
            <a:extLst>
              <a:ext uri="{FF2B5EF4-FFF2-40B4-BE49-F238E27FC236}">
                <a16:creationId xmlns:a16="http://schemas.microsoft.com/office/drawing/2014/main" id="{934AF075-5541-0643-8188-FE32CFC00640}"/>
              </a:ext>
            </a:extLst>
          </p:cNvPr>
          <p:cNvSpPr/>
          <p:nvPr/>
        </p:nvSpPr>
        <p:spPr>
          <a:xfrm>
            <a:off x="5935116" y="2086561"/>
            <a:ext cx="279145" cy="51283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Oval 4">
            <a:extLst>
              <a:ext uri="{FF2B5EF4-FFF2-40B4-BE49-F238E27FC236}">
                <a16:creationId xmlns:a16="http://schemas.microsoft.com/office/drawing/2014/main" id="{A6828BC9-92BD-434B-B56B-CDEEEC756B72}"/>
              </a:ext>
            </a:extLst>
          </p:cNvPr>
          <p:cNvSpPr/>
          <p:nvPr/>
        </p:nvSpPr>
        <p:spPr>
          <a:xfrm>
            <a:off x="342294" y="2819304"/>
            <a:ext cx="248321" cy="24832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1.1</a:t>
            </a:r>
          </a:p>
        </p:txBody>
      </p:sp>
      <p:sp>
        <p:nvSpPr>
          <p:cNvPr id="37" name="Oval 36">
            <a:extLst>
              <a:ext uri="{FF2B5EF4-FFF2-40B4-BE49-F238E27FC236}">
                <a16:creationId xmlns:a16="http://schemas.microsoft.com/office/drawing/2014/main" id="{F37D7E32-28D1-284E-A6BE-86CD72E0CEBC}"/>
              </a:ext>
            </a:extLst>
          </p:cNvPr>
          <p:cNvSpPr/>
          <p:nvPr/>
        </p:nvSpPr>
        <p:spPr>
          <a:xfrm>
            <a:off x="348709" y="3653085"/>
            <a:ext cx="248321" cy="24832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1.2</a:t>
            </a:r>
          </a:p>
        </p:txBody>
      </p:sp>
      <p:sp>
        <p:nvSpPr>
          <p:cNvPr id="40" name="Oval 39">
            <a:extLst>
              <a:ext uri="{FF2B5EF4-FFF2-40B4-BE49-F238E27FC236}">
                <a16:creationId xmlns:a16="http://schemas.microsoft.com/office/drawing/2014/main" id="{B7407651-35D9-0A4F-9762-3F8AA354D465}"/>
              </a:ext>
            </a:extLst>
          </p:cNvPr>
          <p:cNvSpPr/>
          <p:nvPr/>
        </p:nvSpPr>
        <p:spPr>
          <a:xfrm>
            <a:off x="355124" y="4433885"/>
            <a:ext cx="248321" cy="24832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1.3</a:t>
            </a:r>
          </a:p>
        </p:txBody>
      </p:sp>
      <p:sp>
        <p:nvSpPr>
          <p:cNvPr id="41" name="Oval 40">
            <a:extLst>
              <a:ext uri="{FF2B5EF4-FFF2-40B4-BE49-F238E27FC236}">
                <a16:creationId xmlns:a16="http://schemas.microsoft.com/office/drawing/2014/main" id="{514D3578-8FFD-C144-B34E-A088DE24062A}"/>
              </a:ext>
            </a:extLst>
          </p:cNvPr>
          <p:cNvSpPr/>
          <p:nvPr/>
        </p:nvSpPr>
        <p:spPr>
          <a:xfrm>
            <a:off x="361539" y="5267666"/>
            <a:ext cx="248321" cy="24832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1.4</a:t>
            </a:r>
          </a:p>
        </p:txBody>
      </p:sp>
      <p:sp>
        <p:nvSpPr>
          <p:cNvPr id="44" name="Oval 43">
            <a:extLst>
              <a:ext uri="{FF2B5EF4-FFF2-40B4-BE49-F238E27FC236}">
                <a16:creationId xmlns:a16="http://schemas.microsoft.com/office/drawing/2014/main" id="{CF31A525-28AB-634A-B4E6-276BA76A2A1A}"/>
              </a:ext>
            </a:extLst>
          </p:cNvPr>
          <p:cNvSpPr/>
          <p:nvPr/>
        </p:nvSpPr>
        <p:spPr>
          <a:xfrm>
            <a:off x="3222922" y="2842198"/>
            <a:ext cx="248321" cy="24832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2.1</a:t>
            </a:r>
          </a:p>
        </p:txBody>
      </p:sp>
      <p:sp>
        <p:nvSpPr>
          <p:cNvPr id="46" name="Oval 45">
            <a:extLst>
              <a:ext uri="{FF2B5EF4-FFF2-40B4-BE49-F238E27FC236}">
                <a16:creationId xmlns:a16="http://schemas.microsoft.com/office/drawing/2014/main" id="{ED487776-AB29-CE40-BBAF-FFF8FF0AF1C8}"/>
              </a:ext>
            </a:extLst>
          </p:cNvPr>
          <p:cNvSpPr/>
          <p:nvPr/>
        </p:nvSpPr>
        <p:spPr>
          <a:xfrm>
            <a:off x="3229337" y="3675979"/>
            <a:ext cx="248321" cy="24832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2.2</a:t>
            </a:r>
          </a:p>
        </p:txBody>
      </p:sp>
      <p:sp>
        <p:nvSpPr>
          <p:cNvPr id="47" name="Oval 46">
            <a:extLst>
              <a:ext uri="{FF2B5EF4-FFF2-40B4-BE49-F238E27FC236}">
                <a16:creationId xmlns:a16="http://schemas.microsoft.com/office/drawing/2014/main" id="{C280BC23-BDFA-D04B-BD36-EB9D2C884CCF}"/>
              </a:ext>
            </a:extLst>
          </p:cNvPr>
          <p:cNvSpPr/>
          <p:nvPr/>
        </p:nvSpPr>
        <p:spPr>
          <a:xfrm>
            <a:off x="3235752" y="4456779"/>
            <a:ext cx="248321" cy="24832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2.3</a:t>
            </a:r>
          </a:p>
        </p:txBody>
      </p:sp>
      <p:sp>
        <p:nvSpPr>
          <p:cNvPr id="49" name="Oval 48">
            <a:extLst>
              <a:ext uri="{FF2B5EF4-FFF2-40B4-BE49-F238E27FC236}">
                <a16:creationId xmlns:a16="http://schemas.microsoft.com/office/drawing/2014/main" id="{DD9695BC-C46A-5746-85EB-2668E6982A07}"/>
              </a:ext>
            </a:extLst>
          </p:cNvPr>
          <p:cNvSpPr/>
          <p:nvPr/>
        </p:nvSpPr>
        <p:spPr>
          <a:xfrm>
            <a:off x="9034077" y="2825591"/>
            <a:ext cx="248321" cy="2483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4.1</a:t>
            </a:r>
          </a:p>
        </p:txBody>
      </p:sp>
      <p:sp>
        <p:nvSpPr>
          <p:cNvPr id="50" name="Oval 49">
            <a:extLst>
              <a:ext uri="{FF2B5EF4-FFF2-40B4-BE49-F238E27FC236}">
                <a16:creationId xmlns:a16="http://schemas.microsoft.com/office/drawing/2014/main" id="{9F39DDE3-F20E-CA4F-85EB-B4E8545C1A0A}"/>
              </a:ext>
            </a:extLst>
          </p:cNvPr>
          <p:cNvSpPr/>
          <p:nvPr/>
        </p:nvSpPr>
        <p:spPr>
          <a:xfrm>
            <a:off x="6118918" y="2842198"/>
            <a:ext cx="248321" cy="248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3.1</a:t>
            </a:r>
          </a:p>
        </p:txBody>
      </p:sp>
      <p:sp>
        <p:nvSpPr>
          <p:cNvPr id="51" name="Oval 50">
            <a:extLst>
              <a:ext uri="{FF2B5EF4-FFF2-40B4-BE49-F238E27FC236}">
                <a16:creationId xmlns:a16="http://schemas.microsoft.com/office/drawing/2014/main" id="{66D1E714-1E9B-5C4D-B453-5CB30AF80F34}"/>
              </a:ext>
            </a:extLst>
          </p:cNvPr>
          <p:cNvSpPr/>
          <p:nvPr/>
        </p:nvSpPr>
        <p:spPr>
          <a:xfrm>
            <a:off x="6125333" y="3675979"/>
            <a:ext cx="248321" cy="248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3.2</a:t>
            </a:r>
          </a:p>
        </p:txBody>
      </p:sp>
      <p:sp>
        <p:nvSpPr>
          <p:cNvPr id="52" name="Oval 51">
            <a:extLst>
              <a:ext uri="{FF2B5EF4-FFF2-40B4-BE49-F238E27FC236}">
                <a16:creationId xmlns:a16="http://schemas.microsoft.com/office/drawing/2014/main" id="{04948384-406B-7F4E-B8B4-817023DE346E}"/>
              </a:ext>
            </a:extLst>
          </p:cNvPr>
          <p:cNvSpPr/>
          <p:nvPr/>
        </p:nvSpPr>
        <p:spPr>
          <a:xfrm>
            <a:off x="6131748" y="4456779"/>
            <a:ext cx="248321" cy="248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050" b="1">
                <a:solidFill>
                  <a:schemeClr val="bg1"/>
                </a:solidFill>
              </a:rPr>
              <a:t>3.3</a:t>
            </a:r>
          </a:p>
        </p:txBody>
      </p:sp>
    </p:spTree>
    <p:extLst>
      <p:ext uri="{BB962C8B-B14F-4D97-AF65-F5344CB8AC3E}">
        <p14:creationId xmlns:p14="http://schemas.microsoft.com/office/powerpoint/2010/main" val="112835076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016DD58-F957-1346-8429-B6924E6E0577}"/>
              </a:ext>
            </a:extLst>
          </p:cNvPr>
          <p:cNvSpPr/>
          <p:nvPr/>
        </p:nvSpPr>
        <p:spPr>
          <a:xfrm>
            <a:off x="0" y="-9832"/>
            <a:ext cx="12192000" cy="11955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F0343857-B3D4-EE4B-B145-594D864007C9}"/>
              </a:ext>
            </a:extLst>
          </p:cNvPr>
          <p:cNvSpPr>
            <a:spLocks noGrp="1"/>
          </p:cNvSpPr>
          <p:nvPr>
            <p:ph type="body" sz="quarter" idx="13"/>
          </p:nvPr>
        </p:nvSpPr>
        <p:spPr>
          <a:xfrm>
            <a:off x="267046" y="748125"/>
            <a:ext cx="11140835" cy="579664"/>
          </a:xfrm>
        </p:spPr>
        <p:txBody>
          <a:bodyPr/>
          <a:lstStyle/>
          <a:p>
            <a:r>
              <a:rPr lang="en-US" sz="1400">
                <a:solidFill>
                  <a:schemeClr val="bg1"/>
                </a:solidFill>
              </a:rPr>
              <a:t>Define two distinct market archetypes, describing key characteristics and implications for their go-to-market model</a:t>
            </a:r>
          </a:p>
        </p:txBody>
      </p:sp>
      <p:sp>
        <p:nvSpPr>
          <p:cNvPr id="3" name="Title 2">
            <a:extLst>
              <a:ext uri="{FF2B5EF4-FFF2-40B4-BE49-F238E27FC236}">
                <a16:creationId xmlns:a16="http://schemas.microsoft.com/office/drawing/2014/main" id="{AD4A8093-39C8-FB4B-A914-1502ADF096F9}"/>
              </a:ext>
            </a:extLst>
          </p:cNvPr>
          <p:cNvSpPr>
            <a:spLocks noGrp="1"/>
          </p:cNvSpPr>
          <p:nvPr>
            <p:ph type="title"/>
          </p:nvPr>
        </p:nvSpPr>
        <p:spPr>
          <a:xfrm>
            <a:off x="243639" y="161292"/>
            <a:ext cx="10716347" cy="579665"/>
          </a:xfrm>
        </p:spPr>
        <p:txBody>
          <a:bodyPr/>
          <a:lstStyle/>
          <a:p>
            <a:r>
              <a:rPr lang="en-US" sz="2800">
                <a:solidFill>
                  <a:schemeClr val="bg1"/>
                </a:solidFill>
              </a:rPr>
              <a:t>1.1. Define two market archetypes and key go-to-market considerations </a:t>
            </a:r>
          </a:p>
        </p:txBody>
      </p:sp>
      <p:sp>
        <p:nvSpPr>
          <p:cNvPr id="13" name="Rectangle 12">
            <a:extLst>
              <a:ext uri="{FF2B5EF4-FFF2-40B4-BE49-F238E27FC236}">
                <a16:creationId xmlns:a16="http://schemas.microsoft.com/office/drawing/2014/main" id="{15148C33-FF4C-5D47-A4E3-6161AC78335B}"/>
              </a:ext>
            </a:extLst>
          </p:cNvPr>
          <p:cNvSpPr/>
          <p:nvPr/>
        </p:nvSpPr>
        <p:spPr>
          <a:xfrm>
            <a:off x="313421" y="1512850"/>
            <a:ext cx="11429559" cy="478855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610A673C-FC63-3F4C-9716-0668BFC2367D}"/>
              </a:ext>
            </a:extLst>
          </p:cNvPr>
          <p:cNvSpPr/>
          <p:nvPr/>
        </p:nvSpPr>
        <p:spPr>
          <a:xfrm>
            <a:off x="11742980" y="1514029"/>
            <a:ext cx="135599" cy="47873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E9775BDA-1CD2-2B43-83C6-5D482E1E8AAF}"/>
              </a:ext>
            </a:extLst>
          </p:cNvPr>
          <p:cNvSpPr txBox="1"/>
          <p:nvPr/>
        </p:nvSpPr>
        <p:spPr>
          <a:xfrm>
            <a:off x="4366991" y="1697037"/>
            <a:ext cx="7090114" cy="4278094"/>
          </a:xfrm>
          <a:prstGeom prst="rect">
            <a:avLst/>
          </a:prstGeom>
          <a:noFill/>
        </p:spPr>
        <p:txBody>
          <a:bodyPr wrap="square" rtlCol="0">
            <a:spAutoFit/>
          </a:bodyPr>
          <a:lstStyle/>
          <a:p>
            <a:pPr marL="342900" lvl="0" indent="-342900">
              <a:spcBef>
                <a:spcPts val="600"/>
              </a:spcBef>
              <a:spcAft>
                <a:spcPts val="600"/>
              </a:spcAft>
              <a:buClr>
                <a:srgbClr val="FF9E16"/>
              </a:buClr>
              <a:buFont typeface="+mj-lt"/>
              <a:buAutoNum type="arabicPeriod"/>
              <a:defRPr/>
            </a:pPr>
            <a:r>
              <a:rPr lang="en-US" sz="1600">
                <a:solidFill>
                  <a:srgbClr val="646569"/>
                </a:solidFill>
                <a:latin typeface="Calibri"/>
              </a:rPr>
              <a:t>Create an archetype </a:t>
            </a:r>
            <a:r>
              <a:rPr lang="en-US" sz="1600">
                <a:solidFill>
                  <a:srgbClr val="646569"/>
                </a:solidFill>
              </a:rPr>
              <a:t>profile for account-based and HCP-driven markets</a:t>
            </a:r>
          </a:p>
          <a:p>
            <a:pPr marL="342900" lvl="0" indent="-342900">
              <a:spcBef>
                <a:spcPts val="600"/>
              </a:spcBef>
              <a:spcAft>
                <a:spcPts val="600"/>
              </a:spcAft>
              <a:buClr>
                <a:srgbClr val="FF9E16"/>
              </a:buClr>
              <a:buFont typeface="+mj-lt"/>
              <a:buAutoNum type="arabicPeriod"/>
              <a:defRPr/>
            </a:pPr>
            <a:r>
              <a:rPr lang="en-US" sz="1600">
                <a:solidFill>
                  <a:srgbClr val="646569"/>
                </a:solidFill>
                <a:latin typeface="Calibri"/>
              </a:rPr>
              <a:t>Leverage strategic work done so far to understand nuances and implications to consider for each archetype. For example:</a:t>
            </a:r>
          </a:p>
          <a:p>
            <a:pPr marL="800100" lvl="1" indent="-342900">
              <a:spcBef>
                <a:spcPts val="600"/>
              </a:spcBef>
              <a:spcAft>
                <a:spcPts val="600"/>
              </a:spcAft>
              <a:buClr>
                <a:srgbClr val="FF9E16"/>
              </a:buClr>
              <a:buFont typeface="+mj-lt"/>
              <a:buAutoNum type="arabicPeriod"/>
              <a:defRPr/>
            </a:pPr>
            <a:r>
              <a:rPr lang="en-US" sz="1600">
                <a:solidFill>
                  <a:srgbClr val="646569"/>
                </a:solidFill>
              </a:rPr>
              <a:t>Segmentation and customer prioritization</a:t>
            </a:r>
          </a:p>
          <a:p>
            <a:pPr marL="800100" lvl="1" indent="-342900">
              <a:spcBef>
                <a:spcPts val="600"/>
              </a:spcBef>
              <a:spcAft>
                <a:spcPts val="600"/>
              </a:spcAft>
              <a:buClr>
                <a:srgbClr val="FF9E16"/>
              </a:buClr>
              <a:buFont typeface="+mj-lt"/>
              <a:buAutoNum type="arabicPeriod"/>
              <a:defRPr/>
            </a:pPr>
            <a:r>
              <a:rPr lang="en-US" sz="1600">
                <a:solidFill>
                  <a:srgbClr val="646569"/>
                </a:solidFill>
              </a:rPr>
              <a:t>Field force structure and territory allocation</a:t>
            </a:r>
          </a:p>
          <a:p>
            <a:pPr marL="800100" lvl="1" indent="-342900">
              <a:spcBef>
                <a:spcPts val="600"/>
              </a:spcBef>
              <a:spcAft>
                <a:spcPts val="600"/>
              </a:spcAft>
              <a:buClr>
                <a:srgbClr val="FF9E16"/>
              </a:buClr>
              <a:buFont typeface="+mj-lt"/>
              <a:buAutoNum type="arabicPeriod"/>
              <a:defRPr/>
            </a:pPr>
            <a:r>
              <a:rPr lang="en-US" sz="1600">
                <a:solidFill>
                  <a:srgbClr val="646569"/>
                </a:solidFill>
              </a:rPr>
              <a:t>Customer journey &amp; channel volume impact</a:t>
            </a:r>
          </a:p>
          <a:p>
            <a:pPr marL="800100" lvl="1" indent="-342900">
              <a:spcBef>
                <a:spcPts val="600"/>
              </a:spcBef>
              <a:spcAft>
                <a:spcPts val="600"/>
              </a:spcAft>
              <a:buClr>
                <a:srgbClr val="FF9E16"/>
              </a:buClr>
              <a:buFont typeface="+mj-lt"/>
              <a:buAutoNum type="arabicPeriod"/>
              <a:defRPr/>
            </a:pPr>
            <a:r>
              <a:rPr lang="en-US" sz="1600">
                <a:solidFill>
                  <a:srgbClr val="646569"/>
                </a:solidFill>
                <a:latin typeface="Calibri"/>
              </a:rPr>
              <a:t>Engagement &amp; competency framework</a:t>
            </a:r>
          </a:p>
          <a:p>
            <a:pPr marL="800100" lvl="1" indent="-342900">
              <a:spcBef>
                <a:spcPts val="600"/>
              </a:spcBef>
              <a:spcAft>
                <a:spcPts val="600"/>
              </a:spcAft>
              <a:buClr>
                <a:srgbClr val="FF9E16"/>
              </a:buClr>
              <a:buFont typeface="+mj-lt"/>
              <a:buAutoNum type="arabicPeriod"/>
              <a:defRPr/>
            </a:pPr>
            <a:r>
              <a:rPr lang="en-US" sz="1600">
                <a:solidFill>
                  <a:srgbClr val="646569"/>
                </a:solidFill>
                <a:latin typeface="Calibri"/>
              </a:rPr>
              <a:t>Others (TBC)</a:t>
            </a:r>
          </a:p>
          <a:p>
            <a:pPr marL="342900" marR="0" lvl="0" indent="-342900" algn="l" defTabSz="914400" rtl="0" eaLnBrk="1" fontAlgn="auto" latinLnBrk="0" hangingPunct="1">
              <a:spcBef>
                <a:spcPts val="600"/>
              </a:spcBef>
              <a:spcAft>
                <a:spcPts val="600"/>
              </a:spcAft>
              <a:buClr>
                <a:srgbClr val="FF9E16"/>
              </a:buClr>
              <a:buSzTx/>
              <a:buFont typeface="+mj-lt"/>
              <a:buAutoNum type="arabicPeriod"/>
              <a:tabLst/>
              <a:defRPr/>
            </a:pPr>
            <a:r>
              <a:rPr lang="en-US" sz="1600">
                <a:solidFill>
                  <a:srgbClr val="646569"/>
                </a:solidFill>
                <a:latin typeface="Calibri"/>
              </a:rPr>
              <a:t>Map markets against each of the archetypes and test with key market representatives </a:t>
            </a:r>
            <a:endParaRPr kumimoji="0" lang="en-US" sz="1600" b="0" i="0" u="none" strike="noStrike" kern="1200" cap="none" spc="0" normalizeH="0" baseline="0" noProof="0">
              <a:ln>
                <a:noFill/>
              </a:ln>
              <a:solidFill>
                <a:srgbClr val="646569"/>
              </a:solidFill>
              <a:effectLst/>
              <a:uLnTx/>
              <a:uFillTx/>
              <a:latin typeface="Calibri"/>
              <a:ea typeface="+mn-ea"/>
              <a:cs typeface="+mn-cs"/>
            </a:endParaRPr>
          </a:p>
          <a:p>
            <a:pPr marL="342900" marR="0" lvl="0" indent="-342900" algn="l" defTabSz="914400" rtl="0" eaLnBrk="1" fontAlgn="auto" latinLnBrk="0" hangingPunct="1">
              <a:spcBef>
                <a:spcPts val="600"/>
              </a:spcBef>
              <a:spcAft>
                <a:spcPts val="600"/>
              </a:spcAft>
              <a:buClr>
                <a:srgbClr val="FF9E16"/>
              </a:buClr>
              <a:buSzTx/>
              <a:buFont typeface="+mj-lt"/>
              <a:buAutoNum type="arabicPeriod"/>
              <a:tabLst/>
              <a:defRPr/>
            </a:pPr>
            <a:r>
              <a:rPr lang="en-US" sz="1600">
                <a:solidFill>
                  <a:srgbClr val="646569"/>
                </a:solidFill>
                <a:latin typeface="Calibri"/>
              </a:rPr>
              <a:t>Use archetypes to tailor customer engagement model processes, learning interventions and guidance materials as required</a:t>
            </a:r>
          </a:p>
        </p:txBody>
      </p:sp>
      <p:grpSp>
        <p:nvGrpSpPr>
          <p:cNvPr id="12" name="Group 11">
            <a:extLst>
              <a:ext uri="{FF2B5EF4-FFF2-40B4-BE49-F238E27FC236}">
                <a16:creationId xmlns:a16="http://schemas.microsoft.com/office/drawing/2014/main" id="{4412587F-057A-824D-BB9C-58E5FAD484F7}"/>
              </a:ext>
            </a:extLst>
          </p:cNvPr>
          <p:cNvGrpSpPr/>
          <p:nvPr/>
        </p:nvGrpSpPr>
        <p:grpSpPr>
          <a:xfrm>
            <a:off x="451185" y="3938266"/>
            <a:ext cx="3758947" cy="2023989"/>
            <a:chOff x="451185" y="3938266"/>
            <a:chExt cx="3758947" cy="2023989"/>
          </a:xfrm>
        </p:grpSpPr>
        <p:pic>
          <p:nvPicPr>
            <p:cNvPr id="38" name="Picture 37">
              <a:extLst>
                <a:ext uri="{FF2B5EF4-FFF2-40B4-BE49-F238E27FC236}">
                  <a16:creationId xmlns:a16="http://schemas.microsoft.com/office/drawing/2014/main" id="{437ACA7F-D537-9C4C-BFC1-987234F390F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85" y="3938266"/>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41" name="Rectangle 40">
              <a:extLst>
                <a:ext uri="{FF2B5EF4-FFF2-40B4-BE49-F238E27FC236}">
                  <a16:creationId xmlns:a16="http://schemas.microsoft.com/office/drawing/2014/main" id="{1B4C3C89-9DD5-E64D-A24B-1B6FE75BDAD0}"/>
                </a:ext>
              </a:extLst>
            </p:cNvPr>
            <p:cNvSpPr/>
            <p:nvPr/>
          </p:nvSpPr>
          <p:spPr>
            <a:xfrm>
              <a:off x="608044" y="3986641"/>
              <a:ext cx="2715644" cy="201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FF9E16"/>
                  </a:solidFill>
                  <a:latin typeface="Calibri"/>
                </a:rPr>
                <a:t>Map markets against archetypes </a:t>
              </a:r>
              <a:endParaRPr kumimoji="0" lang="en-US" sz="1100" b="0" i="0" u="none" strike="noStrike" kern="1200" cap="none" spc="0" normalizeH="0" baseline="0" noProof="0">
                <a:ln>
                  <a:noFill/>
                </a:ln>
                <a:solidFill>
                  <a:srgbClr val="FF9E16"/>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FF1B6958-B9DC-F24C-B9A4-C42DBB621D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0283"/>
            <a:stretch/>
          </p:blipFill>
          <p:spPr>
            <a:xfrm>
              <a:off x="821279" y="4194256"/>
              <a:ext cx="3053137" cy="1535001"/>
            </a:xfrm>
            <a:prstGeom prst="rect">
              <a:avLst/>
            </a:prstGeom>
          </p:spPr>
        </p:pic>
      </p:grpSp>
      <p:grpSp>
        <p:nvGrpSpPr>
          <p:cNvPr id="11" name="Group 10">
            <a:extLst>
              <a:ext uri="{FF2B5EF4-FFF2-40B4-BE49-F238E27FC236}">
                <a16:creationId xmlns:a16="http://schemas.microsoft.com/office/drawing/2014/main" id="{031E3FA8-352E-CF4D-B143-BA11463BB648}"/>
              </a:ext>
            </a:extLst>
          </p:cNvPr>
          <p:cNvGrpSpPr/>
          <p:nvPr/>
        </p:nvGrpSpPr>
        <p:grpSpPr>
          <a:xfrm>
            <a:off x="451185" y="1654034"/>
            <a:ext cx="3758947" cy="2023989"/>
            <a:chOff x="451185" y="1654034"/>
            <a:chExt cx="3758947" cy="2023989"/>
          </a:xfrm>
        </p:grpSpPr>
        <p:pic>
          <p:nvPicPr>
            <p:cNvPr id="36" name="Picture 35">
              <a:extLst>
                <a:ext uri="{FF2B5EF4-FFF2-40B4-BE49-F238E27FC236}">
                  <a16:creationId xmlns:a16="http://schemas.microsoft.com/office/drawing/2014/main" id="{93CBBE3D-F463-C749-91A9-B9880DF4592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85" y="1654034"/>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40" name="Rectangle 39">
              <a:extLst>
                <a:ext uri="{FF2B5EF4-FFF2-40B4-BE49-F238E27FC236}">
                  <a16:creationId xmlns:a16="http://schemas.microsoft.com/office/drawing/2014/main" id="{F842EE64-15B8-B148-ABA4-96FCE0C0D525}"/>
                </a:ext>
              </a:extLst>
            </p:cNvPr>
            <p:cNvSpPr/>
            <p:nvPr/>
          </p:nvSpPr>
          <p:spPr>
            <a:xfrm>
              <a:off x="558498" y="1705746"/>
              <a:ext cx="3522618" cy="23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FF9E16"/>
                  </a:solidFill>
                  <a:latin typeface="Calibri"/>
                </a:rPr>
                <a:t>Market archetype description &amp; go-to-market implications </a:t>
              </a:r>
              <a:endParaRPr kumimoji="0" lang="en-US" sz="1100" b="0" i="0" u="none" strike="noStrike" kern="1200" cap="none" spc="0" normalizeH="0" baseline="0" noProof="0">
                <a:ln>
                  <a:noFill/>
                </a:ln>
                <a:solidFill>
                  <a:srgbClr val="FF9E16"/>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A607A3D0-AB77-6B44-9D75-A243F0E3C83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86177" y="1992078"/>
              <a:ext cx="2737368" cy="1480556"/>
            </a:xfrm>
            <a:prstGeom prst="rect">
              <a:avLst/>
            </a:prstGeom>
          </p:spPr>
        </p:pic>
        <p:sp>
          <p:nvSpPr>
            <p:cNvPr id="9" name="Triangle 8">
              <a:extLst>
                <a:ext uri="{FF2B5EF4-FFF2-40B4-BE49-F238E27FC236}">
                  <a16:creationId xmlns:a16="http://schemas.microsoft.com/office/drawing/2014/main" id="{5B0C9E08-D965-8542-BECC-D52CD24D7C57}"/>
                </a:ext>
              </a:extLst>
            </p:cNvPr>
            <p:cNvSpPr/>
            <p:nvPr/>
          </p:nvSpPr>
          <p:spPr>
            <a:xfrm rot="5400000">
              <a:off x="2969997" y="2617056"/>
              <a:ext cx="596024" cy="9794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455F61C2-5F64-BB4C-BE8B-C3CB97E91DBF}"/>
                </a:ext>
              </a:extLst>
            </p:cNvPr>
            <p:cNvSpPr txBox="1"/>
            <p:nvPr/>
          </p:nvSpPr>
          <p:spPr>
            <a:xfrm>
              <a:off x="3291344" y="2271919"/>
              <a:ext cx="807312" cy="900631"/>
            </a:xfrm>
            <a:prstGeom prst="rect">
              <a:avLst/>
            </a:prstGeom>
            <a:noFill/>
          </p:spPr>
          <p:txBody>
            <a:bodyPr wrap="square" rtlCol="0">
              <a:sp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400" b="1"/>
                <a:t>Key go-to-market implications</a:t>
              </a:r>
              <a:endParaRPr lang="en-US" sz="400"/>
            </a:p>
            <a:p>
              <a:pPr marR="0" defTabSz="914400" rtl="0" eaLnBrk="1" fontAlgn="auto" latinLnBrk="0" hangingPunct="1">
                <a:lnSpc>
                  <a:spcPct val="80000"/>
                </a:lnSpc>
                <a:spcBef>
                  <a:spcPts val="200"/>
                </a:spcBef>
                <a:spcAft>
                  <a:spcPts val="0"/>
                </a:spcAft>
                <a:buClr>
                  <a:schemeClr val="tx2"/>
                </a:buClr>
                <a:buSzTx/>
                <a:tabLst/>
              </a:pPr>
              <a:endParaRPr lang="en-US" sz="400"/>
            </a:p>
            <a:p>
              <a:pPr marL="44450" marR="0" indent="-44450" defTabSz="914400" rtl="0" eaLnBrk="1" fontAlgn="auto" latinLnBrk="0" hangingPunct="1">
                <a:lnSpc>
                  <a:spcPct val="80000"/>
                </a:lnSpc>
                <a:spcBef>
                  <a:spcPts val="200"/>
                </a:spcBef>
                <a:spcAft>
                  <a:spcPts val="0"/>
                </a:spcAft>
                <a:buClr>
                  <a:schemeClr val="tx2"/>
                </a:buClr>
                <a:buSzTx/>
                <a:buFont typeface="Arial" panose="020B0604020202020204" pitchFamily="34" charset="0"/>
                <a:buChar char="•"/>
              </a:pPr>
              <a:r>
                <a:rPr lang="en-US" sz="300"/>
                <a:t>KAM structure in place to cover hospital chains, pharmacy groups and key public hospitals</a:t>
              </a:r>
            </a:p>
            <a:p>
              <a:pPr marL="44450" marR="0" indent="-44450" defTabSz="914400" rtl="0" eaLnBrk="1" fontAlgn="auto" latinLnBrk="0" hangingPunct="1">
                <a:lnSpc>
                  <a:spcPct val="80000"/>
                </a:lnSpc>
                <a:spcBef>
                  <a:spcPts val="200"/>
                </a:spcBef>
                <a:spcAft>
                  <a:spcPts val="0"/>
                </a:spcAft>
                <a:buClr>
                  <a:schemeClr val="tx2"/>
                </a:buClr>
                <a:buSzTx/>
                <a:buFont typeface="Arial" panose="020B0604020202020204" pitchFamily="34" charset="0"/>
                <a:buChar char="•"/>
              </a:pPr>
              <a:r>
                <a:rPr lang="en-US" sz="300"/>
                <a:t>Sales force allocation distributed by regions and accounts</a:t>
              </a:r>
            </a:p>
            <a:p>
              <a:pPr marL="44450" marR="0" indent="-44450" defTabSz="914400" rtl="0" eaLnBrk="1" fontAlgn="auto" latinLnBrk="0" hangingPunct="1">
                <a:lnSpc>
                  <a:spcPct val="80000"/>
                </a:lnSpc>
                <a:spcBef>
                  <a:spcPts val="200"/>
                </a:spcBef>
                <a:spcAft>
                  <a:spcPts val="0"/>
                </a:spcAft>
                <a:buClr>
                  <a:schemeClr val="tx2"/>
                </a:buClr>
                <a:buSzTx/>
                <a:buFont typeface="Arial" panose="020B0604020202020204" pitchFamily="34" charset="0"/>
                <a:buChar char="•"/>
              </a:pPr>
              <a:r>
                <a:rPr lang="en-US" sz="300"/>
                <a:t>eCommerce structure established to ease order management</a:t>
              </a:r>
            </a:p>
            <a:p>
              <a:pPr marL="44450" marR="0" indent="-44450" defTabSz="914400" rtl="0" eaLnBrk="1" fontAlgn="auto" latinLnBrk="0" hangingPunct="1">
                <a:lnSpc>
                  <a:spcPct val="80000"/>
                </a:lnSpc>
                <a:spcBef>
                  <a:spcPts val="200"/>
                </a:spcBef>
                <a:spcAft>
                  <a:spcPts val="0"/>
                </a:spcAft>
                <a:buClr>
                  <a:schemeClr val="tx2"/>
                </a:buClr>
                <a:buSzTx/>
                <a:buFont typeface="Arial" panose="020B0604020202020204" pitchFamily="34" charset="0"/>
                <a:buChar char="•"/>
              </a:pPr>
              <a:r>
                <a:rPr lang="en-US" sz="300"/>
                <a:t>Incentives and effort allocation for accounts is revisited quarterly</a:t>
              </a:r>
            </a:p>
            <a:p>
              <a:pPr marL="44450" marR="0" indent="-44450" defTabSz="914400" rtl="0" eaLnBrk="1" fontAlgn="auto" latinLnBrk="0" hangingPunct="1">
                <a:lnSpc>
                  <a:spcPct val="80000"/>
                </a:lnSpc>
                <a:spcBef>
                  <a:spcPts val="200"/>
                </a:spcBef>
                <a:spcAft>
                  <a:spcPts val="0"/>
                </a:spcAft>
                <a:buClr>
                  <a:schemeClr val="tx2"/>
                </a:buClr>
                <a:buSzTx/>
                <a:buFont typeface="Arial" panose="020B0604020202020204" pitchFamily="34" charset="0"/>
                <a:buChar char="•"/>
              </a:pPr>
              <a:r>
                <a:rPr lang="en-US" sz="300"/>
                <a:t>Capability model is based on partnerships &amp; innovation</a:t>
              </a:r>
            </a:p>
            <a:p>
              <a:pPr marL="44450" marR="0" indent="-44450" defTabSz="914400" rtl="0" eaLnBrk="1" fontAlgn="auto" latinLnBrk="0" hangingPunct="1">
                <a:lnSpc>
                  <a:spcPct val="80000"/>
                </a:lnSpc>
                <a:spcBef>
                  <a:spcPts val="200"/>
                </a:spcBef>
                <a:spcAft>
                  <a:spcPts val="0"/>
                </a:spcAft>
                <a:buClr>
                  <a:schemeClr val="tx2"/>
                </a:buClr>
                <a:buSzTx/>
                <a:buFont typeface="Arial" panose="020B0604020202020204" pitchFamily="34" charset="0"/>
                <a:buChar char="•"/>
              </a:pPr>
              <a:r>
                <a:rPr lang="en-US" sz="300"/>
                <a:t>Value proposition includes beyond the pill propositions</a:t>
              </a:r>
              <a:endParaRPr lang="en-US" sz="400"/>
            </a:p>
          </p:txBody>
        </p:sp>
      </p:grpSp>
    </p:spTree>
    <p:extLst>
      <p:ext uri="{BB962C8B-B14F-4D97-AF65-F5344CB8AC3E}">
        <p14:creationId xmlns:p14="http://schemas.microsoft.com/office/powerpoint/2010/main" val="61914775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016DD58-F957-1346-8429-B6924E6E0577}"/>
              </a:ext>
            </a:extLst>
          </p:cNvPr>
          <p:cNvSpPr/>
          <p:nvPr/>
        </p:nvSpPr>
        <p:spPr>
          <a:xfrm>
            <a:off x="0" y="-9832"/>
            <a:ext cx="12192000" cy="11955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F0343857-B3D4-EE4B-B145-594D864007C9}"/>
              </a:ext>
            </a:extLst>
          </p:cNvPr>
          <p:cNvSpPr>
            <a:spLocks noGrp="1"/>
          </p:cNvSpPr>
          <p:nvPr>
            <p:ph type="body" sz="quarter" idx="13"/>
          </p:nvPr>
        </p:nvSpPr>
        <p:spPr>
          <a:xfrm>
            <a:off x="267046" y="748125"/>
            <a:ext cx="11859625" cy="579664"/>
          </a:xfrm>
        </p:spPr>
        <p:txBody>
          <a:bodyPr/>
          <a:lstStyle/>
          <a:p>
            <a:r>
              <a:rPr lang="en-US" sz="1400">
                <a:solidFill>
                  <a:schemeClr val="bg1"/>
                </a:solidFill>
              </a:rPr>
              <a:t>Define the process for the allocation of channel activity targets in CRM, based on the target customer list allocated to the rep</a:t>
            </a:r>
          </a:p>
        </p:txBody>
      </p:sp>
      <p:sp>
        <p:nvSpPr>
          <p:cNvPr id="3" name="Title 2">
            <a:extLst>
              <a:ext uri="{FF2B5EF4-FFF2-40B4-BE49-F238E27FC236}">
                <a16:creationId xmlns:a16="http://schemas.microsoft.com/office/drawing/2014/main" id="{AD4A8093-39C8-FB4B-A914-1502ADF096F9}"/>
              </a:ext>
            </a:extLst>
          </p:cNvPr>
          <p:cNvSpPr>
            <a:spLocks noGrp="1"/>
          </p:cNvSpPr>
          <p:nvPr>
            <p:ph type="title"/>
          </p:nvPr>
        </p:nvSpPr>
        <p:spPr>
          <a:xfrm>
            <a:off x="243639" y="161292"/>
            <a:ext cx="11639394" cy="579665"/>
          </a:xfrm>
        </p:spPr>
        <p:txBody>
          <a:bodyPr/>
          <a:lstStyle/>
          <a:p>
            <a:r>
              <a:rPr lang="en-US" sz="2800">
                <a:solidFill>
                  <a:schemeClr val="bg1"/>
                </a:solidFill>
              </a:rPr>
              <a:t>1.2. Define and build rep activity allocation &amp; the MCCP process</a:t>
            </a:r>
          </a:p>
        </p:txBody>
      </p:sp>
      <p:sp>
        <p:nvSpPr>
          <p:cNvPr id="13" name="Rectangle 12">
            <a:extLst>
              <a:ext uri="{FF2B5EF4-FFF2-40B4-BE49-F238E27FC236}">
                <a16:creationId xmlns:a16="http://schemas.microsoft.com/office/drawing/2014/main" id="{15148C33-FF4C-5D47-A4E3-6161AC78335B}"/>
              </a:ext>
            </a:extLst>
          </p:cNvPr>
          <p:cNvSpPr/>
          <p:nvPr/>
        </p:nvSpPr>
        <p:spPr>
          <a:xfrm>
            <a:off x="313421" y="1512850"/>
            <a:ext cx="11429559" cy="478855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610A673C-FC63-3F4C-9716-0668BFC2367D}"/>
              </a:ext>
            </a:extLst>
          </p:cNvPr>
          <p:cNvSpPr/>
          <p:nvPr/>
        </p:nvSpPr>
        <p:spPr>
          <a:xfrm>
            <a:off x="11742980" y="1514029"/>
            <a:ext cx="135599" cy="47873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6" name="Picture 35">
            <a:extLst>
              <a:ext uri="{FF2B5EF4-FFF2-40B4-BE49-F238E27FC236}">
                <a16:creationId xmlns:a16="http://schemas.microsoft.com/office/drawing/2014/main" id="{93CBBE3D-F463-C749-91A9-B9880DF4592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85" y="1654034"/>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437ACA7F-D537-9C4C-BFC1-987234F390F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85" y="3938266"/>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39" name="TextBox 38">
            <a:extLst>
              <a:ext uri="{FF2B5EF4-FFF2-40B4-BE49-F238E27FC236}">
                <a16:creationId xmlns:a16="http://schemas.microsoft.com/office/drawing/2014/main" id="{E9775BDA-1CD2-2B43-83C6-5D482E1E8AAF}"/>
              </a:ext>
            </a:extLst>
          </p:cNvPr>
          <p:cNvSpPr txBox="1"/>
          <p:nvPr/>
        </p:nvSpPr>
        <p:spPr>
          <a:xfrm>
            <a:off x="4374371" y="1851913"/>
            <a:ext cx="7090114" cy="4216539"/>
          </a:xfrm>
          <a:prstGeom prst="rect">
            <a:avLst/>
          </a:prstGeom>
          <a:noFill/>
        </p:spPr>
        <p:txBody>
          <a:bodyPr wrap="square" rtlCol="0">
            <a:spAutoFit/>
          </a:bodyPr>
          <a:lstStyle/>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Review the customer journey maps, engagement frameworks (F2F, Digital, Hybrid etc.) and customer segment objectives for the upcoming sales cycle</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Confirm the appropriate channel mix for each market archetype, including considerations for customer segments, and assign a weighting to each of these channels</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Define the number of interactions required via each channel within the next sales cycle (minimum and maximum) for each archetype and segment combination to build a set of scenarios</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The output will be a ’channel attainment’ score for each scenario so that individual reps are able to measure progress against targets during the sales cycle</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Define the end-to-end process to refresh this data and to load into Veeva CRM within each sales cycle</a:t>
            </a:r>
          </a:p>
        </p:txBody>
      </p:sp>
      <p:sp>
        <p:nvSpPr>
          <p:cNvPr id="41" name="Rectangle 40">
            <a:extLst>
              <a:ext uri="{FF2B5EF4-FFF2-40B4-BE49-F238E27FC236}">
                <a16:creationId xmlns:a16="http://schemas.microsoft.com/office/drawing/2014/main" id="{1B4C3C89-9DD5-E64D-A24B-1B6FE75BDAD0}"/>
              </a:ext>
            </a:extLst>
          </p:cNvPr>
          <p:cNvSpPr/>
          <p:nvPr/>
        </p:nvSpPr>
        <p:spPr>
          <a:xfrm>
            <a:off x="511459" y="3964790"/>
            <a:ext cx="2715644" cy="201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FF9E16"/>
                </a:solidFill>
                <a:latin typeface="Calibri"/>
              </a:rPr>
              <a:t>How to review your MCCP dashboard</a:t>
            </a:r>
            <a:endParaRPr kumimoji="0" lang="en-US" sz="1200" b="0" i="0" u="none" strike="noStrike" kern="1200" cap="none" spc="0" normalizeH="0" baseline="0" noProof="0">
              <a:ln>
                <a:noFill/>
              </a:ln>
              <a:solidFill>
                <a:srgbClr val="FF9E16"/>
              </a:solidFill>
              <a:effectLst/>
              <a:uLnTx/>
              <a:uFillTx/>
              <a:latin typeface="Calibri"/>
              <a:ea typeface="+mn-ea"/>
              <a:cs typeface="+mn-cs"/>
            </a:endParaRPr>
          </a:p>
        </p:txBody>
      </p:sp>
      <p:pic>
        <p:nvPicPr>
          <p:cNvPr id="15" name="Picture 14">
            <a:extLst>
              <a:ext uri="{FF2B5EF4-FFF2-40B4-BE49-F238E27FC236}">
                <a16:creationId xmlns:a16="http://schemas.microsoft.com/office/drawing/2014/main" id="{63BEACBA-E744-B24A-BD13-4FCE2E45055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9546" y="4303944"/>
            <a:ext cx="2154142" cy="1490683"/>
          </a:xfrm>
          <a:prstGeom prst="rect">
            <a:avLst/>
          </a:prstGeom>
          <a:ln>
            <a:solidFill>
              <a:schemeClr val="bg2"/>
            </a:solidFill>
          </a:ln>
        </p:spPr>
      </p:pic>
      <p:pic>
        <p:nvPicPr>
          <p:cNvPr id="17" name="Picture 16">
            <a:extLst>
              <a:ext uri="{FF2B5EF4-FFF2-40B4-BE49-F238E27FC236}">
                <a16:creationId xmlns:a16="http://schemas.microsoft.com/office/drawing/2014/main" id="{1F36D8CD-9B73-124D-8F74-E0EBF93A76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76099" y="2126578"/>
            <a:ext cx="2689925" cy="726476"/>
          </a:xfrm>
          <a:prstGeom prst="rect">
            <a:avLst/>
          </a:prstGeom>
        </p:spPr>
      </p:pic>
      <p:sp>
        <p:nvSpPr>
          <p:cNvPr id="18" name="TextBox 17">
            <a:extLst>
              <a:ext uri="{FF2B5EF4-FFF2-40B4-BE49-F238E27FC236}">
                <a16:creationId xmlns:a16="http://schemas.microsoft.com/office/drawing/2014/main" id="{0B41A3DB-B4A4-2E4F-AF13-E21DA8C8208F}"/>
              </a:ext>
            </a:extLst>
          </p:cNvPr>
          <p:cNvSpPr txBox="1"/>
          <p:nvPr/>
        </p:nvSpPr>
        <p:spPr>
          <a:xfrm>
            <a:off x="511459" y="1754419"/>
            <a:ext cx="3677828" cy="243721"/>
          </a:xfrm>
          <a:prstGeom prst="rect">
            <a:avLst/>
          </a:prstGeom>
          <a:noFill/>
        </p:spPr>
        <p:txBody>
          <a:bodyPr wrap="squar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1200" b="0" i="0" u="none" strike="noStrike" kern="1200" cap="none" spc="0" normalizeH="0" baseline="0" noProof="0">
                <a:ln>
                  <a:noFill/>
                </a:ln>
                <a:solidFill>
                  <a:srgbClr val="FF9E16"/>
                </a:solidFill>
                <a:effectLst/>
                <a:uLnTx/>
                <a:uFillTx/>
                <a:latin typeface="Calibri"/>
                <a:ea typeface="+mn-ea"/>
                <a:cs typeface="+mn-cs"/>
              </a:rPr>
              <a:t>Jyseleca channel plan</a:t>
            </a:r>
          </a:p>
        </p:txBody>
      </p:sp>
      <p:graphicFrame>
        <p:nvGraphicFramePr>
          <p:cNvPr id="19" name="Table 9">
            <a:extLst>
              <a:ext uri="{FF2B5EF4-FFF2-40B4-BE49-F238E27FC236}">
                <a16:creationId xmlns:a16="http://schemas.microsoft.com/office/drawing/2014/main" id="{FF6F7716-7174-A545-A43B-60EBE1090DB1}"/>
              </a:ext>
            </a:extLst>
          </p:cNvPr>
          <p:cNvGraphicFramePr>
            <a:graphicFrameLocks noGrp="1"/>
          </p:cNvGraphicFramePr>
          <p:nvPr/>
        </p:nvGraphicFramePr>
        <p:xfrm>
          <a:off x="1327782" y="2939388"/>
          <a:ext cx="2638242" cy="533400"/>
        </p:xfrm>
        <a:graphic>
          <a:graphicData uri="http://schemas.openxmlformats.org/drawingml/2006/table">
            <a:tbl>
              <a:tblPr firstRow="1" bandRow="1">
                <a:tableStyleId>{5C22544A-7EE6-4342-B048-85BDC9FD1C3A}</a:tableStyleId>
              </a:tblPr>
              <a:tblGrid>
                <a:gridCol w="576792">
                  <a:extLst>
                    <a:ext uri="{9D8B030D-6E8A-4147-A177-3AD203B41FA5}">
                      <a16:colId xmlns:a16="http://schemas.microsoft.com/office/drawing/2014/main" val="1006259027"/>
                    </a:ext>
                  </a:extLst>
                </a:gridCol>
                <a:gridCol w="412290">
                  <a:extLst>
                    <a:ext uri="{9D8B030D-6E8A-4147-A177-3AD203B41FA5}">
                      <a16:colId xmlns:a16="http://schemas.microsoft.com/office/drawing/2014/main" val="3526714981"/>
                    </a:ext>
                  </a:extLst>
                </a:gridCol>
                <a:gridCol w="412290">
                  <a:extLst>
                    <a:ext uri="{9D8B030D-6E8A-4147-A177-3AD203B41FA5}">
                      <a16:colId xmlns:a16="http://schemas.microsoft.com/office/drawing/2014/main" val="2815177150"/>
                    </a:ext>
                  </a:extLst>
                </a:gridCol>
                <a:gridCol w="412290">
                  <a:extLst>
                    <a:ext uri="{9D8B030D-6E8A-4147-A177-3AD203B41FA5}">
                      <a16:colId xmlns:a16="http://schemas.microsoft.com/office/drawing/2014/main" val="1637302506"/>
                    </a:ext>
                  </a:extLst>
                </a:gridCol>
                <a:gridCol w="412290">
                  <a:extLst>
                    <a:ext uri="{9D8B030D-6E8A-4147-A177-3AD203B41FA5}">
                      <a16:colId xmlns:a16="http://schemas.microsoft.com/office/drawing/2014/main" val="1565143335"/>
                    </a:ext>
                  </a:extLst>
                </a:gridCol>
                <a:gridCol w="412290">
                  <a:extLst>
                    <a:ext uri="{9D8B030D-6E8A-4147-A177-3AD203B41FA5}">
                      <a16:colId xmlns:a16="http://schemas.microsoft.com/office/drawing/2014/main" val="917505268"/>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50000"/>
                            </a:schemeClr>
                          </a:solidFill>
                        </a:rPr>
                        <a:t>Product </a:t>
                      </a:r>
                    </a:p>
                  </a:txBody>
                  <a:tcPr marL="0" marR="0" marT="0" marB="0" anchor="ctr">
                    <a:noFill/>
                  </a:tcPr>
                </a:tc>
                <a:tc>
                  <a:txBody>
                    <a:bodyPr/>
                    <a:lstStyle/>
                    <a:p>
                      <a:pPr algn="ctr"/>
                      <a:r>
                        <a:rPr lang="en-US" sz="700">
                          <a:solidFill>
                            <a:schemeClr val="tx1">
                              <a:lumMod val="50000"/>
                            </a:schemeClr>
                          </a:solidFill>
                        </a:rPr>
                        <a:t>TP1</a:t>
                      </a:r>
                    </a:p>
                  </a:txBody>
                  <a:tcPr marL="0" marR="0" marT="0" marB="0" anchor="ctr">
                    <a:noFill/>
                  </a:tcPr>
                </a:tc>
                <a:tc>
                  <a:txBody>
                    <a:bodyPr/>
                    <a:lstStyle/>
                    <a:p>
                      <a:pPr algn="ctr"/>
                      <a:r>
                        <a:rPr lang="en-US" sz="700">
                          <a:solidFill>
                            <a:schemeClr val="tx1">
                              <a:lumMod val="50000"/>
                            </a:schemeClr>
                          </a:solidFill>
                        </a:rPr>
                        <a:t>TP2</a:t>
                      </a:r>
                    </a:p>
                  </a:txBody>
                  <a:tcPr marL="0" marR="0" marT="0" marB="0" anchor="ctr">
                    <a:noFill/>
                  </a:tcPr>
                </a:tc>
                <a:tc>
                  <a:txBody>
                    <a:bodyPr/>
                    <a:lstStyle/>
                    <a:p>
                      <a:pPr algn="ctr"/>
                      <a:r>
                        <a:rPr lang="en-US" sz="700">
                          <a:solidFill>
                            <a:schemeClr val="tx1">
                              <a:lumMod val="50000"/>
                            </a:schemeClr>
                          </a:solidFill>
                        </a:rPr>
                        <a:t>TP3</a:t>
                      </a:r>
                    </a:p>
                  </a:txBody>
                  <a:tcPr marL="0" marR="0" marT="0" marB="0" anchor="ctr">
                    <a:noFill/>
                  </a:tcPr>
                </a:tc>
                <a:tc>
                  <a:txBody>
                    <a:bodyPr/>
                    <a:lstStyle/>
                    <a:p>
                      <a:pPr algn="ctr"/>
                      <a:r>
                        <a:rPr lang="en-US" sz="700">
                          <a:solidFill>
                            <a:schemeClr val="tx1">
                              <a:lumMod val="50000"/>
                            </a:schemeClr>
                          </a:solidFill>
                        </a:rPr>
                        <a:t>TP4</a:t>
                      </a:r>
                    </a:p>
                  </a:txBody>
                  <a:tcPr marL="0" marR="0" marT="0" marB="0" anchor="ctr">
                    <a:noFill/>
                  </a:tcPr>
                </a:tc>
                <a:tc>
                  <a:txBody>
                    <a:bodyPr/>
                    <a:lstStyle/>
                    <a:p>
                      <a:pPr algn="ctr"/>
                      <a:r>
                        <a:rPr lang="en-US" sz="700">
                          <a:solidFill>
                            <a:schemeClr val="tx1">
                              <a:lumMod val="50000"/>
                            </a:schemeClr>
                          </a:solidFill>
                        </a:rPr>
                        <a:t>TP5</a:t>
                      </a:r>
                    </a:p>
                  </a:txBody>
                  <a:tcPr marL="0" marR="0" marT="0" marB="0" anchor="ctr">
                    <a:noFill/>
                  </a:tcPr>
                </a:tc>
                <a:extLst>
                  <a:ext uri="{0D108BD9-81ED-4DB2-BD59-A6C34878D82A}">
                    <a16:rowId xmlns:a16="http://schemas.microsoft.com/office/drawing/2014/main" val="2149940986"/>
                  </a:ext>
                </a:extLst>
              </a:tr>
              <a:tr h="0">
                <a:tc>
                  <a:txBody>
                    <a:bodyPr/>
                    <a:lstStyle/>
                    <a:p>
                      <a:r>
                        <a:rPr lang="en-US" sz="700">
                          <a:solidFill>
                            <a:schemeClr val="tx1">
                              <a:lumMod val="50000"/>
                            </a:schemeClr>
                          </a:solidFill>
                        </a:rPr>
                        <a:t>VAE</a:t>
                      </a:r>
                    </a:p>
                  </a:txBody>
                  <a:tcPr marL="0" marR="0" marT="0" marB="0" anchor="ctr">
                    <a:noFill/>
                  </a:tcPr>
                </a:tc>
                <a:tc>
                  <a:txBody>
                    <a:bodyPr/>
                    <a:lstStyle/>
                    <a:p>
                      <a:pPr algn="ctr"/>
                      <a:r>
                        <a:rPr lang="en-US" sz="700">
                          <a:solidFill>
                            <a:schemeClr val="tx1">
                              <a:lumMod val="50000"/>
                            </a:schemeClr>
                          </a:solidFill>
                        </a:rPr>
                        <a:t>50%</a:t>
                      </a:r>
                    </a:p>
                  </a:txBody>
                  <a:tcPr marL="0" marR="0" marT="0" marB="0" anchor="ctr">
                    <a:noFill/>
                  </a:tcPr>
                </a:tc>
                <a:tc>
                  <a:txBody>
                    <a:bodyPr/>
                    <a:lstStyle/>
                    <a:p>
                      <a:pPr algn="ctr"/>
                      <a:r>
                        <a:rPr lang="en-US" sz="700">
                          <a:solidFill>
                            <a:schemeClr val="tx1">
                              <a:lumMod val="50000"/>
                            </a:schemeClr>
                          </a:solidFill>
                        </a:rPr>
                        <a:t>75%</a:t>
                      </a:r>
                    </a:p>
                  </a:txBody>
                  <a:tcPr marL="0" marR="0" marT="0" marB="0" anchor="ctr">
                    <a:noFill/>
                  </a:tcPr>
                </a:tc>
                <a:tc>
                  <a:txBody>
                    <a:bodyPr/>
                    <a:lstStyle/>
                    <a:p>
                      <a:pPr algn="ctr"/>
                      <a:r>
                        <a:rPr lang="en-US" sz="700">
                          <a:solidFill>
                            <a:schemeClr val="tx1">
                              <a:lumMod val="50000"/>
                            </a:schemeClr>
                          </a:solidFill>
                        </a:rPr>
                        <a:t>75%</a:t>
                      </a:r>
                    </a:p>
                  </a:txBody>
                  <a:tcPr marL="0" marR="0" marT="0" marB="0" anchor="ctr">
                    <a:noFill/>
                  </a:tcPr>
                </a:tc>
                <a:tc>
                  <a:txBody>
                    <a:bodyPr/>
                    <a:lstStyle/>
                    <a:p>
                      <a:pPr algn="ctr"/>
                      <a:r>
                        <a:rPr lang="en-US" sz="700">
                          <a:solidFill>
                            <a:schemeClr val="tx1">
                              <a:lumMod val="50000"/>
                            </a:schemeClr>
                          </a:solidFill>
                        </a:rPr>
                        <a:t>100%</a:t>
                      </a:r>
                    </a:p>
                  </a:txBody>
                  <a:tcPr marL="0" marR="0" marT="0" marB="0" anchor="ctr">
                    <a:noFill/>
                  </a:tcPr>
                </a:tc>
                <a:tc>
                  <a:txBody>
                    <a:bodyPr/>
                    <a:lstStyle/>
                    <a:p>
                      <a:pPr algn="ctr"/>
                      <a:r>
                        <a:rPr lang="en-US" sz="700">
                          <a:solidFill>
                            <a:schemeClr val="tx1">
                              <a:lumMod val="50000"/>
                            </a:schemeClr>
                          </a:solidFill>
                        </a:rPr>
                        <a:t>75%</a:t>
                      </a:r>
                    </a:p>
                  </a:txBody>
                  <a:tcPr marL="0" marR="0" marT="0" marB="0" anchor="ctr">
                    <a:noFill/>
                  </a:tcPr>
                </a:tc>
                <a:extLst>
                  <a:ext uri="{0D108BD9-81ED-4DB2-BD59-A6C34878D82A}">
                    <a16:rowId xmlns:a16="http://schemas.microsoft.com/office/drawing/2014/main" val="1615674261"/>
                  </a:ext>
                </a:extLst>
              </a:tr>
              <a:tr h="0">
                <a:tc>
                  <a:txBody>
                    <a:bodyPr/>
                    <a:lstStyle/>
                    <a:p>
                      <a:r>
                        <a:rPr lang="en-US" sz="700">
                          <a:solidFill>
                            <a:schemeClr val="tx1">
                              <a:lumMod val="50000"/>
                            </a:schemeClr>
                          </a:solidFill>
                        </a:rPr>
                        <a:t>Engage</a:t>
                      </a:r>
                    </a:p>
                  </a:txBody>
                  <a:tcPr marL="0" marR="0" marT="0" marB="0" anchor="ctr">
                    <a:noFill/>
                  </a:tcPr>
                </a:tc>
                <a:tc>
                  <a:txBody>
                    <a:bodyPr/>
                    <a:lstStyle/>
                    <a:p>
                      <a:pPr algn="ctr"/>
                      <a:r>
                        <a:rPr lang="en-US" sz="700">
                          <a:solidFill>
                            <a:schemeClr val="tx1">
                              <a:lumMod val="50000"/>
                            </a:schemeClr>
                          </a:solidFill>
                        </a:rPr>
                        <a:t>25%</a:t>
                      </a:r>
                    </a:p>
                  </a:txBody>
                  <a:tcPr marL="0" marR="0" marT="0" marB="0" anchor="ctr">
                    <a:noFill/>
                  </a:tcPr>
                </a:tc>
                <a:tc>
                  <a:txBody>
                    <a:bodyPr/>
                    <a:lstStyle/>
                    <a:p>
                      <a:pPr algn="ctr"/>
                      <a:r>
                        <a:rPr lang="en-US" sz="700">
                          <a:solidFill>
                            <a:schemeClr val="tx1">
                              <a:lumMod val="50000"/>
                            </a:schemeClr>
                          </a:solidFill>
                        </a:rPr>
                        <a:t>0%</a:t>
                      </a:r>
                    </a:p>
                  </a:txBody>
                  <a:tcPr marL="0" marR="0" marT="0" marB="0" anchor="ctr">
                    <a:noFill/>
                  </a:tcPr>
                </a:tc>
                <a:tc>
                  <a:txBody>
                    <a:bodyPr/>
                    <a:lstStyle/>
                    <a:p>
                      <a:pPr algn="ctr"/>
                      <a:r>
                        <a:rPr lang="en-US" sz="700">
                          <a:solidFill>
                            <a:schemeClr val="tx1">
                              <a:lumMod val="50000"/>
                            </a:schemeClr>
                          </a:solidFill>
                        </a:rPr>
                        <a:t>25%</a:t>
                      </a:r>
                    </a:p>
                  </a:txBody>
                  <a:tcPr marL="0" marR="0" marT="0" marB="0" anchor="ctr">
                    <a:noFill/>
                  </a:tcPr>
                </a:tc>
                <a:tc>
                  <a:txBody>
                    <a:bodyPr/>
                    <a:lstStyle/>
                    <a:p>
                      <a:pPr algn="ctr"/>
                      <a:r>
                        <a:rPr lang="en-US" sz="700">
                          <a:solidFill>
                            <a:schemeClr val="tx1">
                              <a:lumMod val="50000"/>
                            </a:schemeClr>
                          </a:solidFill>
                        </a:rPr>
                        <a:t>0%</a:t>
                      </a:r>
                    </a:p>
                  </a:txBody>
                  <a:tcPr marL="0" marR="0" marT="0" marB="0" anchor="ctr">
                    <a:noFill/>
                  </a:tcPr>
                </a:tc>
                <a:tc>
                  <a:txBody>
                    <a:bodyPr/>
                    <a:lstStyle/>
                    <a:p>
                      <a:pPr algn="ctr"/>
                      <a:r>
                        <a:rPr lang="en-US" sz="700">
                          <a:solidFill>
                            <a:schemeClr val="tx1">
                              <a:lumMod val="50000"/>
                            </a:schemeClr>
                          </a:solidFill>
                        </a:rPr>
                        <a:t>25%</a:t>
                      </a:r>
                    </a:p>
                  </a:txBody>
                  <a:tcPr marL="0" marR="0" marT="0" marB="0" anchor="ctr">
                    <a:noFill/>
                  </a:tcPr>
                </a:tc>
                <a:extLst>
                  <a:ext uri="{0D108BD9-81ED-4DB2-BD59-A6C34878D82A}">
                    <a16:rowId xmlns:a16="http://schemas.microsoft.com/office/drawing/2014/main" val="2696536913"/>
                  </a:ext>
                </a:extLst>
              </a:tr>
              <a:tr h="0">
                <a:tc>
                  <a:txBody>
                    <a:bodyPr/>
                    <a:lstStyle/>
                    <a:p>
                      <a:r>
                        <a:rPr lang="en-US" sz="700">
                          <a:solidFill>
                            <a:schemeClr val="tx1">
                              <a:lumMod val="50000"/>
                            </a:schemeClr>
                          </a:solidFill>
                        </a:rPr>
                        <a:t>Website</a:t>
                      </a:r>
                    </a:p>
                  </a:txBody>
                  <a:tcPr marL="0" marR="0" marT="0" marB="0" anchor="ctr">
                    <a:noFill/>
                  </a:tcPr>
                </a:tc>
                <a:tc>
                  <a:txBody>
                    <a:bodyPr/>
                    <a:lstStyle/>
                    <a:p>
                      <a:pPr algn="ctr"/>
                      <a:r>
                        <a:rPr lang="en-US" sz="700">
                          <a:solidFill>
                            <a:schemeClr val="tx1">
                              <a:lumMod val="50000"/>
                            </a:schemeClr>
                          </a:solidFill>
                        </a:rPr>
                        <a:t>25%</a:t>
                      </a:r>
                    </a:p>
                  </a:txBody>
                  <a:tcPr marL="0" marR="0" marT="0" marB="0" anchor="ctr">
                    <a:noFill/>
                  </a:tcPr>
                </a:tc>
                <a:tc>
                  <a:txBody>
                    <a:bodyPr/>
                    <a:lstStyle/>
                    <a:p>
                      <a:pPr algn="ctr"/>
                      <a:r>
                        <a:rPr lang="en-US" sz="700">
                          <a:solidFill>
                            <a:schemeClr val="tx1">
                              <a:lumMod val="50000"/>
                            </a:schemeClr>
                          </a:solidFill>
                        </a:rPr>
                        <a:t>15%</a:t>
                      </a:r>
                    </a:p>
                  </a:txBody>
                  <a:tcPr marL="0" marR="0" marT="0" marB="0" anchor="ctr">
                    <a:noFill/>
                  </a:tcPr>
                </a:tc>
                <a:tc>
                  <a:txBody>
                    <a:bodyPr/>
                    <a:lstStyle/>
                    <a:p>
                      <a:pPr algn="ctr"/>
                      <a:r>
                        <a:rPr lang="en-US" sz="700">
                          <a:solidFill>
                            <a:schemeClr val="tx1">
                              <a:lumMod val="50000"/>
                            </a:schemeClr>
                          </a:solidFill>
                        </a:rPr>
                        <a:t>0%</a:t>
                      </a:r>
                    </a:p>
                  </a:txBody>
                  <a:tcPr marL="0" marR="0" marT="0" marB="0" anchor="ctr">
                    <a:noFill/>
                  </a:tcPr>
                </a:tc>
                <a:tc>
                  <a:txBody>
                    <a:bodyPr/>
                    <a:lstStyle/>
                    <a:p>
                      <a:pPr algn="ctr"/>
                      <a:r>
                        <a:rPr lang="en-US" sz="700">
                          <a:solidFill>
                            <a:schemeClr val="tx1">
                              <a:lumMod val="50000"/>
                            </a:schemeClr>
                          </a:solidFill>
                        </a:rPr>
                        <a:t>0%</a:t>
                      </a:r>
                    </a:p>
                  </a:txBody>
                  <a:tcPr marL="0" marR="0" marT="0" marB="0" anchor="ctr">
                    <a:noFill/>
                  </a:tcPr>
                </a:tc>
                <a:tc>
                  <a:txBody>
                    <a:bodyPr/>
                    <a:lstStyle/>
                    <a:p>
                      <a:pPr algn="ctr"/>
                      <a:r>
                        <a:rPr lang="en-US" sz="700">
                          <a:solidFill>
                            <a:schemeClr val="tx1">
                              <a:lumMod val="50000"/>
                            </a:schemeClr>
                          </a:solidFill>
                        </a:rPr>
                        <a:t>0%</a:t>
                      </a:r>
                    </a:p>
                  </a:txBody>
                  <a:tcPr marL="0" marR="0" marT="0" marB="0" anchor="ctr">
                    <a:noFill/>
                  </a:tcPr>
                </a:tc>
                <a:extLst>
                  <a:ext uri="{0D108BD9-81ED-4DB2-BD59-A6C34878D82A}">
                    <a16:rowId xmlns:a16="http://schemas.microsoft.com/office/drawing/2014/main" val="835883074"/>
                  </a:ext>
                </a:extLst>
              </a:tr>
              <a:tr h="0">
                <a:tc>
                  <a:txBody>
                    <a:bodyPr/>
                    <a:lstStyle/>
                    <a:p>
                      <a:r>
                        <a:rPr lang="en-US" sz="700">
                          <a:solidFill>
                            <a:schemeClr val="tx1">
                              <a:lumMod val="50000"/>
                            </a:schemeClr>
                          </a:solidFill>
                        </a:rPr>
                        <a:t>Channel other</a:t>
                      </a:r>
                    </a:p>
                  </a:txBody>
                  <a:tcPr marL="0" marR="0" marT="0" marB="0" anchor="ctr">
                    <a:noFill/>
                  </a:tcPr>
                </a:tc>
                <a:tc>
                  <a:txBody>
                    <a:bodyPr/>
                    <a:lstStyle/>
                    <a:p>
                      <a:pPr algn="ctr"/>
                      <a:r>
                        <a:rPr lang="en-US" sz="700">
                          <a:solidFill>
                            <a:schemeClr val="tx1">
                              <a:lumMod val="50000"/>
                            </a:schemeClr>
                          </a:solidFill>
                        </a:rPr>
                        <a:t>0%</a:t>
                      </a:r>
                    </a:p>
                  </a:txBody>
                  <a:tcPr marL="0" marR="0" marT="0" marB="0" anchor="ctr">
                    <a:noFill/>
                  </a:tcPr>
                </a:tc>
                <a:tc>
                  <a:txBody>
                    <a:bodyPr/>
                    <a:lstStyle/>
                    <a:p>
                      <a:pPr algn="ctr"/>
                      <a:r>
                        <a:rPr lang="en-US" sz="700">
                          <a:solidFill>
                            <a:schemeClr val="tx1">
                              <a:lumMod val="50000"/>
                            </a:schemeClr>
                          </a:solidFill>
                        </a:rPr>
                        <a:t>10%</a:t>
                      </a:r>
                    </a:p>
                  </a:txBody>
                  <a:tcPr marL="0" marR="0" marT="0" marB="0" anchor="ctr">
                    <a:noFill/>
                  </a:tcPr>
                </a:tc>
                <a:tc>
                  <a:txBody>
                    <a:bodyPr/>
                    <a:lstStyle/>
                    <a:p>
                      <a:pPr algn="ctr"/>
                      <a:r>
                        <a:rPr lang="en-US" sz="700">
                          <a:solidFill>
                            <a:schemeClr val="tx1">
                              <a:lumMod val="50000"/>
                            </a:schemeClr>
                          </a:solidFill>
                        </a:rPr>
                        <a:t>0%</a:t>
                      </a:r>
                    </a:p>
                  </a:txBody>
                  <a:tcPr marL="0" marR="0" marT="0" marB="0" anchor="ctr">
                    <a:noFill/>
                  </a:tcPr>
                </a:tc>
                <a:tc>
                  <a:txBody>
                    <a:bodyPr/>
                    <a:lstStyle/>
                    <a:p>
                      <a:pPr algn="ctr"/>
                      <a:r>
                        <a:rPr lang="en-US" sz="700">
                          <a:solidFill>
                            <a:schemeClr val="tx1">
                              <a:lumMod val="50000"/>
                            </a:schemeClr>
                          </a:solidFill>
                        </a:rPr>
                        <a:t>0%</a:t>
                      </a:r>
                    </a:p>
                  </a:txBody>
                  <a:tcPr marL="0" marR="0" marT="0" marB="0" anchor="ctr">
                    <a:noFill/>
                  </a:tcPr>
                </a:tc>
                <a:tc>
                  <a:txBody>
                    <a:bodyPr/>
                    <a:lstStyle/>
                    <a:p>
                      <a:pPr algn="ctr"/>
                      <a:r>
                        <a:rPr lang="en-US" sz="700">
                          <a:solidFill>
                            <a:schemeClr val="tx1">
                              <a:lumMod val="50000"/>
                            </a:schemeClr>
                          </a:solidFill>
                        </a:rPr>
                        <a:t>0%</a:t>
                      </a:r>
                    </a:p>
                  </a:txBody>
                  <a:tcPr marL="0" marR="0" marT="0" marB="0" anchor="ctr">
                    <a:noFill/>
                  </a:tcPr>
                </a:tc>
                <a:extLst>
                  <a:ext uri="{0D108BD9-81ED-4DB2-BD59-A6C34878D82A}">
                    <a16:rowId xmlns:a16="http://schemas.microsoft.com/office/drawing/2014/main" val="2571696893"/>
                  </a:ext>
                </a:extLst>
              </a:tr>
            </a:tbl>
          </a:graphicData>
        </a:graphic>
      </p:graphicFrame>
      <p:sp>
        <p:nvSpPr>
          <p:cNvPr id="20" name="TextBox 19">
            <a:extLst>
              <a:ext uri="{FF2B5EF4-FFF2-40B4-BE49-F238E27FC236}">
                <a16:creationId xmlns:a16="http://schemas.microsoft.com/office/drawing/2014/main" id="{6D5DA143-5B8C-5F4E-8301-2946A5E110CC}"/>
              </a:ext>
            </a:extLst>
          </p:cNvPr>
          <p:cNvSpPr txBox="1"/>
          <p:nvPr/>
        </p:nvSpPr>
        <p:spPr>
          <a:xfrm>
            <a:off x="563837" y="2110775"/>
            <a:ext cx="712262" cy="315792"/>
          </a:xfrm>
          <a:prstGeom prst="rect">
            <a:avLst/>
          </a:prstGeom>
          <a:noFill/>
        </p:spPr>
        <p:txBody>
          <a:bodyPr wrap="squar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600" b="0" i="0" u="none" strike="noStrike" kern="1200" cap="none" spc="0" normalizeH="0" baseline="0" noProof="0">
                <a:ln>
                  <a:noFill/>
                </a:ln>
                <a:solidFill>
                  <a:srgbClr val="646569"/>
                </a:solidFill>
                <a:effectLst/>
                <a:uLnTx/>
                <a:uFillTx/>
                <a:latin typeface="Calibri"/>
                <a:ea typeface="+mn-ea"/>
                <a:cs typeface="+mn-cs"/>
              </a:rPr>
              <a:t>Target journey determines total touchpoints</a:t>
            </a:r>
          </a:p>
        </p:txBody>
      </p:sp>
      <p:sp>
        <p:nvSpPr>
          <p:cNvPr id="21" name="TextBox 20">
            <a:extLst>
              <a:ext uri="{FF2B5EF4-FFF2-40B4-BE49-F238E27FC236}">
                <a16:creationId xmlns:a16="http://schemas.microsoft.com/office/drawing/2014/main" id="{0779CBBB-8CBC-2F4E-B913-98ACD8013775}"/>
              </a:ext>
            </a:extLst>
          </p:cNvPr>
          <p:cNvSpPr txBox="1"/>
          <p:nvPr/>
        </p:nvSpPr>
        <p:spPr>
          <a:xfrm>
            <a:off x="570341" y="2891335"/>
            <a:ext cx="712262" cy="168059"/>
          </a:xfrm>
          <a:prstGeom prst="rect">
            <a:avLst/>
          </a:prstGeom>
          <a:noFill/>
        </p:spPr>
        <p:txBody>
          <a:bodyPr wrap="squar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600" b="0" i="0" u="none" strike="noStrike" kern="1200" cap="none" spc="0" normalizeH="0" baseline="0" noProof="0">
                <a:ln>
                  <a:noFill/>
                </a:ln>
                <a:solidFill>
                  <a:srgbClr val="646569"/>
                </a:solidFill>
                <a:effectLst/>
                <a:uLnTx/>
                <a:uFillTx/>
                <a:latin typeface="Calibri"/>
                <a:ea typeface="+mn-ea"/>
                <a:cs typeface="+mn-cs"/>
              </a:rPr>
              <a:t>Channel impact</a:t>
            </a:r>
          </a:p>
        </p:txBody>
      </p:sp>
      <p:grpSp>
        <p:nvGrpSpPr>
          <p:cNvPr id="22" name="Group 21">
            <a:extLst>
              <a:ext uri="{FF2B5EF4-FFF2-40B4-BE49-F238E27FC236}">
                <a16:creationId xmlns:a16="http://schemas.microsoft.com/office/drawing/2014/main" id="{A675C26E-1620-6740-85EB-15215C8308E1}"/>
              </a:ext>
            </a:extLst>
          </p:cNvPr>
          <p:cNvGrpSpPr/>
          <p:nvPr/>
        </p:nvGrpSpPr>
        <p:grpSpPr>
          <a:xfrm>
            <a:off x="1850947" y="2301012"/>
            <a:ext cx="2115077" cy="1192997"/>
            <a:chOff x="674906" y="1733197"/>
            <a:chExt cx="3779024" cy="2125702"/>
          </a:xfrm>
        </p:grpSpPr>
        <p:pic>
          <p:nvPicPr>
            <p:cNvPr id="23" name="Picture 22">
              <a:extLst>
                <a:ext uri="{FF2B5EF4-FFF2-40B4-BE49-F238E27FC236}">
                  <a16:creationId xmlns:a16="http://schemas.microsoft.com/office/drawing/2014/main" id="{3F6A5FFA-A81F-404C-B771-0A1DF762F23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4906" y="1733197"/>
              <a:ext cx="3779024" cy="2125702"/>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6EF62219-2A97-0340-BC38-D87D26318FF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74906" y="2471334"/>
              <a:ext cx="3683056" cy="1252468"/>
            </a:xfrm>
            <a:prstGeom prst="rect">
              <a:avLst/>
            </a:prstGeom>
          </p:spPr>
        </p:pic>
        <p:grpSp>
          <p:nvGrpSpPr>
            <p:cNvPr id="25" name="Group 24">
              <a:extLst>
                <a:ext uri="{FF2B5EF4-FFF2-40B4-BE49-F238E27FC236}">
                  <a16:creationId xmlns:a16="http://schemas.microsoft.com/office/drawing/2014/main" id="{704380F9-5500-9E4B-9660-E949F7CE5D80}"/>
                </a:ext>
              </a:extLst>
            </p:cNvPr>
            <p:cNvGrpSpPr/>
            <p:nvPr/>
          </p:nvGrpSpPr>
          <p:grpSpPr>
            <a:xfrm>
              <a:off x="797001" y="2115393"/>
              <a:ext cx="3457999" cy="303687"/>
              <a:chOff x="6850792" y="4368353"/>
              <a:chExt cx="3737753" cy="567806"/>
            </a:xfrm>
            <a:solidFill>
              <a:schemeClr val="bg1">
                <a:lumMod val="85000"/>
              </a:schemeClr>
            </a:solidFill>
          </p:grpSpPr>
          <p:sp>
            <p:nvSpPr>
              <p:cNvPr id="27" name="Rounded Rectangle 26">
                <a:extLst>
                  <a:ext uri="{FF2B5EF4-FFF2-40B4-BE49-F238E27FC236}">
                    <a16:creationId xmlns:a16="http://schemas.microsoft.com/office/drawing/2014/main" id="{7633FDCB-6923-FA40-96D7-D954987EC74B}"/>
                  </a:ext>
                </a:extLst>
              </p:cNvPr>
              <p:cNvSpPr/>
              <p:nvPr/>
            </p:nvSpPr>
            <p:spPr>
              <a:xfrm>
                <a:off x="6850792" y="4368354"/>
                <a:ext cx="854309" cy="549353"/>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srgbClr val="646569"/>
                    </a:solidFill>
                    <a:effectLst/>
                    <a:uLnTx/>
                    <a:uFillTx/>
                    <a:latin typeface="Calibri"/>
                    <a:ea typeface="+mn-ea"/>
                    <a:cs typeface="+mn-cs"/>
                  </a:rPr>
                  <a:t>Traditional model</a:t>
                </a:r>
              </a:p>
            </p:txBody>
          </p:sp>
          <p:sp>
            <p:nvSpPr>
              <p:cNvPr id="28" name="Rounded Rectangle 27">
                <a:extLst>
                  <a:ext uri="{FF2B5EF4-FFF2-40B4-BE49-F238E27FC236}">
                    <a16:creationId xmlns:a16="http://schemas.microsoft.com/office/drawing/2014/main" id="{D10DDAD3-0019-774C-A9D9-A24E3B5D0718}"/>
                  </a:ext>
                </a:extLst>
              </p:cNvPr>
              <p:cNvSpPr/>
              <p:nvPr/>
            </p:nvSpPr>
            <p:spPr>
              <a:xfrm>
                <a:off x="7811940" y="4368353"/>
                <a:ext cx="854309" cy="549353"/>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srgbClr val="FFFFFF"/>
                    </a:solidFill>
                    <a:effectLst/>
                    <a:uLnTx/>
                    <a:uFillTx/>
                    <a:latin typeface="Calibri"/>
                    <a:ea typeface="+mn-ea"/>
                    <a:cs typeface="+mn-cs"/>
                  </a:rPr>
                  <a:t>Hybrid approach</a:t>
                </a:r>
              </a:p>
            </p:txBody>
          </p:sp>
          <p:sp>
            <p:nvSpPr>
              <p:cNvPr id="29" name="Rounded Rectangle 28">
                <a:extLst>
                  <a:ext uri="{FF2B5EF4-FFF2-40B4-BE49-F238E27FC236}">
                    <a16:creationId xmlns:a16="http://schemas.microsoft.com/office/drawing/2014/main" id="{FCB596A5-6F49-264B-9AEA-794E59F8A8A9}"/>
                  </a:ext>
                </a:extLst>
              </p:cNvPr>
              <p:cNvSpPr/>
              <p:nvPr/>
            </p:nvSpPr>
            <p:spPr>
              <a:xfrm>
                <a:off x="8773088" y="4380043"/>
                <a:ext cx="854309" cy="549353"/>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srgbClr val="646569"/>
                    </a:solidFill>
                    <a:effectLst/>
                    <a:uLnTx/>
                    <a:uFillTx/>
                    <a:latin typeface="Calibri"/>
                    <a:ea typeface="+mn-ea"/>
                    <a:cs typeface="+mn-cs"/>
                  </a:rPr>
                  <a:t>Digital Only</a:t>
                </a:r>
              </a:p>
            </p:txBody>
          </p:sp>
          <p:sp>
            <p:nvSpPr>
              <p:cNvPr id="30" name="Rounded Rectangle 29">
                <a:extLst>
                  <a:ext uri="{FF2B5EF4-FFF2-40B4-BE49-F238E27FC236}">
                    <a16:creationId xmlns:a16="http://schemas.microsoft.com/office/drawing/2014/main" id="{DD38B49C-39DD-904B-856C-025C869C4B4B}"/>
                  </a:ext>
                </a:extLst>
              </p:cNvPr>
              <p:cNvSpPr/>
              <p:nvPr/>
            </p:nvSpPr>
            <p:spPr>
              <a:xfrm>
                <a:off x="9734236" y="4386806"/>
                <a:ext cx="854309" cy="549353"/>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srgbClr val="646569"/>
                    </a:solidFill>
                    <a:effectLst/>
                    <a:uLnTx/>
                    <a:uFillTx/>
                    <a:latin typeface="Calibri"/>
                    <a:ea typeface="+mn-ea"/>
                    <a:cs typeface="+mn-cs"/>
                  </a:rPr>
                  <a:t>Automated Engagement</a:t>
                </a:r>
              </a:p>
            </p:txBody>
          </p:sp>
        </p:grpSp>
        <p:sp>
          <p:nvSpPr>
            <p:cNvPr id="26" name="Rectangle 25">
              <a:extLst>
                <a:ext uri="{FF2B5EF4-FFF2-40B4-BE49-F238E27FC236}">
                  <a16:creationId xmlns:a16="http://schemas.microsoft.com/office/drawing/2014/main" id="{3A0DCB1D-38D6-CC40-95DB-347F0330899A}"/>
                </a:ext>
              </a:extLst>
            </p:cNvPr>
            <p:cNvSpPr/>
            <p:nvPr/>
          </p:nvSpPr>
          <p:spPr>
            <a:xfrm>
              <a:off x="743669" y="1856556"/>
              <a:ext cx="3423661" cy="2100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9E16"/>
                  </a:solidFill>
                  <a:effectLst/>
                  <a:uLnTx/>
                  <a:uFillTx/>
                  <a:latin typeface="Calibri"/>
                  <a:ea typeface="+mn-ea"/>
                  <a:cs typeface="+mn-cs"/>
                </a:rPr>
                <a:t>Different GTM Model Options</a:t>
              </a:r>
            </a:p>
          </p:txBody>
        </p:sp>
      </p:grpSp>
    </p:spTree>
    <p:extLst>
      <p:ext uri="{BB962C8B-B14F-4D97-AF65-F5344CB8AC3E}">
        <p14:creationId xmlns:p14="http://schemas.microsoft.com/office/powerpoint/2010/main" val="253783271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016DD58-F957-1346-8429-B6924E6E0577}"/>
              </a:ext>
            </a:extLst>
          </p:cNvPr>
          <p:cNvSpPr/>
          <p:nvPr/>
        </p:nvSpPr>
        <p:spPr>
          <a:xfrm>
            <a:off x="0" y="-9832"/>
            <a:ext cx="12192000" cy="11955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F0343857-B3D4-EE4B-B145-594D864007C9}"/>
              </a:ext>
            </a:extLst>
          </p:cNvPr>
          <p:cNvSpPr>
            <a:spLocks noGrp="1"/>
          </p:cNvSpPr>
          <p:nvPr>
            <p:ph type="body" sz="quarter" idx="13"/>
          </p:nvPr>
        </p:nvSpPr>
        <p:spPr>
          <a:xfrm>
            <a:off x="267046" y="748125"/>
            <a:ext cx="11859625" cy="579664"/>
          </a:xfrm>
        </p:spPr>
        <p:txBody>
          <a:bodyPr/>
          <a:lstStyle/>
          <a:p>
            <a:r>
              <a:rPr lang="en-US" sz="1400">
                <a:solidFill>
                  <a:schemeClr val="bg1"/>
                </a:solidFill>
              </a:rPr>
              <a:t>Create the operational guide that the field force will use during each sales cycle</a:t>
            </a:r>
          </a:p>
        </p:txBody>
      </p:sp>
      <p:sp>
        <p:nvSpPr>
          <p:cNvPr id="3" name="Title 2">
            <a:extLst>
              <a:ext uri="{FF2B5EF4-FFF2-40B4-BE49-F238E27FC236}">
                <a16:creationId xmlns:a16="http://schemas.microsoft.com/office/drawing/2014/main" id="{AD4A8093-39C8-FB4B-A914-1502ADF096F9}"/>
              </a:ext>
            </a:extLst>
          </p:cNvPr>
          <p:cNvSpPr>
            <a:spLocks noGrp="1"/>
          </p:cNvSpPr>
          <p:nvPr>
            <p:ph type="title"/>
          </p:nvPr>
        </p:nvSpPr>
        <p:spPr>
          <a:xfrm>
            <a:off x="243639" y="161292"/>
            <a:ext cx="11639394" cy="579665"/>
          </a:xfrm>
        </p:spPr>
        <p:txBody>
          <a:bodyPr/>
          <a:lstStyle/>
          <a:p>
            <a:r>
              <a:rPr lang="en-US" sz="2800">
                <a:solidFill>
                  <a:schemeClr val="bg1"/>
                </a:solidFill>
              </a:rPr>
              <a:t>1.3. Design the guide for a ‘day / cycle in the life’ of a hybrid rep</a:t>
            </a:r>
          </a:p>
        </p:txBody>
      </p:sp>
      <p:sp>
        <p:nvSpPr>
          <p:cNvPr id="13" name="Rectangle 12">
            <a:extLst>
              <a:ext uri="{FF2B5EF4-FFF2-40B4-BE49-F238E27FC236}">
                <a16:creationId xmlns:a16="http://schemas.microsoft.com/office/drawing/2014/main" id="{15148C33-FF4C-5D47-A4E3-6161AC78335B}"/>
              </a:ext>
            </a:extLst>
          </p:cNvPr>
          <p:cNvSpPr/>
          <p:nvPr/>
        </p:nvSpPr>
        <p:spPr>
          <a:xfrm>
            <a:off x="313421" y="1512850"/>
            <a:ext cx="11429559" cy="478855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610A673C-FC63-3F4C-9716-0668BFC2367D}"/>
              </a:ext>
            </a:extLst>
          </p:cNvPr>
          <p:cNvSpPr/>
          <p:nvPr/>
        </p:nvSpPr>
        <p:spPr>
          <a:xfrm>
            <a:off x="11742980" y="1514029"/>
            <a:ext cx="135599" cy="47873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8" name="Picture 37">
            <a:extLst>
              <a:ext uri="{FF2B5EF4-FFF2-40B4-BE49-F238E27FC236}">
                <a16:creationId xmlns:a16="http://schemas.microsoft.com/office/drawing/2014/main" id="{437ACA7F-D537-9C4C-BFC1-987234F390F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4193" y="3978022"/>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39" name="TextBox 38">
            <a:extLst>
              <a:ext uri="{FF2B5EF4-FFF2-40B4-BE49-F238E27FC236}">
                <a16:creationId xmlns:a16="http://schemas.microsoft.com/office/drawing/2014/main" id="{E9775BDA-1CD2-2B43-83C6-5D482E1E8AAF}"/>
              </a:ext>
            </a:extLst>
          </p:cNvPr>
          <p:cNvSpPr txBox="1"/>
          <p:nvPr/>
        </p:nvSpPr>
        <p:spPr>
          <a:xfrm>
            <a:off x="4359748" y="1542527"/>
            <a:ext cx="7226756" cy="4785926"/>
          </a:xfrm>
          <a:prstGeom prst="rect">
            <a:avLst/>
          </a:prstGeom>
          <a:noFill/>
        </p:spPr>
        <p:txBody>
          <a:bodyPr wrap="square" rtlCol="0">
            <a:spAutoFit/>
          </a:bodyPr>
          <a:lstStyle/>
          <a:p>
            <a:pPr marL="342900" lvl="0" indent="-342900">
              <a:spcBef>
                <a:spcPts val="600"/>
              </a:spcBef>
              <a:spcAft>
                <a:spcPts val="600"/>
              </a:spcAft>
              <a:buClr>
                <a:srgbClr val="FF9E16"/>
              </a:buClr>
              <a:buFont typeface="+mj-lt"/>
              <a:buAutoNum type="arabicPeriod"/>
              <a:defRPr/>
            </a:pPr>
            <a:r>
              <a:rPr lang="en-US" sz="1600">
                <a:latin typeface="Calibri" panose="020F0502020204030204" pitchFamily="34" charset="0"/>
                <a:cs typeface="Calibri" panose="020F0502020204030204" pitchFamily="34" charset="0"/>
              </a:rPr>
              <a:t>Define the cadence and structure of the future sales cycle process</a:t>
            </a:r>
          </a:p>
          <a:p>
            <a:pPr marL="342900" lvl="0" indent="-342900">
              <a:spcBef>
                <a:spcPts val="600"/>
              </a:spcBef>
              <a:spcAft>
                <a:spcPts val="600"/>
              </a:spcAft>
              <a:buClr>
                <a:srgbClr val="FF9E16"/>
              </a:buClr>
              <a:buFont typeface="+mj-lt"/>
              <a:buAutoNum type="arabicPeriod"/>
              <a:defRPr/>
            </a:pPr>
            <a:r>
              <a:rPr lang="en-US" sz="1600">
                <a:latin typeface="Calibri" panose="020F0502020204030204" pitchFamily="34" charset="0"/>
                <a:cs typeface="Calibri" panose="020F0502020204030204" pitchFamily="34" charset="0"/>
              </a:rPr>
              <a:t>For each stage in the sales cycle, define all the necessary activities that a member of the field force will be required to complete</a:t>
            </a:r>
          </a:p>
          <a:p>
            <a:pPr marL="342900" marR="0" lvl="0" indent="-342900" algn="l" defTabSz="914400" rtl="0" eaLnBrk="1" fontAlgn="auto" latinLnBrk="0" hangingPunct="1">
              <a:spcBef>
                <a:spcPts val="600"/>
              </a:spcBef>
              <a:spcAft>
                <a:spcPts val="600"/>
              </a:spcAft>
              <a:buClr>
                <a:srgbClr val="FF9E16"/>
              </a:buClr>
              <a:buSzTx/>
              <a:buFont typeface="+mj-lt"/>
              <a:buAutoNum type="arabicPeriod"/>
              <a:tabLst/>
              <a:defRPr/>
            </a:pPr>
            <a:r>
              <a:rPr lang="en-US" sz="1600">
                <a:latin typeface="Calibri" panose="020F0502020204030204" pitchFamily="34" charset="0"/>
                <a:cs typeface="Calibri" panose="020F0502020204030204" pitchFamily="34" charset="0"/>
              </a:rPr>
              <a:t>Break each activity down into its component parts, for example:</a:t>
            </a:r>
          </a:p>
          <a:p>
            <a:pPr marL="800100" lvl="1" indent="-342900">
              <a:spcBef>
                <a:spcPts val="300"/>
              </a:spcBef>
              <a:spcAft>
                <a:spcPts val="300"/>
              </a:spcAft>
              <a:buClr>
                <a:srgbClr val="FF9E16"/>
              </a:buClr>
              <a:buFont typeface="Arial" panose="020B0604020202020204" pitchFamily="34" charset="0"/>
              <a:buChar char="•"/>
              <a:defRPr/>
            </a:pPr>
            <a:r>
              <a:rPr lang="en-US" sz="1600">
                <a:latin typeface="Calibri" panose="020F0502020204030204" pitchFamily="34" charset="0"/>
                <a:cs typeface="Calibri" panose="020F0502020204030204" pitchFamily="34" charset="0"/>
              </a:rPr>
              <a:t>What are the tasks within each activity that need to be completed?</a:t>
            </a:r>
          </a:p>
          <a:p>
            <a:pPr marL="800100" lvl="1" indent="-342900">
              <a:spcBef>
                <a:spcPts val="300"/>
              </a:spcBef>
              <a:spcAft>
                <a:spcPts val="300"/>
              </a:spcAft>
              <a:buClr>
                <a:srgbClr val="FF9E16"/>
              </a:buClr>
              <a:buFont typeface="Arial" panose="020B0604020202020204" pitchFamily="34" charset="0"/>
              <a:buChar char="•"/>
              <a:defRPr/>
            </a:pPr>
            <a:r>
              <a:rPr lang="en-US" sz="1600">
                <a:latin typeface="Calibri" panose="020F0502020204030204" pitchFamily="34" charset="0"/>
                <a:cs typeface="Calibri" panose="020F0502020204030204" pitchFamily="34" charset="0"/>
              </a:rPr>
              <a:t>What are the inputs (data and systems) required to be used for each task?</a:t>
            </a:r>
          </a:p>
          <a:p>
            <a:pPr marL="800100" lvl="1" indent="-342900">
              <a:spcBef>
                <a:spcPts val="300"/>
              </a:spcBef>
              <a:spcAft>
                <a:spcPts val="300"/>
              </a:spcAft>
              <a:buClr>
                <a:srgbClr val="FF9E16"/>
              </a:buClr>
              <a:buFont typeface="Arial" panose="020B0604020202020204" pitchFamily="34" charset="0"/>
              <a:buChar char="•"/>
              <a:defRPr/>
            </a:pPr>
            <a:r>
              <a:rPr lang="en-US" sz="1600">
                <a:latin typeface="Calibri" panose="020F0502020204030204" pitchFamily="34" charset="0"/>
                <a:cs typeface="Calibri" panose="020F0502020204030204" pitchFamily="34" charset="0"/>
              </a:rPr>
              <a:t>What are the expected outcomes or outputs for each task and where or how this should be recorded?</a:t>
            </a:r>
          </a:p>
          <a:p>
            <a:pPr marL="800100" lvl="1" indent="-342900">
              <a:spcBef>
                <a:spcPts val="300"/>
              </a:spcBef>
              <a:spcAft>
                <a:spcPts val="300"/>
              </a:spcAft>
              <a:buClr>
                <a:srgbClr val="FF9E16"/>
              </a:buClr>
              <a:buFont typeface="Arial" panose="020B0604020202020204" pitchFamily="34" charset="0"/>
              <a:buChar char="•"/>
              <a:defRPr/>
            </a:pPr>
            <a:r>
              <a:rPr lang="en-US" sz="1600">
                <a:latin typeface="Calibri" panose="020F0502020204030204" pitchFamily="34" charset="0"/>
                <a:cs typeface="Calibri" panose="020F0502020204030204" pitchFamily="34" charset="0"/>
              </a:rPr>
              <a:t>Which other stakeholders or functions will need to be engaged during each activity?</a:t>
            </a:r>
          </a:p>
          <a:p>
            <a:pPr marL="800100" lvl="1" indent="-342900">
              <a:spcBef>
                <a:spcPts val="300"/>
              </a:spcBef>
              <a:spcAft>
                <a:spcPts val="300"/>
              </a:spcAft>
              <a:buClr>
                <a:srgbClr val="FF9E16"/>
              </a:buClr>
              <a:buFont typeface="Arial" panose="020B0604020202020204" pitchFamily="34" charset="0"/>
              <a:buChar char="•"/>
              <a:defRPr/>
            </a:pPr>
            <a:r>
              <a:rPr lang="en-US" sz="1600">
                <a:latin typeface="Calibri" panose="020F0502020204030204" pitchFamily="34" charset="0"/>
                <a:cs typeface="Calibri" panose="020F0502020204030204" pitchFamily="34" charset="0"/>
              </a:rPr>
              <a:t>What are some best practice tips and guidance for completing the activity?</a:t>
            </a:r>
          </a:p>
          <a:p>
            <a:pPr marL="342900" indent="-342900">
              <a:spcBef>
                <a:spcPts val="600"/>
              </a:spcBef>
              <a:spcAft>
                <a:spcPts val="600"/>
              </a:spcAft>
              <a:buClr>
                <a:srgbClr val="FF9E16"/>
              </a:buClr>
              <a:buFont typeface="+mj-lt"/>
              <a:buAutoNum type="arabicPeriod"/>
              <a:defRPr/>
            </a:pPr>
            <a:r>
              <a:rPr lang="en-US" sz="1600">
                <a:latin typeface="Calibri" panose="020F0502020204030204" pitchFamily="34" charset="0"/>
                <a:cs typeface="Calibri" panose="020F0502020204030204" pitchFamily="34" charset="0"/>
              </a:rPr>
              <a:t>Capture nuances for each market archetype and opportunities for cross-collaboration with medical </a:t>
            </a:r>
          </a:p>
          <a:p>
            <a:pPr marL="342900" marR="0" lvl="0" indent="-342900" algn="l" defTabSz="914400" rtl="0" eaLnBrk="1" fontAlgn="auto" latinLnBrk="0" hangingPunct="1">
              <a:spcBef>
                <a:spcPts val="600"/>
              </a:spcBef>
              <a:spcAft>
                <a:spcPts val="600"/>
              </a:spcAft>
              <a:buClr>
                <a:srgbClr val="FF9E16"/>
              </a:buClr>
              <a:buSzTx/>
              <a:buFont typeface="+mj-lt"/>
              <a:buAutoNum type="arabicPeriod"/>
              <a:tabLst/>
              <a:defRPr/>
            </a:pPr>
            <a:r>
              <a:rPr lang="en-US" sz="1600">
                <a:latin typeface="Calibri" panose="020F0502020204030204" pitchFamily="34" charset="0"/>
                <a:cs typeface="Calibri" panose="020F0502020204030204" pitchFamily="34" charset="0"/>
              </a:rPr>
              <a:t>Consolidate into a simple, playbook that the field force can use as a reference guide during sales cycle execution</a:t>
            </a:r>
          </a:p>
        </p:txBody>
      </p:sp>
      <p:sp>
        <p:nvSpPr>
          <p:cNvPr id="41" name="Rectangle 40">
            <a:extLst>
              <a:ext uri="{FF2B5EF4-FFF2-40B4-BE49-F238E27FC236}">
                <a16:creationId xmlns:a16="http://schemas.microsoft.com/office/drawing/2014/main" id="{1B4C3C89-9DD5-E64D-A24B-1B6FE75BDAD0}"/>
              </a:ext>
            </a:extLst>
          </p:cNvPr>
          <p:cNvSpPr/>
          <p:nvPr/>
        </p:nvSpPr>
        <p:spPr>
          <a:xfrm>
            <a:off x="661052" y="4026396"/>
            <a:ext cx="3339576" cy="249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9E16"/>
                </a:solidFill>
                <a:effectLst/>
                <a:uLnTx/>
                <a:uFillTx/>
                <a:latin typeface="Calibri"/>
                <a:ea typeface="+mn-ea"/>
                <a:cs typeface="+mn-cs"/>
              </a:rPr>
              <a:t>Field Force Journey Through A Sales Cycle</a:t>
            </a:r>
          </a:p>
        </p:txBody>
      </p:sp>
      <p:grpSp>
        <p:nvGrpSpPr>
          <p:cNvPr id="5" name="Group 4">
            <a:extLst>
              <a:ext uri="{FF2B5EF4-FFF2-40B4-BE49-F238E27FC236}">
                <a16:creationId xmlns:a16="http://schemas.microsoft.com/office/drawing/2014/main" id="{EFF469BE-871D-E34C-981A-36B0275BBFD1}"/>
              </a:ext>
            </a:extLst>
          </p:cNvPr>
          <p:cNvGrpSpPr/>
          <p:nvPr/>
        </p:nvGrpSpPr>
        <p:grpSpPr>
          <a:xfrm>
            <a:off x="756724" y="1750395"/>
            <a:ext cx="3135662" cy="1980760"/>
            <a:chOff x="756724" y="1750395"/>
            <a:chExt cx="3135662" cy="1980760"/>
          </a:xfrm>
        </p:grpSpPr>
        <p:grpSp>
          <p:nvGrpSpPr>
            <p:cNvPr id="16" name="Group 15">
              <a:extLst>
                <a:ext uri="{FF2B5EF4-FFF2-40B4-BE49-F238E27FC236}">
                  <a16:creationId xmlns:a16="http://schemas.microsoft.com/office/drawing/2014/main" id="{0F6AE973-44D3-604A-B08C-101DFB8BAF86}"/>
                </a:ext>
              </a:extLst>
            </p:cNvPr>
            <p:cNvGrpSpPr/>
            <p:nvPr/>
          </p:nvGrpSpPr>
          <p:grpSpPr>
            <a:xfrm>
              <a:off x="937183" y="1938396"/>
              <a:ext cx="2955203" cy="1792759"/>
              <a:chOff x="927926" y="2285198"/>
              <a:chExt cx="4614974" cy="2698602"/>
            </a:xfrm>
          </p:grpSpPr>
          <p:pic>
            <p:nvPicPr>
              <p:cNvPr id="18" name="Picture 17">
                <a:extLst>
                  <a:ext uri="{FF2B5EF4-FFF2-40B4-BE49-F238E27FC236}">
                    <a16:creationId xmlns:a16="http://schemas.microsoft.com/office/drawing/2014/main" id="{10A4A88A-9788-6140-8EFD-63C0E11B45E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3833" y="2486825"/>
                <a:ext cx="4439067" cy="2496975"/>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AFD0B669-8F49-DC47-9A74-ECB5DC2896E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7926" y="2285198"/>
                <a:ext cx="4439067" cy="2496975"/>
              </a:xfrm>
              <a:prstGeom prst="rect">
                <a:avLst/>
              </a:prstGeom>
              <a:ln>
                <a:solidFill>
                  <a:schemeClr val="bg1">
                    <a:lumMod val="75000"/>
                  </a:schemeClr>
                </a:solidFill>
              </a:ln>
              <a:effectLst>
                <a:outerShdw blurRad="50800" dist="38100" dir="2700000" algn="tl" rotWithShape="0">
                  <a:prstClr val="black">
                    <a:alpha val="40000"/>
                  </a:prstClr>
                </a:outerShdw>
              </a:effectLst>
            </p:spPr>
          </p:pic>
        </p:grpSp>
        <p:pic>
          <p:nvPicPr>
            <p:cNvPr id="21" name="Picture 20">
              <a:extLst>
                <a:ext uri="{FF2B5EF4-FFF2-40B4-BE49-F238E27FC236}">
                  <a16:creationId xmlns:a16="http://schemas.microsoft.com/office/drawing/2014/main" id="{7EA907C1-127E-804B-A8C2-3AE8561FB08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6724" y="1750395"/>
              <a:ext cx="2934195" cy="1708842"/>
            </a:xfrm>
            <a:prstGeom prst="rect">
              <a:avLst/>
            </a:prstGeom>
          </p:spPr>
        </p:pic>
      </p:grpSp>
      <p:pic>
        <p:nvPicPr>
          <p:cNvPr id="4" name="Picture 3">
            <a:extLst>
              <a:ext uri="{FF2B5EF4-FFF2-40B4-BE49-F238E27FC236}">
                <a16:creationId xmlns:a16="http://schemas.microsoft.com/office/drawing/2014/main" id="{71E8252D-F7C5-AB4D-8A85-A9521008C39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9294" y="4324663"/>
            <a:ext cx="3231334" cy="1398637"/>
          </a:xfrm>
          <a:prstGeom prst="rect">
            <a:avLst/>
          </a:prstGeom>
        </p:spPr>
      </p:pic>
    </p:spTree>
    <p:extLst>
      <p:ext uri="{BB962C8B-B14F-4D97-AF65-F5344CB8AC3E}">
        <p14:creationId xmlns:p14="http://schemas.microsoft.com/office/powerpoint/2010/main" val="249968172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016DD58-F957-1346-8429-B6924E6E0577}"/>
              </a:ext>
            </a:extLst>
          </p:cNvPr>
          <p:cNvSpPr/>
          <p:nvPr/>
        </p:nvSpPr>
        <p:spPr>
          <a:xfrm>
            <a:off x="0" y="-9832"/>
            <a:ext cx="12192000" cy="11955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F0343857-B3D4-EE4B-B145-594D864007C9}"/>
              </a:ext>
            </a:extLst>
          </p:cNvPr>
          <p:cNvSpPr>
            <a:spLocks noGrp="1"/>
          </p:cNvSpPr>
          <p:nvPr>
            <p:ph type="body" sz="quarter" idx="13"/>
          </p:nvPr>
        </p:nvSpPr>
        <p:spPr>
          <a:xfrm>
            <a:off x="267046" y="748125"/>
            <a:ext cx="11859625" cy="579664"/>
          </a:xfrm>
        </p:spPr>
        <p:txBody>
          <a:bodyPr/>
          <a:lstStyle/>
          <a:p>
            <a:r>
              <a:rPr lang="en-US" sz="1400">
                <a:solidFill>
                  <a:schemeClr val="bg1"/>
                </a:solidFill>
              </a:rPr>
              <a:t>Establish both proactive and reactive governance mechanisms, and assign global and local responsibilities for deployment of the model </a:t>
            </a:r>
          </a:p>
        </p:txBody>
      </p:sp>
      <p:sp>
        <p:nvSpPr>
          <p:cNvPr id="3" name="Title 2">
            <a:extLst>
              <a:ext uri="{FF2B5EF4-FFF2-40B4-BE49-F238E27FC236}">
                <a16:creationId xmlns:a16="http://schemas.microsoft.com/office/drawing/2014/main" id="{AD4A8093-39C8-FB4B-A914-1502ADF096F9}"/>
              </a:ext>
            </a:extLst>
          </p:cNvPr>
          <p:cNvSpPr>
            <a:spLocks noGrp="1"/>
          </p:cNvSpPr>
          <p:nvPr>
            <p:ph type="title"/>
          </p:nvPr>
        </p:nvSpPr>
        <p:spPr>
          <a:xfrm>
            <a:off x="243639" y="161292"/>
            <a:ext cx="11639394" cy="579665"/>
          </a:xfrm>
        </p:spPr>
        <p:txBody>
          <a:bodyPr/>
          <a:lstStyle/>
          <a:p>
            <a:r>
              <a:rPr lang="en-US" sz="2800">
                <a:solidFill>
                  <a:schemeClr val="bg1"/>
                </a:solidFill>
              </a:rPr>
              <a:t>1.4. Define the governance / adoption framework</a:t>
            </a:r>
          </a:p>
        </p:txBody>
      </p:sp>
      <p:sp>
        <p:nvSpPr>
          <p:cNvPr id="13" name="Rectangle 12">
            <a:extLst>
              <a:ext uri="{FF2B5EF4-FFF2-40B4-BE49-F238E27FC236}">
                <a16:creationId xmlns:a16="http://schemas.microsoft.com/office/drawing/2014/main" id="{15148C33-FF4C-5D47-A4E3-6161AC78335B}"/>
              </a:ext>
            </a:extLst>
          </p:cNvPr>
          <p:cNvSpPr/>
          <p:nvPr/>
        </p:nvSpPr>
        <p:spPr>
          <a:xfrm>
            <a:off x="313421" y="1512850"/>
            <a:ext cx="11429559" cy="478855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610A673C-FC63-3F4C-9716-0668BFC2367D}"/>
              </a:ext>
            </a:extLst>
          </p:cNvPr>
          <p:cNvSpPr/>
          <p:nvPr/>
        </p:nvSpPr>
        <p:spPr>
          <a:xfrm>
            <a:off x="11742980" y="1514029"/>
            <a:ext cx="135599" cy="47873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8" name="Picture 37">
            <a:extLst>
              <a:ext uri="{FF2B5EF4-FFF2-40B4-BE49-F238E27FC236}">
                <a16:creationId xmlns:a16="http://schemas.microsoft.com/office/drawing/2014/main" id="{437ACA7F-D537-9C4C-BFC1-987234F390F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9020" y="1738336"/>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41" name="Rectangle 40">
            <a:extLst>
              <a:ext uri="{FF2B5EF4-FFF2-40B4-BE49-F238E27FC236}">
                <a16:creationId xmlns:a16="http://schemas.microsoft.com/office/drawing/2014/main" id="{1B4C3C89-9DD5-E64D-A24B-1B6FE75BDAD0}"/>
              </a:ext>
            </a:extLst>
          </p:cNvPr>
          <p:cNvSpPr/>
          <p:nvPr/>
        </p:nvSpPr>
        <p:spPr>
          <a:xfrm>
            <a:off x="556333" y="1786710"/>
            <a:ext cx="3147596" cy="280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9E16"/>
                </a:solidFill>
                <a:effectLst/>
                <a:uLnTx/>
                <a:uFillTx/>
                <a:latin typeface="Calibri"/>
                <a:ea typeface="+mn-ea"/>
                <a:cs typeface="+mn-cs"/>
              </a:rPr>
              <a:t>Governance Meeting Charter</a:t>
            </a:r>
          </a:p>
        </p:txBody>
      </p:sp>
      <p:sp>
        <p:nvSpPr>
          <p:cNvPr id="12" name="TextBox 11">
            <a:extLst>
              <a:ext uri="{FF2B5EF4-FFF2-40B4-BE49-F238E27FC236}">
                <a16:creationId xmlns:a16="http://schemas.microsoft.com/office/drawing/2014/main" id="{59B26131-9581-BB4D-BA0E-DA8074510913}"/>
              </a:ext>
            </a:extLst>
          </p:cNvPr>
          <p:cNvSpPr txBox="1"/>
          <p:nvPr/>
        </p:nvSpPr>
        <p:spPr>
          <a:xfrm>
            <a:off x="4359765" y="1516734"/>
            <a:ext cx="7090114" cy="4744889"/>
          </a:xfrm>
          <a:prstGeom prst="rect">
            <a:avLst/>
          </a:prstGeom>
          <a:noFill/>
        </p:spPr>
        <p:txBody>
          <a:bodyPr wrap="square" rtlCol="0" anchor="ctr">
            <a:spAutoFit/>
          </a:bodyPr>
          <a:lstStyle/>
          <a:p>
            <a:pPr marL="342900" marR="0" lvl="0" indent="-342900" algn="l" defTabSz="914400" rtl="0" eaLnBrk="1" fontAlgn="auto" latinLnBrk="0" hangingPunct="1">
              <a:spcBef>
                <a:spcPts val="1200"/>
              </a:spcBef>
              <a:spcAft>
                <a:spcPts val="200"/>
              </a:spcAft>
              <a:buClr>
                <a:srgbClr val="FF9E16"/>
              </a:buClr>
              <a:buSzTx/>
              <a:buFont typeface="+mj-lt"/>
              <a:buAutoNum type="arabicPeriod"/>
              <a:tabLst/>
              <a:defRPr/>
            </a:pPr>
            <a:r>
              <a:rPr lang="en-US" sz="1600">
                <a:solidFill>
                  <a:srgbClr val="646569"/>
                </a:solidFill>
                <a:latin typeface="Calibri" panose="020F0502020204030204" pitchFamily="34" charset="0"/>
                <a:cs typeface="Calibri" panose="020F0502020204030204" pitchFamily="34" charset="0"/>
              </a:rPr>
              <a:t>Agree on the global committee that is accountable for the oversight of deployment and adoption of the blueprints, and define roles and responsibilities</a:t>
            </a:r>
          </a:p>
          <a:p>
            <a:pPr marL="342900" marR="0" lvl="0" indent="-342900" algn="l" defTabSz="914400" rtl="0" eaLnBrk="1" fontAlgn="auto" latinLnBrk="0" hangingPunct="1">
              <a:spcBef>
                <a:spcPts val="1200"/>
              </a:spcBef>
              <a:spcAft>
                <a:spcPts val="200"/>
              </a:spcAft>
              <a:buClr>
                <a:srgbClr val="FF9E16"/>
              </a:buClr>
              <a:buSzTx/>
              <a:buFont typeface="+mj-lt"/>
              <a:buAutoNum type="arabicPeriod"/>
              <a:tabLst/>
              <a:defRPr/>
            </a:pPr>
            <a:r>
              <a:rPr lang="en-US" sz="1600">
                <a:solidFill>
                  <a:srgbClr val="646569"/>
                </a:solidFill>
                <a:latin typeface="Calibri" panose="020F0502020204030204" pitchFamily="34" charset="0"/>
                <a:cs typeface="Calibri" panose="020F0502020204030204" pitchFamily="34" charset="0"/>
              </a:rPr>
              <a:t>Define the mechanisms to be used to facilitate rapid identification of warning signs and signals in markets, to flag where support may be needed</a:t>
            </a:r>
          </a:p>
          <a:p>
            <a:pPr marL="342900" marR="0" lvl="0" indent="-342900" algn="l" defTabSz="914400" rtl="0" eaLnBrk="1" fontAlgn="auto" latinLnBrk="0" hangingPunct="1">
              <a:spcBef>
                <a:spcPts val="1200"/>
              </a:spcBef>
              <a:spcAft>
                <a:spcPts val="200"/>
              </a:spcAft>
              <a:buClr>
                <a:srgbClr val="FF9E16"/>
              </a:buClr>
              <a:buSzTx/>
              <a:buFont typeface="+mj-lt"/>
              <a:buAutoNum type="arabicPeriod"/>
              <a:tabLst/>
              <a:defRPr/>
            </a:pPr>
            <a:r>
              <a:rPr lang="en-US" sz="1600">
                <a:solidFill>
                  <a:srgbClr val="646569"/>
                </a:solidFill>
                <a:latin typeface="Calibri" panose="020F0502020204030204" pitchFamily="34" charset="0"/>
                <a:cs typeface="Calibri" panose="020F0502020204030204" pitchFamily="34" charset="0"/>
              </a:rPr>
              <a:t>Define the necessary standing meetings (local and global) required to review progress and success at regular update points</a:t>
            </a:r>
          </a:p>
          <a:p>
            <a:pPr marL="342900" lvl="0" indent="-342900">
              <a:spcBef>
                <a:spcPts val="1200"/>
              </a:spcBef>
              <a:spcAft>
                <a:spcPts val="200"/>
              </a:spcAft>
              <a:buClr>
                <a:srgbClr val="FF9E16"/>
              </a:buClr>
              <a:buFont typeface="+mj-lt"/>
              <a:buAutoNum type="arabicPeriod"/>
              <a:defRPr/>
            </a:pPr>
            <a:r>
              <a:rPr lang="en-US" sz="1600">
                <a:solidFill>
                  <a:srgbClr val="646569"/>
                </a:solidFill>
                <a:latin typeface="Calibri" panose="020F0502020204030204" pitchFamily="34" charset="0"/>
                <a:cs typeface="Calibri" panose="020F0502020204030204" pitchFamily="34" charset="0"/>
              </a:rPr>
              <a:t>Define the KPIs that will best demonstrate:</a:t>
            </a:r>
          </a:p>
          <a:p>
            <a:pPr marL="800100" lvl="1" indent="-342900">
              <a:spcBef>
                <a:spcPts val="600"/>
              </a:spcBef>
              <a:spcAft>
                <a:spcPts val="200"/>
              </a:spcAft>
              <a:buClr>
                <a:srgbClr val="FF9E16"/>
              </a:buClr>
              <a:buFont typeface="Arial" panose="020B0604020202020204" pitchFamily="34" charset="0"/>
              <a:buChar char="•"/>
              <a:defRPr/>
            </a:pPr>
            <a:r>
              <a:rPr lang="en-US" sz="1600">
                <a:solidFill>
                  <a:srgbClr val="646569"/>
                </a:solidFill>
                <a:latin typeface="Calibri" panose="020F0502020204030204" pitchFamily="34" charset="0"/>
                <a:cs typeface="Calibri" panose="020F0502020204030204" pitchFamily="34" charset="0"/>
              </a:rPr>
              <a:t>Adoption of the Customer Engagement Model</a:t>
            </a:r>
          </a:p>
          <a:p>
            <a:pPr marL="800100" lvl="1" indent="-342900">
              <a:spcBef>
                <a:spcPts val="600"/>
              </a:spcBef>
              <a:spcAft>
                <a:spcPts val="200"/>
              </a:spcAft>
              <a:buClr>
                <a:srgbClr val="FF9E16"/>
              </a:buClr>
              <a:buFont typeface="Arial" panose="020B0604020202020204" pitchFamily="34" charset="0"/>
              <a:buChar char="•"/>
              <a:defRPr/>
            </a:pPr>
            <a:r>
              <a:rPr lang="en-US" sz="1600">
                <a:solidFill>
                  <a:srgbClr val="646569"/>
                </a:solidFill>
                <a:latin typeface="Calibri" panose="020F0502020204030204" pitchFamily="34" charset="0"/>
                <a:cs typeface="Calibri" panose="020F0502020204030204" pitchFamily="34" charset="0"/>
              </a:rPr>
              <a:t>Customer impact and HCP engagement</a:t>
            </a:r>
          </a:p>
          <a:p>
            <a:pPr marL="800100" lvl="1" indent="-342900">
              <a:spcBef>
                <a:spcPts val="600"/>
              </a:spcBef>
              <a:spcAft>
                <a:spcPts val="200"/>
              </a:spcAft>
              <a:buClr>
                <a:srgbClr val="FF9E16"/>
              </a:buClr>
              <a:buFont typeface="Arial" panose="020B0604020202020204" pitchFamily="34" charset="0"/>
              <a:buChar char="•"/>
              <a:defRPr/>
            </a:pPr>
            <a:r>
              <a:rPr lang="en-US" sz="1600">
                <a:solidFill>
                  <a:srgbClr val="646569"/>
                </a:solidFill>
                <a:latin typeface="Calibri" panose="020F0502020204030204" pitchFamily="34" charset="0"/>
                <a:cs typeface="Calibri" panose="020F0502020204030204" pitchFamily="34" charset="0"/>
              </a:rPr>
              <a:t>Operational efficiency</a:t>
            </a:r>
          </a:p>
          <a:p>
            <a:pPr marL="342900" indent="-342900">
              <a:spcBef>
                <a:spcPts val="1200"/>
              </a:spcBef>
              <a:spcAft>
                <a:spcPts val="200"/>
              </a:spcAft>
              <a:buClr>
                <a:srgbClr val="FF9E16"/>
              </a:buClr>
              <a:buFont typeface="+mj-lt"/>
              <a:buAutoNum type="arabicPeriod"/>
              <a:defRPr/>
            </a:pPr>
            <a:r>
              <a:rPr lang="en-US" sz="1600">
                <a:solidFill>
                  <a:srgbClr val="646569"/>
                </a:solidFill>
                <a:latin typeface="Calibri" panose="020F0502020204030204" pitchFamily="34" charset="0"/>
                <a:cs typeface="Calibri" panose="020F0502020204030204" pitchFamily="34" charset="0"/>
              </a:rPr>
              <a:t>Define and establish the data flow required to enable KPI measurement</a:t>
            </a:r>
          </a:p>
          <a:p>
            <a:pPr marL="342900" marR="0" lvl="0" indent="-342900" algn="l" defTabSz="914400" rtl="0" eaLnBrk="1" fontAlgn="auto" latinLnBrk="0" hangingPunct="1">
              <a:spcBef>
                <a:spcPts val="1200"/>
              </a:spcBef>
              <a:spcAft>
                <a:spcPts val="200"/>
              </a:spcAft>
              <a:buClr>
                <a:srgbClr val="FF9E16"/>
              </a:buClr>
              <a:buSzTx/>
              <a:buFont typeface="+mj-lt"/>
              <a:buAutoNum type="arabicPeriod"/>
              <a:tabLst/>
              <a:defRPr/>
            </a:pPr>
            <a:r>
              <a:rPr lang="en-US" sz="1600">
                <a:solidFill>
                  <a:srgbClr val="646569"/>
                </a:solidFill>
                <a:latin typeface="Calibri" panose="020F0502020204030204" pitchFamily="34" charset="0"/>
                <a:cs typeface="Calibri" panose="020F0502020204030204" pitchFamily="34" charset="0"/>
              </a:rPr>
              <a:t>Define the escalation procedure to be followed for any high impact risk resolution</a:t>
            </a:r>
          </a:p>
        </p:txBody>
      </p:sp>
      <p:pic>
        <p:nvPicPr>
          <p:cNvPr id="5" name="Picture 4">
            <a:extLst>
              <a:ext uri="{FF2B5EF4-FFF2-40B4-BE49-F238E27FC236}">
                <a16:creationId xmlns:a16="http://schemas.microsoft.com/office/drawing/2014/main" id="{FA28D85C-9452-C34E-9653-90A9BF573A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6475" y="2085746"/>
            <a:ext cx="3400354" cy="1581903"/>
          </a:xfrm>
          <a:prstGeom prst="rect">
            <a:avLst/>
          </a:prstGeom>
        </p:spPr>
      </p:pic>
      <p:pic>
        <p:nvPicPr>
          <p:cNvPr id="16" name="Picture 15">
            <a:extLst>
              <a:ext uri="{FF2B5EF4-FFF2-40B4-BE49-F238E27FC236}">
                <a16:creationId xmlns:a16="http://schemas.microsoft.com/office/drawing/2014/main" id="{D1F63D17-284E-F341-A42F-86C9439035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9020" y="3997860"/>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7" name="Rectangle 16">
            <a:extLst>
              <a:ext uri="{FF2B5EF4-FFF2-40B4-BE49-F238E27FC236}">
                <a16:creationId xmlns:a16="http://schemas.microsoft.com/office/drawing/2014/main" id="{1FBF0DF2-22FA-AE4C-AE94-99D11E31EEEF}"/>
              </a:ext>
            </a:extLst>
          </p:cNvPr>
          <p:cNvSpPr/>
          <p:nvPr/>
        </p:nvSpPr>
        <p:spPr>
          <a:xfrm>
            <a:off x="521628" y="4024366"/>
            <a:ext cx="3508166" cy="208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9E16"/>
                </a:solidFill>
                <a:effectLst/>
                <a:uLnTx/>
                <a:uFillTx/>
                <a:latin typeface="Calibri"/>
                <a:ea typeface="+mn-ea"/>
                <a:cs typeface="+mn-cs"/>
              </a:rPr>
              <a:t>Customer Engagement Model Measurement Framework</a:t>
            </a:r>
          </a:p>
        </p:txBody>
      </p:sp>
      <p:pic>
        <p:nvPicPr>
          <p:cNvPr id="18" name="Picture 17">
            <a:extLst>
              <a:ext uri="{FF2B5EF4-FFF2-40B4-BE49-F238E27FC236}">
                <a16:creationId xmlns:a16="http://schemas.microsoft.com/office/drawing/2014/main" id="{F4077982-91AE-B84A-B913-E224134565B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68569" y="4350864"/>
            <a:ext cx="1661499" cy="1537146"/>
          </a:xfrm>
          <a:prstGeom prst="rect">
            <a:avLst/>
          </a:prstGeom>
        </p:spPr>
      </p:pic>
      <p:grpSp>
        <p:nvGrpSpPr>
          <p:cNvPr id="19" name="Group 18">
            <a:extLst>
              <a:ext uri="{FF2B5EF4-FFF2-40B4-BE49-F238E27FC236}">
                <a16:creationId xmlns:a16="http://schemas.microsoft.com/office/drawing/2014/main" id="{F48CB09B-7AE1-394D-9B5A-3D37D71CDEF6}"/>
              </a:ext>
            </a:extLst>
          </p:cNvPr>
          <p:cNvGrpSpPr/>
          <p:nvPr/>
        </p:nvGrpSpPr>
        <p:grpSpPr>
          <a:xfrm>
            <a:off x="658108" y="4500119"/>
            <a:ext cx="433156" cy="434078"/>
            <a:chOff x="548297" y="1409928"/>
            <a:chExt cx="808405" cy="810126"/>
          </a:xfrm>
        </p:grpSpPr>
        <p:sp>
          <p:nvSpPr>
            <p:cNvPr id="20" name="Oval 19">
              <a:extLst>
                <a:ext uri="{FF2B5EF4-FFF2-40B4-BE49-F238E27FC236}">
                  <a16:creationId xmlns:a16="http://schemas.microsoft.com/office/drawing/2014/main" id="{9A5E4801-327E-6246-9CE4-17161FD940C9}"/>
                </a:ext>
              </a:extLst>
            </p:cNvPr>
            <p:cNvSpPr/>
            <p:nvPr/>
          </p:nvSpPr>
          <p:spPr>
            <a:xfrm>
              <a:off x="548297" y="1409928"/>
              <a:ext cx="808405" cy="810126"/>
            </a:xfrm>
            <a:prstGeom prst="ellipse">
              <a:avLst/>
            </a:prstGeom>
            <a:solidFill>
              <a:schemeClr val="bg1">
                <a:lumMod val="95000"/>
              </a:schemeClr>
            </a:solidFill>
            <a:ln w="12700" cap="flat" cmpd="sng" algn="ctr">
              <a:noFill/>
              <a:prstDash val="solid"/>
              <a:miter lim="800000"/>
            </a:ln>
            <a:effectLst/>
          </p:spPr>
          <p:txBody>
            <a:bodyPr rtlCol="0" anchor="ctr">
              <a:prstTxWarp prst="textArchDown">
                <a:avLst>
                  <a:gd name="adj" fmla="val 20917604"/>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21" name="Graphic 20" descr="Handshake">
              <a:extLst>
                <a:ext uri="{FF2B5EF4-FFF2-40B4-BE49-F238E27FC236}">
                  <a16:creationId xmlns:a16="http://schemas.microsoft.com/office/drawing/2014/main" id="{5BD53C03-68E3-604F-9644-F7556520647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05312" y="1500638"/>
              <a:ext cx="494373" cy="494373"/>
            </a:xfrm>
            <a:prstGeom prst="rect">
              <a:avLst/>
            </a:prstGeom>
          </p:spPr>
        </p:pic>
        <p:sp>
          <p:nvSpPr>
            <p:cNvPr id="22" name="TextBox 21">
              <a:extLst>
                <a:ext uri="{FF2B5EF4-FFF2-40B4-BE49-F238E27FC236}">
                  <a16:creationId xmlns:a16="http://schemas.microsoft.com/office/drawing/2014/main" id="{C3760ED9-1EF9-0F49-91E7-BA123782BDFC}"/>
                </a:ext>
              </a:extLst>
            </p:cNvPr>
            <p:cNvSpPr txBox="1"/>
            <p:nvPr/>
          </p:nvSpPr>
          <p:spPr>
            <a:xfrm>
              <a:off x="559388" y="1894427"/>
              <a:ext cx="757320" cy="290076"/>
            </a:xfrm>
            <a:prstGeom prst="rect">
              <a:avLst/>
            </a:prstGeom>
            <a:noFill/>
          </p:spPr>
          <p:txBody>
            <a:bodyPr wrap="square" rtlCol="0">
              <a:spAutoFit/>
            </a:bodyPr>
            <a:lstStyle/>
            <a:p>
              <a:pPr marL="0" marR="0" lvl="0" indent="0" algn="ctr" defTabSz="685800" rtl="0" eaLnBrk="1" fontAlgn="auto" latinLnBrk="0" hangingPunct="1">
                <a:lnSpc>
                  <a:spcPct val="80000"/>
                </a:lnSpc>
                <a:spcBef>
                  <a:spcPts val="900"/>
                </a:spcBef>
                <a:spcAft>
                  <a:spcPts val="0"/>
                </a:spcAft>
                <a:buClr>
                  <a:srgbClr val="830051"/>
                </a:buClr>
                <a:buSzTx/>
                <a:buFontTx/>
                <a:buNone/>
                <a:tabLst/>
                <a:defRPr/>
              </a:pPr>
              <a:r>
                <a:rPr kumimoji="0" lang="en-GB" sz="500" b="0" i="0" u="none" strike="noStrike" kern="1200" cap="none" spc="0" normalizeH="0" baseline="0" noProof="0">
                  <a:ln>
                    <a:noFill/>
                  </a:ln>
                  <a:solidFill>
                    <a:srgbClr val="003865"/>
                  </a:solidFill>
                  <a:effectLst/>
                  <a:uLnTx/>
                  <a:uFillTx/>
                  <a:latin typeface="Calibri" panose="020F0502020204030204" pitchFamily="34" charset="0"/>
                  <a:ea typeface="+mn-ea"/>
                  <a:cs typeface="Calibri" panose="020F0502020204030204" pitchFamily="34" charset="0"/>
                </a:rPr>
                <a:t>Call/F2F</a:t>
              </a:r>
              <a:endParaRPr kumimoji="0" lang="en-GB" sz="600" b="0" i="0" u="none" strike="noStrike" kern="1200" cap="none" spc="0" normalizeH="0" baseline="0" noProof="0">
                <a:ln>
                  <a:noFill/>
                </a:ln>
                <a:solidFill>
                  <a:srgbClr val="003865"/>
                </a:solidFill>
                <a:effectLst/>
                <a:uLnTx/>
                <a:uFillTx/>
                <a:latin typeface="Calibri" panose="020F0502020204030204" pitchFamily="34" charset="0"/>
                <a:ea typeface="+mn-ea"/>
                <a:cs typeface="Calibri" panose="020F0502020204030204" pitchFamily="34" charset="0"/>
              </a:endParaRPr>
            </a:p>
          </p:txBody>
        </p:sp>
      </p:grpSp>
      <p:grpSp>
        <p:nvGrpSpPr>
          <p:cNvPr id="23" name="Group 22">
            <a:extLst>
              <a:ext uri="{FF2B5EF4-FFF2-40B4-BE49-F238E27FC236}">
                <a16:creationId xmlns:a16="http://schemas.microsoft.com/office/drawing/2014/main" id="{CB8D2D58-C634-4141-9C62-E94A0F850A22}"/>
              </a:ext>
            </a:extLst>
          </p:cNvPr>
          <p:cNvGrpSpPr/>
          <p:nvPr/>
        </p:nvGrpSpPr>
        <p:grpSpPr>
          <a:xfrm>
            <a:off x="1775114" y="4500119"/>
            <a:ext cx="433156" cy="434078"/>
            <a:chOff x="2632983" y="1409928"/>
            <a:chExt cx="808405" cy="810126"/>
          </a:xfrm>
        </p:grpSpPr>
        <p:sp>
          <p:nvSpPr>
            <p:cNvPr id="24" name="Oval 23">
              <a:extLst>
                <a:ext uri="{FF2B5EF4-FFF2-40B4-BE49-F238E27FC236}">
                  <a16:creationId xmlns:a16="http://schemas.microsoft.com/office/drawing/2014/main" id="{51DBD3E6-20EA-FE4D-B633-839AEA22A176}"/>
                </a:ext>
              </a:extLst>
            </p:cNvPr>
            <p:cNvSpPr/>
            <p:nvPr/>
          </p:nvSpPr>
          <p:spPr>
            <a:xfrm>
              <a:off x="2632983" y="1409928"/>
              <a:ext cx="808405" cy="810126"/>
            </a:xfrm>
            <a:prstGeom prst="ellipse">
              <a:avLst/>
            </a:prstGeom>
            <a:solidFill>
              <a:schemeClr val="bg1">
                <a:lumMod val="95000"/>
              </a:schemeClr>
            </a:solidFill>
            <a:ln w="12700" cap="flat" cmpd="sng" algn="ctr">
              <a:noFill/>
              <a:prstDash val="solid"/>
              <a:miter lim="800000"/>
            </a:ln>
            <a:effectLst/>
          </p:spPr>
          <p:txBody>
            <a:bodyPr rtlCol="0" anchor="ctr">
              <a:prstTxWarp prst="textArchDown">
                <a:avLst>
                  <a:gd name="adj" fmla="val 20917604"/>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5" name="TextBox 24">
              <a:extLst>
                <a:ext uri="{FF2B5EF4-FFF2-40B4-BE49-F238E27FC236}">
                  <a16:creationId xmlns:a16="http://schemas.microsoft.com/office/drawing/2014/main" id="{11FC3F96-4509-B54C-A4F3-7B540A5D90D4}"/>
                </a:ext>
              </a:extLst>
            </p:cNvPr>
            <p:cNvSpPr txBox="1"/>
            <p:nvPr/>
          </p:nvSpPr>
          <p:spPr>
            <a:xfrm>
              <a:off x="2651560" y="1897846"/>
              <a:ext cx="739850" cy="290076"/>
            </a:xfrm>
            <a:prstGeom prst="rect">
              <a:avLst/>
            </a:prstGeom>
            <a:noFill/>
          </p:spPr>
          <p:txBody>
            <a:bodyPr wrap="square" rtlCol="0">
              <a:spAutoFit/>
            </a:bodyPr>
            <a:lstStyle/>
            <a:p>
              <a:pPr marL="0" marR="0" lvl="0" indent="0" algn="ctr" defTabSz="685800" rtl="0" eaLnBrk="1" fontAlgn="auto" latinLnBrk="0" hangingPunct="1">
                <a:lnSpc>
                  <a:spcPct val="80000"/>
                </a:lnSpc>
                <a:spcBef>
                  <a:spcPts val="900"/>
                </a:spcBef>
                <a:spcAft>
                  <a:spcPts val="0"/>
                </a:spcAft>
                <a:buClr>
                  <a:srgbClr val="830051"/>
                </a:buClr>
                <a:buSzTx/>
                <a:buFontTx/>
                <a:buNone/>
                <a:tabLst/>
                <a:defRPr/>
              </a:pPr>
              <a:r>
                <a:rPr kumimoji="0" lang="en-GB" sz="500" b="0" i="0" u="none" strike="noStrike" kern="1200" cap="none" spc="0" normalizeH="0" baseline="0" noProof="0">
                  <a:ln>
                    <a:noFill/>
                  </a:ln>
                  <a:solidFill>
                    <a:srgbClr val="003865"/>
                  </a:solidFill>
                  <a:effectLst/>
                  <a:uLnTx/>
                  <a:uFillTx/>
                  <a:latin typeface="Calibri" panose="020F0502020204030204" pitchFamily="34" charset="0"/>
                  <a:ea typeface="+mn-ea"/>
                  <a:cs typeface="Calibri" panose="020F0502020204030204" pitchFamily="34" charset="0"/>
                </a:rPr>
                <a:t>Remote</a:t>
              </a:r>
            </a:p>
          </p:txBody>
        </p:sp>
        <p:pic>
          <p:nvPicPr>
            <p:cNvPr id="26" name="Graphic 25" descr="Presentation with media">
              <a:extLst>
                <a:ext uri="{FF2B5EF4-FFF2-40B4-BE49-F238E27FC236}">
                  <a16:creationId xmlns:a16="http://schemas.microsoft.com/office/drawing/2014/main" id="{7B9BB0B2-7133-A740-91BC-CF8057E2BE3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853492" y="1564748"/>
              <a:ext cx="371430" cy="371429"/>
            </a:xfrm>
            <a:prstGeom prst="rect">
              <a:avLst/>
            </a:prstGeom>
          </p:spPr>
        </p:pic>
      </p:grpSp>
      <p:grpSp>
        <p:nvGrpSpPr>
          <p:cNvPr id="27" name="Group 26">
            <a:extLst>
              <a:ext uri="{FF2B5EF4-FFF2-40B4-BE49-F238E27FC236}">
                <a16:creationId xmlns:a16="http://schemas.microsoft.com/office/drawing/2014/main" id="{D03BC443-A14F-8C41-B5F8-6B26577883F4}"/>
              </a:ext>
            </a:extLst>
          </p:cNvPr>
          <p:cNvGrpSpPr/>
          <p:nvPr/>
        </p:nvGrpSpPr>
        <p:grpSpPr>
          <a:xfrm>
            <a:off x="1216611" y="4502461"/>
            <a:ext cx="433156" cy="434078"/>
            <a:chOff x="1590640" y="1414295"/>
            <a:chExt cx="808405" cy="810126"/>
          </a:xfrm>
        </p:grpSpPr>
        <p:sp>
          <p:nvSpPr>
            <p:cNvPr id="28" name="Oval 27">
              <a:extLst>
                <a:ext uri="{FF2B5EF4-FFF2-40B4-BE49-F238E27FC236}">
                  <a16:creationId xmlns:a16="http://schemas.microsoft.com/office/drawing/2014/main" id="{F418A101-8FFC-F049-B005-D1BD9A3D317A}"/>
                </a:ext>
              </a:extLst>
            </p:cNvPr>
            <p:cNvSpPr/>
            <p:nvPr/>
          </p:nvSpPr>
          <p:spPr>
            <a:xfrm>
              <a:off x="1590640" y="1414295"/>
              <a:ext cx="808405" cy="810126"/>
            </a:xfrm>
            <a:prstGeom prst="ellipse">
              <a:avLst/>
            </a:prstGeom>
            <a:solidFill>
              <a:schemeClr val="bg1">
                <a:lumMod val="95000"/>
              </a:schemeClr>
            </a:solidFill>
            <a:ln w="12700" cap="flat" cmpd="sng" algn="ctr">
              <a:noFill/>
              <a:prstDash val="solid"/>
              <a:miter lim="800000"/>
            </a:ln>
            <a:effectLst/>
          </p:spPr>
          <p:txBody>
            <a:bodyPr rtlCol="0" anchor="ctr">
              <a:prstTxWarp prst="textArchDown">
                <a:avLst>
                  <a:gd name="adj" fmla="val 20917604"/>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9" name="TextBox 28">
              <a:extLst>
                <a:ext uri="{FF2B5EF4-FFF2-40B4-BE49-F238E27FC236}">
                  <a16:creationId xmlns:a16="http://schemas.microsoft.com/office/drawing/2014/main" id="{3575DC3A-789D-5B4C-9E79-8522436F2F38}"/>
                </a:ext>
              </a:extLst>
            </p:cNvPr>
            <p:cNvSpPr txBox="1"/>
            <p:nvPr/>
          </p:nvSpPr>
          <p:spPr>
            <a:xfrm>
              <a:off x="1659195" y="1905451"/>
              <a:ext cx="671293" cy="313651"/>
            </a:xfrm>
            <a:prstGeom prst="rect">
              <a:avLst/>
            </a:prstGeom>
            <a:noFill/>
          </p:spPr>
          <p:txBody>
            <a:bodyPr wrap="square" rtlCol="0">
              <a:spAutoFit/>
            </a:bodyPr>
            <a:lstStyle/>
            <a:p>
              <a:pPr marL="0" marR="0" lvl="0" indent="0" algn="ctr" defTabSz="685800" rtl="0" eaLnBrk="1" fontAlgn="auto" latinLnBrk="0" hangingPunct="1">
                <a:lnSpc>
                  <a:spcPct val="80000"/>
                </a:lnSpc>
                <a:spcBef>
                  <a:spcPts val="900"/>
                </a:spcBef>
                <a:spcAft>
                  <a:spcPts val="0"/>
                </a:spcAft>
                <a:buClr>
                  <a:srgbClr val="830051"/>
                </a:buClr>
                <a:buSzTx/>
                <a:buFontTx/>
                <a:buNone/>
                <a:tabLst/>
                <a:defRPr/>
              </a:pPr>
              <a:r>
                <a:rPr kumimoji="0" lang="en-GB" sz="500" b="0" i="0" u="none" strike="noStrike" kern="1200" cap="none" spc="0" normalizeH="0" baseline="0" noProof="0">
                  <a:ln>
                    <a:noFill/>
                  </a:ln>
                  <a:solidFill>
                    <a:srgbClr val="003865"/>
                  </a:solidFill>
                  <a:effectLst/>
                  <a:uLnTx/>
                  <a:uFillTx/>
                  <a:latin typeface="Calibri" panose="020F0502020204030204" pitchFamily="34" charset="0"/>
                  <a:ea typeface="+mn-ea"/>
                  <a:cs typeface="Calibri" panose="020F0502020204030204" pitchFamily="34" charset="0"/>
                </a:rPr>
                <a:t>Email</a:t>
              </a:r>
              <a:endParaRPr kumimoji="0" lang="en-GB" sz="600" b="0" i="0" u="none" strike="noStrike" kern="1200" cap="none" spc="0" normalizeH="0" baseline="0" noProof="0">
                <a:ln>
                  <a:noFill/>
                </a:ln>
                <a:solidFill>
                  <a:srgbClr val="003865"/>
                </a:solidFill>
                <a:effectLst/>
                <a:uLnTx/>
                <a:uFillTx/>
                <a:latin typeface="Calibri" panose="020F0502020204030204" pitchFamily="34" charset="0"/>
                <a:ea typeface="+mn-ea"/>
                <a:cs typeface="Calibri" panose="020F0502020204030204" pitchFamily="34" charset="0"/>
              </a:endParaRPr>
            </a:p>
          </p:txBody>
        </p:sp>
        <p:pic>
          <p:nvPicPr>
            <p:cNvPr id="30" name="Graphic 29" descr="Email">
              <a:extLst>
                <a:ext uri="{FF2B5EF4-FFF2-40B4-BE49-F238E27FC236}">
                  <a16:creationId xmlns:a16="http://schemas.microsoft.com/office/drawing/2014/main" id="{6163B3B3-DF8A-8042-A737-EE29BC62845C}"/>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821627" y="1522995"/>
              <a:ext cx="371429" cy="371429"/>
            </a:xfrm>
            <a:prstGeom prst="rect">
              <a:avLst/>
            </a:prstGeom>
          </p:spPr>
        </p:pic>
      </p:grpSp>
      <p:sp>
        <p:nvSpPr>
          <p:cNvPr id="31" name="Google Shape;200;p3">
            <a:extLst>
              <a:ext uri="{FF2B5EF4-FFF2-40B4-BE49-F238E27FC236}">
                <a16:creationId xmlns:a16="http://schemas.microsoft.com/office/drawing/2014/main" id="{0CA0DB4E-A381-7D4C-978A-D00560CC2227}"/>
              </a:ext>
            </a:extLst>
          </p:cNvPr>
          <p:cNvSpPr txBox="1"/>
          <p:nvPr/>
        </p:nvSpPr>
        <p:spPr>
          <a:xfrm>
            <a:off x="613443" y="4325124"/>
            <a:ext cx="1036414" cy="155397"/>
          </a:xfrm>
          <a:prstGeom prst="rect">
            <a:avLst/>
          </a:prstGeom>
          <a:noFill/>
          <a:ln>
            <a:noFill/>
          </a:ln>
        </p:spPr>
        <p:txBody>
          <a:bodyPr spcFirstLastPara="1" wrap="square" lIns="68569" tIns="34275" rIns="68569" bIns="34275" anchor="t" anchorCtr="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9E16"/>
                </a:solidFill>
                <a:effectLst/>
                <a:uLnTx/>
                <a:uFillTx/>
                <a:latin typeface="Calibri"/>
                <a:ea typeface="Calibri"/>
                <a:cs typeface="Calibri"/>
                <a:sym typeface="Calibri"/>
              </a:rPr>
              <a:t>Key channels</a:t>
            </a:r>
            <a:endParaRPr kumimoji="0" sz="800" b="0" i="0" u="none" strike="noStrike" kern="1200" cap="none" spc="0" normalizeH="0" baseline="0" noProof="0">
              <a:ln>
                <a:noFill/>
              </a:ln>
              <a:solidFill>
                <a:srgbClr val="FF9E16"/>
              </a:solidFill>
              <a:effectLst/>
              <a:uLnTx/>
              <a:uFillTx/>
              <a:latin typeface="Arial"/>
              <a:ea typeface="+mn-ea"/>
              <a:cs typeface="+mn-cs"/>
            </a:endParaRPr>
          </a:p>
        </p:txBody>
      </p:sp>
      <p:sp>
        <p:nvSpPr>
          <p:cNvPr id="32" name="Google Shape;200;p3">
            <a:extLst>
              <a:ext uri="{FF2B5EF4-FFF2-40B4-BE49-F238E27FC236}">
                <a16:creationId xmlns:a16="http://schemas.microsoft.com/office/drawing/2014/main" id="{910E03A8-2711-B841-90D4-54E197EDF433}"/>
              </a:ext>
            </a:extLst>
          </p:cNvPr>
          <p:cNvSpPr txBox="1"/>
          <p:nvPr/>
        </p:nvSpPr>
        <p:spPr>
          <a:xfrm>
            <a:off x="613353" y="5029639"/>
            <a:ext cx="1036414" cy="155397"/>
          </a:xfrm>
          <a:prstGeom prst="rect">
            <a:avLst/>
          </a:prstGeom>
          <a:noFill/>
          <a:ln>
            <a:noFill/>
          </a:ln>
        </p:spPr>
        <p:txBody>
          <a:bodyPr spcFirstLastPara="1" wrap="square" lIns="68569" tIns="34275" rIns="68569" bIns="34275" anchor="t" anchorCtr="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9E16"/>
                </a:solidFill>
                <a:effectLst/>
                <a:uLnTx/>
                <a:uFillTx/>
                <a:latin typeface="Calibri"/>
                <a:ea typeface="Calibri"/>
                <a:cs typeface="Calibri"/>
                <a:sym typeface="Calibri"/>
              </a:rPr>
              <a:t>Key metrics</a:t>
            </a:r>
            <a:endParaRPr kumimoji="0" sz="800" b="0" i="0" u="none" strike="noStrike" kern="1200" cap="none" spc="0" normalizeH="0" baseline="0" noProof="0">
              <a:ln>
                <a:noFill/>
              </a:ln>
              <a:solidFill>
                <a:srgbClr val="FF9E16"/>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A71D6F00-A2F9-B347-BC7D-0CF5286081A2}"/>
              </a:ext>
            </a:extLst>
          </p:cNvPr>
          <p:cNvGrpSpPr/>
          <p:nvPr/>
        </p:nvGrpSpPr>
        <p:grpSpPr>
          <a:xfrm>
            <a:off x="676743" y="5201124"/>
            <a:ext cx="1659964" cy="375145"/>
            <a:chOff x="728837" y="3040677"/>
            <a:chExt cx="2028565" cy="375145"/>
          </a:xfrm>
        </p:grpSpPr>
        <p:sp>
          <p:nvSpPr>
            <p:cNvPr id="37" name="Google Shape;205;p3">
              <a:extLst>
                <a:ext uri="{FF2B5EF4-FFF2-40B4-BE49-F238E27FC236}">
                  <a16:creationId xmlns:a16="http://schemas.microsoft.com/office/drawing/2014/main" id="{1314AEE1-1093-5047-80C2-3DB4F2EFAB0E}"/>
                </a:ext>
              </a:extLst>
            </p:cNvPr>
            <p:cNvSpPr/>
            <p:nvPr/>
          </p:nvSpPr>
          <p:spPr>
            <a:xfrm>
              <a:off x="728837" y="3040677"/>
              <a:ext cx="643532" cy="161493"/>
            </a:xfrm>
            <a:prstGeom prst="roundRect">
              <a:avLst>
                <a:gd name="adj" fmla="val 16667"/>
              </a:avLst>
            </a:prstGeom>
            <a:solidFill>
              <a:schemeClr val="bg1">
                <a:lumMod val="95000"/>
              </a:schemeClr>
            </a:solidFill>
            <a:ln>
              <a:noFill/>
            </a:ln>
          </p:spPr>
          <p:txBody>
            <a:bodyPr spcFirstLastPara="1" wrap="square" lIns="68569" tIns="34275" rIns="68569" bIns="34275" anchor="ctr"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400" b="1" i="0" u="none" strike="noStrike" kern="1200" cap="none" spc="0" normalizeH="0" baseline="0" noProof="0">
                  <a:ln>
                    <a:noFill/>
                  </a:ln>
                  <a:solidFill>
                    <a:srgbClr val="003865"/>
                  </a:solidFill>
                  <a:effectLst/>
                  <a:uLnTx/>
                  <a:uFillTx/>
                  <a:latin typeface="Calibri"/>
                  <a:ea typeface="Calibri"/>
                  <a:cs typeface="Calibri"/>
                  <a:sym typeface="Calibri"/>
                </a:rPr>
                <a:t>Volume of Calls</a:t>
              </a:r>
              <a:endParaRPr kumimoji="0" sz="500" b="0" i="0" u="none" strike="noStrike" kern="1200" cap="none" spc="0" normalizeH="0" baseline="0" noProof="0">
                <a:ln>
                  <a:noFill/>
                </a:ln>
                <a:solidFill>
                  <a:srgbClr val="003865"/>
                </a:solidFill>
                <a:effectLst/>
                <a:uLnTx/>
                <a:uFillTx/>
                <a:latin typeface="Arial"/>
                <a:ea typeface="+mn-ea"/>
                <a:cs typeface="+mn-cs"/>
              </a:endParaRPr>
            </a:p>
          </p:txBody>
        </p:sp>
        <p:sp>
          <p:nvSpPr>
            <p:cNvPr id="39" name="Google Shape;206;p3">
              <a:extLst>
                <a:ext uri="{FF2B5EF4-FFF2-40B4-BE49-F238E27FC236}">
                  <a16:creationId xmlns:a16="http://schemas.microsoft.com/office/drawing/2014/main" id="{9CDCAA69-7729-2449-BD3A-EF3EB9E0DC7E}"/>
                </a:ext>
              </a:extLst>
            </p:cNvPr>
            <p:cNvSpPr/>
            <p:nvPr/>
          </p:nvSpPr>
          <p:spPr>
            <a:xfrm>
              <a:off x="1419253" y="3040677"/>
              <a:ext cx="643532" cy="161493"/>
            </a:xfrm>
            <a:prstGeom prst="roundRect">
              <a:avLst>
                <a:gd name="adj" fmla="val 16667"/>
              </a:avLst>
            </a:prstGeom>
            <a:solidFill>
              <a:schemeClr val="bg1">
                <a:lumMod val="95000"/>
              </a:schemeClr>
            </a:solidFill>
            <a:ln>
              <a:noFill/>
            </a:ln>
          </p:spPr>
          <p:txBody>
            <a:bodyPr spcFirstLastPara="1" wrap="square" lIns="68569" tIns="34275" rIns="68569" bIns="34275" anchor="t"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400" b="1" i="0" u="none" strike="noStrike" kern="1200" cap="none" spc="0" normalizeH="0" baseline="0" noProof="0">
                  <a:ln>
                    <a:noFill/>
                  </a:ln>
                  <a:solidFill>
                    <a:srgbClr val="003865"/>
                  </a:solidFill>
                  <a:effectLst/>
                  <a:uLnTx/>
                  <a:uFillTx/>
                  <a:latin typeface="Calibri"/>
                  <a:ea typeface="Calibri"/>
                  <a:cs typeface="Calibri"/>
                  <a:sym typeface="Calibri"/>
                </a:rPr>
                <a:t>Volume of Engage Calls</a:t>
              </a:r>
              <a:endParaRPr kumimoji="0" sz="500" b="0" i="0" u="none" strike="noStrike" kern="1200" cap="none" spc="0" normalizeH="0" baseline="0" noProof="0">
                <a:ln>
                  <a:noFill/>
                </a:ln>
                <a:solidFill>
                  <a:srgbClr val="003865"/>
                </a:solidFill>
                <a:effectLst/>
                <a:uLnTx/>
                <a:uFillTx/>
                <a:latin typeface="Arial"/>
                <a:ea typeface="+mn-ea"/>
                <a:cs typeface="+mn-cs"/>
              </a:endParaRPr>
            </a:p>
          </p:txBody>
        </p:sp>
        <p:sp>
          <p:nvSpPr>
            <p:cNvPr id="40" name="Google Shape;207;p3">
              <a:extLst>
                <a:ext uri="{FF2B5EF4-FFF2-40B4-BE49-F238E27FC236}">
                  <a16:creationId xmlns:a16="http://schemas.microsoft.com/office/drawing/2014/main" id="{167ADE1C-1D11-C146-8952-38C22DA8D18C}"/>
                </a:ext>
              </a:extLst>
            </p:cNvPr>
            <p:cNvSpPr/>
            <p:nvPr/>
          </p:nvSpPr>
          <p:spPr>
            <a:xfrm>
              <a:off x="2113870" y="3040677"/>
              <a:ext cx="643532" cy="161493"/>
            </a:xfrm>
            <a:prstGeom prst="roundRect">
              <a:avLst>
                <a:gd name="adj" fmla="val 16667"/>
              </a:avLst>
            </a:prstGeom>
            <a:solidFill>
              <a:schemeClr val="bg1">
                <a:lumMod val="95000"/>
              </a:schemeClr>
            </a:solidFill>
            <a:ln>
              <a:noFill/>
            </a:ln>
          </p:spPr>
          <p:txBody>
            <a:bodyPr spcFirstLastPara="1" wrap="square" lIns="68569" tIns="34275" rIns="68569" bIns="34275" anchor="ctr"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400" b="1" i="0" u="none" strike="noStrike" kern="1200" cap="none" spc="0" normalizeH="0" baseline="0" noProof="0">
                  <a:ln>
                    <a:noFill/>
                  </a:ln>
                  <a:solidFill>
                    <a:srgbClr val="003865"/>
                  </a:solidFill>
                  <a:effectLst/>
                  <a:uLnTx/>
                  <a:uFillTx/>
                  <a:latin typeface="Calibri"/>
                  <a:ea typeface="+mn-ea"/>
                  <a:cs typeface="Calibri"/>
                  <a:sym typeface="Calibri"/>
                </a:rPr>
                <a:t>Engage Call duration</a:t>
              </a:r>
              <a:endParaRPr kumimoji="0" sz="400" b="1" i="0" u="none" strike="noStrike" kern="1200" cap="none" spc="0" normalizeH="0" baseline="0" noProof="0">
                <a:ln>
                  <a:noFill/>
                </a:ln>
                <a:solidFill>
                  <a:srgbClr val="003865"/>
                </a:solidFill>
                <a:effectLst/>
                <a:uLnTx/>
                <a:uFillTx/>
                <a:latin typeface="Calibri"/>
                <a:ea typeface="+mn-ea"/>
                <a:cs typeface="Calibri"/>
              </a:endParaRPr>
            </a:p>
          </p:txBody>
        </p:sp>
        <p:sp>
          <p:nvSpPr>
            <p:cNvPr id="42" name="Google Shape;208;p3">
              <a:extLst>
                <a:ext uri="{FF2B5EF4-FFF2-40B4-BE49-F238E27FC236}">
                  <a16:creationId xmlns:a16="http://schemas.microsoft.com/office/drawing/2014/main" id="{05911DDD-660B-694D-B85E-21E2A2D69483}"/>
                </a:ext>
              </a:extLst>
            </p:cNvPr>
            <p:cNvSpPr/>
            <p:nvPr/>
          </p:nvSpPr>
          <p:spPr>
            <a:xfrm>
              <a:off x="1430139" y="3254329"/>
              <a:ext cx="643532" cy="161493"/>
            </a:xfrm>
            <a:prstGeom prst="roundRect">
              <a:avLst>
                <a:gd name="adj" fmla="val 16667"/>
              </a:avLst>
            </a:prstGeom>
            <a:solidFill>
              <a:schemeClr val="bg1">
                <a:lumMod val="95000"/>
              </a:schemeClr>
            </a:solidFill>
            <a:ln>
              <a:noFill/>
            </a:ln>
          </p:spPr>
          <p:txBody>
            <a:bodyPr spcFirstLastPara="1" wrap="square" lIns="68569" tIns="34275" rIns="68569" bIns="34275" anchor="t"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400" b="1" i="0" u="none" strike="noStrike" kern="1200" cap="none" spc="0" normalizeH="0" baseline="0" noProof="0">
                  <a:ln>
                    <a:noFill/>
                  </a:ln>
                  <a:solidFill>
                    <a:srgbClr val="003865"/>
                  </a:solidFill>
                  <a:effectLst/>
                  <a:uLnTx/>
                  <a:uFillTx/>
                  <a:latin typeface="Calibri"/>
                  <a:ea typeface="Calibri"/>
                  <a:cs typeface="Calibri"/>
                  <a:sym typeface="Calibri"/>
                </a:rPr>
                <a:t>Approved Email Open Rate</a:t>
              </a:r>
              <a:endParaRPr kumimoji="0" sz="500" b="0" i="0" u="none" strike="noStrike" kern="1200" cap="none" spc="0" normalizeH="0" baseline="0" noProof="0">
                <a:ln>
                  <a:noFill/>
                </a:ln>
                <a:solidFill>
                  <a:srgbClr val="003865"/>
                </a:solidFill>
                <a:effectLst/>
                <a:uLnTx/>
                <a:uFillTx/>
                <a:latin typeface="Arial"/>
                <a:ea typeface="+mn-ea"/>
                <a:cs typeface="+mn-cs"/>
              </a:endParaRPr>
            </a:p>
          </p:txBody>
        </p:sp>
        <p:sp>
          <p:nvSpPr>
            <p:cNvPr id="43" name="Google Shape;209;p3">
              <a:extLst>
                <a:ext uri="{FF2B5EF4-FFF2-40B4-BE49-F238E27FC236}">
                  <a16:creationId xmlns:a16="http://schemas.microsoft.com/office/drawing/2014/main" id="{A87C3022-507D-4143-B4A1-7DBBD048C7CF}"/>
                </a:ext>
              </a:extLst>
            </p:cNvPr>
            <p:cNvSpPr/>
            <p:nvPr/>
          </p:nvSpPr>
          <p:spPr>
            <a:xfrm>
              <a:off x="730996" y="3254329"/>
              <a:ext cx="643532" cy="161493"/>
            </a:xfrm>
            <a:prstGeom prst="roundRect">
              <a:avLst>
                <a:gd name="adj" fmla="val 16667"/>
              </a:avLst>
            </a:prstGeom>
            <a:solidFill>
              <a:schemeClr val="bg1">
                <a:lumMod val="95000"/>
              </a:schemeClr>
            </a:solidFill>
            <a:ln>
              <a:noFill/>
            </a:ln>
          </p:spPr>
          <p:txBody>
            <a:bodyPr spcFirstLastPara="1" wrap="square" lIns="68569" tIns="34275" rIns="68569" bIns="34275" anchor="t"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400" b="1" i="0" u="none" strike="noStrike" kern="1200" cap="none" spc="0" normalizeH="0" baseline="0" noProof="0">
                  <a:ln>
                    <a:noFill/>
                  </a:ln>
                  <a:solidFill>
                    <a:srgbClr val="003865"/>
                  </a:solidFill>
                  <a:effectLst/>
                  <a:uLnTx/>
                  <a:uFillTx/>
                  <a:latin typeface="Calibri"/>
                  <a:ea typeface="Calibri"/>
                  <a:cs typeface="Calibri"/>
                  <a:sym typeface="Calibri"/>
                </a:rPr>
                <a:t>Volume of Approved Email</a:t>
              </a:r>
              <a:endParaRPr kumimoji="0" sz="500" b="0" i="0" u="none" strike="noStrike" kern="1200" cap="none" spc="0" normalizeH="0" baseline="0" noProof="0">
                <a:ln>
                  <a:noFill/>
                </a:ln>
                <a:solidFill>
                  <a:srgbClr val="003865"/>
                </a:solidFill>
                <a:effectLst/>
                <a:uLnTx/>
                <a:uFillTx/>
                <a:latin typeface="Arial"/>
                <a:ea typeface="+mn-ea"/>
                <a:cs typeface="+mn-cs"/>
              </a:endParaRPr>
            </a:p>
          </p:txBody>
        </p:sp>
      </p:grpSp>
      <p:sp>
        <p:nvSpPr>
          <p:cNvPr id="44" name="Google Shape;200;p3">
            <a:extLst>
              <a:ext uri="{FF2B5EF4-FFF2-40B4-BE49-F238E27FC236}">
                <a16:creationId xmlns:a16="http://schemas.microsoft.com/office/drawing/2014/main" id="{A0EA9D09-9A39-C647-A5C9-8FFB51C47751}"/>
              </a:ext>
            </a:extLst>
          </p:cNvPr>
          <p:cNvSpPr txBox="1"/>
          <p:nvPr/>
        </p:nvSpPr>
        <p:spPr>
          <a:xfrm>
            <a:off x="2398985" y="4241762"/>
            <a:ext cx="1036414" cy="155397"/>
          </a:xfrm>
          <a:prstGeom prst="rect">
            <a:avLst/>
          </a:prstGeom>
          <a:noFill/>
          <a:ln>
            <a:noFill/>
          </a:ln>
        </p:spPr>
        <p:txBody>
          <a:bodyPr spcFirstLastPara="1" wrap="square" lIns="68569" tIns="34275" rIns="68569" bIns="34275" anchor="t" anchorCtr="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9E16"/>
                </a:solidFill>
                <a:effectLst/>
                <a:uLnTx/>
                <a:uFillTx/>
                <a:latin typeface="Calibri"/>
                <a:ea typeface="Calibri"/>
                <a:cs typeface="Calibri"/>
                <a:sym typeface="Calibri"/>
              </a:rPr>
              <a:t>KPI Tracking</a:t>
            </a:r>
            <a:endParaRPr kumimoji="0" sz="800" b="0" i="0" u="none" strike="noStrike" kern="1200" cap="none" spc="0" normalizeH="0" baseline="0" noProof="0">
              <a:ln>
                <a:noFill/>
              </a:ln>
              <a:solidFill>
                <a:srgbClr val="FF9E16"/>
              </a:solidFill>
              <a:effectLst/>
              <a:uLnTx/>
              <a:uFillTx/>
              <a:latin typeface="Arial"/>
              <a:ea typeface="+mn-ea"/>
              <a:cs typeface="+mn-cs"/>
            </a:endParaRPr>
          </a:p>
        </p:txBody>
      </p:sp>
      <p:sp>
        <p:nvSpPr>
          <p:cNvPr id="45" name="Google Shape;208;p3">
            <a:extLst>
              <a:ext uri="{FF2B5EF4-FFF2-40B4-BE49-F238E27FC236}">
                <a16:creationId xmlns:a16="http://schemas.microsoft.com/office/drawing/2014/main" id="{1397E271-A52F-6C4B-B136-4108AEB79403}"/>
              </a:ext>
            </a:extLst>
          </p:cNvPr>
          <p:cNvSpPr/>
          <p:nvPr/>
        </p:nvSpPr>
        <p:spPr>
          <a:xfrm>
            <a:off x="676743" y="5634200"/>
            <a:ext cx="526599" cy="161493"/>
          </a:xfrm>
          <a:prstGeom prst="roundRect">
            <a:avLst>
              <a:gd name="adj" fmla="val 16667"/>
            </a:avLst>
          </a:prstGeom>
          <a:solidFill>
            <a:schemeClr val="bg1">
              <a:lumMod val="95000"/>
            </a:schemeClr>
          </a:solidFill>
          <a:ln>
            <a:noFill/>
          </a:ln>
        </p:spPr>
        <p:txBody>
          <a:bodyPr spcFirstLastPara="1" wrap="square" lIns="68569" tIns="34275" rIns="68569" bIns="34275" anchor="t"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400" b="1" i="0" u="none" strike="noStrike" kern="1200" cap="none" spc="0" normalizeH="0" baseline="0" noProof="0">
                <a:ln>
                  <a:noFill/>
                </a:ln>
                <a:solidFill>
                  <a:srgbClr val="003865"/>
                </a:solidFill>
                <a:effectLst/>
                <a:uLnTx/>
                <a:uFillTx/>
                <a:latin typeface="Calibri"/>
                <a:ea typeface="Calibri"/>
                <a:cs typeface="Calibri"/>
                <a:sym typeface="Calibri"/>
              </a:rPr>
              <a:t>Mass emails</a:t>
            </a:r>
            <a:endParaRPr kumimoji="0" sz="500" b="0" i="0" u="none" strike="noStrike" kern="1200" cap="none" spc="0" normalizeH="0" baseline="0" noProof="0">
              <a:ln>
                <a:noFill/>
              </a:ln>
              <a:solidFill>
                <a:srgbClr val="003865"/>
              </a:solidFill>
              <a:effectLst/>
              <a:uLnTx/>
              <a:uFillTx/>
              <a:latin typeface="Arial"/>
              <a:ea typeface="+mn-ea"/>
              <a:cs typeface="+mn-cs"/>
            </a:endParaRPr>
          </a:p>
        </p:txBody>
      </p:sp>
      <p:sp>
        <p:nvSpPr>
          <p:cNvPr id="46" name="Google Shape;208;p3">
            <a:extLst>
              <a:ext uri="{FF2B5EF4-FFF2-40B4-BE49-F238E27FC236}">
                <a16:creationId xmlns:a16="http://schemas.microsoft.com/office/drawing/2014/main" id="{AA585097-DB8F-D14E-AE34-5DA4AFB80AF2}"/>
              </a:ext>
            </a:extLst>
          </p:cNvPr>
          <p:cNvSpPr/>
          <p:nvPr/>
        </p:nvSpPr>
        <p:spPr>
          <a:xfrm>
            <a:off x="1241706" y="5631288"/>
            <a:ext cx="526599" cy="161493"/>
          </a:xfrm>
          <a:prstGeom prst="roundRect">
            <a:avLst>
              <a:gd name="adj" fmla="val 16667"/>
            </a:avLst>
          </a:prstGeom>
          <a:solidFill>
            <a:schemeClr val="bg1">
              <a:lumMod val="95000"/>
            </a:schemeClr>
          </a:solidFill>
          <a:ln>
            <a:noFill/>
          </a:ln>
        </p:spPr>
        <p:txBody>
          <a:bodyPr spcFirstLastPara="1" wrap="square" lIns="68569" tIns="34275" rIns="68569" bIns="34275" anchor="t"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400" b="1" i="0" u="none" strike="noStrike" kern="1200" cap="none" spc="0" normalizeH="0" baseline="0" noProof="0">
                <a:ln>
                  <a:noFill/>
                </a:ln>
                <a:solidFill>
                  <a:srgbClr val="003865"/>
                </a:solidFill>
                <a:effectLst/>
                <a:uLnTx/>
                <a:uFillTx/>
                <a:latin typeface="Calibri"/>
                <a:ea typeface="Calibri"/>
                <a:cs typeface="Calibri"/>
                <a:sym typeface="Calibri"/>
              </a:rPr>
              <a:t>Event attendance</a:t>
            </a:r>
            <a:endParaRPr kumimoji="0" sz="500" b="0" i="0" u="none" strike="noStrike" kern="1200" cap="none" spc="0" normalizeH="0" baseline="0" noProof="0">
              <a:ln>
                <a:noFill/>
              </a:ln>
              <a:solidFill>
                <a:srgbClr val="003865"/>
              </a:solidFill>
              <a:effectLst/>
              <a:uLnTx/>
              <a:uFillTx/>
              <a:latin typeface="Arial"/>
              <a:ea typeface="+mn-ea"/>
              <a:cs typeface="+mn-cs"/>
            </a:endParaRPr>
          </a:p>
        </p:txBody>
      </p:sp>
      <p:sp>
        <p:nvSpPr>
          <p:cNvPr id="47" name="Google Shape;208;p3">
            <a:extLst>
              <a:ext uri="{FF2B5EF4-FFF2-40B4-BE49-F238E27FC236}">
                <a16:creationId xmlns:a16="http://schemas.microsoft.com/office/drawing/2014/main" id="{F9D26488-6BBF-0D49-8558-303F406CCD64}"/>
              </a:ext>
            </a:extLst>
          </p:cNvPr>
          <p:cNvSpPr/>
          <p:nvPr/>
        </p:nvSpPr>
        <p:spPr>
          <a:xfrm>
            <a:off x="1810419" y="5414775"/>
            <a:ext cx="526599" cy="161493"/>
          </a:xfrm>
          <a:prstGeom prst="roundRect">
            <a:avLst>
              <a:gd name="adj" fmla="val 16667"/>
            </a:avLst>
          </a:prstGeom>
          <a:solidFill>
            <a:schemeClr val="bg1">
              <a:lumMod val="95000"/>
            </a:schemeClr>
          </a:solidFill>
          <a:ln>
            <a:noFill/>
          </a:ln>
        </p:spPr>
        <p:txBody>
          <a:bodyPr spcFirstLastPara="1" wrap="square" lIns="68569" tIns="34275" rIns="68569" bIns="34275" anchor="t"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400" b="1" i="0" u="none" strike="noStrike" kern="1200" cap="none" spc="0" normalizeH="0" baseline="0" noProof="0">
                <a:ln>
                  <a:noFill/>
                </a:ln>
                <a:solidFill>
                  <a:srgbClr val="003865"/>
                </a:solidFill>
                <a:effectLst/>
                <a:uLnTx/>
                <a:uFillTx/>
                <a:latin typeface="Calibri"/>
                <a:ea typeface="Calibri"/>
                <a:cs typeface="Calibri"/>
                <a:sym typeface="Calibri"/>
              </a:rPr>
              <a:t>Digital affinity</a:t>
            </a:r>
            <a:endParaRPr kumimoji="0" sz="500" b="0" i="0" u="none" strike="noStrike" kern="1200" cap="none" spc="0" normalizeH="0" baseline="0" noProof="0">
              <a:ln>
                <a:noFill/>
              </a:ln>
              <a:solidFill>
                <a:srgbClr val="003865"/>
              </a:solidFill>
              <a:effectLst/>
              <a:uLnTx/>
              <a:uFillTx/>
              <a:latin typeface="Arial"/>
              <a:ea typeface="+mn-ea"/>
              <a:cs typeface="+mn-cs"/>
            </a:endParaRPr>
          </a:p>
        </p:txBody>
      </p:sp>
      <p:sp>
        <p:nvSpPr>
          <p:cNvPr id="48" name="Google Shape;208;p3">
            <a:extLst>
              <a:ext uri="{FF2B5EF4-FFF2-40B4-BE49-F238E27FC236}">
                <a16:creationId xmlns:a16="http://schemas.microsoft.com/office/drawing/2014/main" id="{156932BD-ED38-9F41-B293-CE1A6FB7A6CD}"/>
              </a:ext>
            </a:extLst>
          </p:cNvPr>
          <p:cNvSpPr/>
          <p:nvPr/>
        </p:nvSpPr>
        <p:spPr>
          <a:xfrm>
            <a:off x="1807976" y="5633201"/>
            <a:ext cx="526599" cy="161493"/>
          </a:xfrm>
          <a:prstGeom prst="roundRect">
            <a:avLst>
              <a:gd name="adj" fmla="val 16667"/>
            </a:avLst>
          </a:prstGeom>
          <a:solidFill>
            <a:schemeClr val="bg1">
              <a:lumMod val="95000"/>
            </a:schemeClr>
          </a:solidFill>
          <a:ln>
            <a:noFill/>
          </a:ln>
        </p:spPr>
        <p:txBody>
          <a:bodyPr spcFirstLastPara="1" wrap="square" lIns="68569" tIns="34275" rIns="68569" bIns="34275" anchor="t"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400" b="1" i="0" u="none" strike="noStrike" kern="1200" cap="none" spc="0" normalizeH="0" baseline="0" noProof="0">
                <a:ln>
                  <a:noFill/>
                </a:ln>
                <a:solidFill>
                  <a:srgbClr val="003865"/>
                </a:solidFill>
                <a:effectLst/>
                <a:uLnTx/>
                <a:uFillTx/>
                <a:latin typeface="Calibri"/>
                <a:ea typeface="Calibri"/>
                <a:cs typeface="Calibri"/>
                <a:sym typeface="Calibri"/>
              </a:rPr>
              <a:t>Cross channel engagement</a:t>
            </a:r>
            <a:endParaRPr kumimoji="0" sz="500" b="0" i="0" u="none" strike="noStrike" kern="1200" cap="none" spc="0" normalizeH="0" baseline="0" noProof="0">
              <a:ln>
                <a:noFill/>
              </a:ln>
              <a:solidFill>
                <a:srgbClr val="003865"/>
              </a:solidFill>
              <a:effectLst/>
              <a:uLnTx/>
              <a:uFillTx/>
              <a:latin typeface="Arial"/>
              <a:ea typeface="+mn-ea"/>
              <a:cs typeface="+mn-cs"/>
            </a:endParaRPr>
          </a:p>
        </p:txBody>
      </p:sp>
    </p:spTree>
    <p:extLst>
      <p:ext uri="{BB962C8B-B14F-4D97-AF65-F5344CB8AC3E}">
        <p14:creationId xmlns:p14="http://schemas.microsoft.com/office/powerpoint/2010/main" val="199991647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016DD58-F957-1346-8429-B6924E6E0577}"/>
              </a:ext>
            </a:extLst>
          </p:cNvPr>
          <p:cNvSpPr/>
          <p:nvPr/>
        </p:nvSpPr>
        <p:spPr>
          <a:xfrm>
            <a:off x="0" y="0"/>
            <a:ext cx="12192000" cy="1195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Calibri"/>
            </a:endParaRPr>
          </a:p>
        </p:txBody>
      </p:sp>
      <p:sp>
        <p:nvSpPr>
          <p:cNvPr id="2" name="Text Placeholder 1">
            <a:extLst>
              <a:ext uri="{FF2B5EF4-FFF2-40B4-BE49-F238E27FC236}">
                <a16:creationId xmlns:a16="http://schemas.microsoft.com/office/drawing/2014/main" id="{F0343857-B3D4-EE4B-B145-594D864007C9}"/>
              </a:ext>
            </a:extLst>
          </p:cNvPr>
          <p:cNvSpPr>
            <a:spLocks noGrp="1"/>
          </p:cNvSpPr>
          <p:nvPr>
            <p:ph type="body" sz="quarter" idx="13"/>
          </p:nvPr>
        </p:nvSpPr>
        <p:spPr>
          <a:xfrm>
            <a:off x="267046" y="748125"/>
            <a:ext cx="11859625" cy="579664"/>
          </a:xfrm>
        </p:spPr>
        <p:txBody>
          <a:bodyPr/>
          <a:lstStyle/>
          <a:p>
            <a:r>
              <a:rPr lang="en-US" sz="1400">
                <a:solidFill>
                  <a:schemeClr val="bg1"/>
                </a:solidFill>
              </a:rPr>
              <a:t>Providing the field force with best practice methodologies and optimization tips for pre, during and post call activities</a:t>
            </a:r>
          </a:p>
        </p:txBody>
      </p:sp>
      <p:sp>
        <p:nvSpPr>
          <p:cNvPr id="3" name="Title 2">
            <a:extLst>
              <a:ext uri="{FF2B5EF4-FFF2-40B4-BE49-F238E27FC236}">
                <a16:creationId xmlns:a16="http://schemas.microsoft.com/office/drawing/2014/main" id="{AD4A8093-39C8-FB4B-A914-1502ADF096F9}"/>
              </a:ext>
            </a:extLst>
          </p:cNvPr>
          <p:cNvSpPr>
            <a:spLocks noGrp="1"/>
          </p:cNvSpPr>
          <p:nvPr>
            <p:ph type="title"/>
          </p:nvPr>
        </p:nvSpPr>
        <p:spPr>
          <a:xfrm>
            <a:off x="243639" y="161292"/>
            <a:ext cx="11639394" cy="579665"/>
          </a:xfrm>
        </p:spPr>
        <p:txBody>
          <a:bodyPr/>
          <a:lstStyle/>
          <a:p>
            <a:r>
              <a:rPr lang="en-US" sz="2800">
                <a:solidFill>
                  <a:schemeClr val="bg1"/>
                </a:solidFill>
              </a:rPr>
              <a:t>2.1 Call planning, execution, measurement playbooks</a:t>
            </a:r>
          </a:p>
        </p:txBody>
      </p:sp>
      <p:sp>
        <p:nvSpPr>
          <p:cNvPr id="13" name="Rectangle 12">
            <a:extLst>
              <a:ext uri="{FF2B5EF4-FFF2-40B4-BE49-F238E27FC236}">
                <a16:creationId xmlns:a16="http://schemas.microsoft.com/office/drawing/2014/main" id="{15148C33-FF4C-5D47-A4E3-6161AC78335B}"/>
              </a:ext>
            </a:extLst>
          </p:cNvPr>
          <p:cNvSpPr/>
          <p:nvPr/>
        </p:nvSpPr>
        <p:spPr>
          <a:xfrm>
            <a:off x="381220" y="1512850"/>
            <a:ext cx="11429559" cy="478855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610A673C-FC63-3F4C-9716-0668BFC2367D}"/>
              </a:ext>
            </a:extLst>
          </p:cNvPr>
          <p:cNvSpPr/>
          <p:nvPr/>
        </p:nvSpPr>
        <p:spPr>
          <a:xfrm>
            <a:off x="11742980" y="1523456"/>
            <a:ext cx="135599" cy="47873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E9775BDA-1CD2-2B43-83C6-5D482E1E8AAF}"/>
              </a:ext>
            </a:extLst>
          </p:cNvPr>
          <p:cNvSpPr txBox="1"/>
          <p:nvPr/>
        </p:nvSpPr>
        <p:spPr>
          <a:xfrm>
            <a:off x="4347896" y="1559463"/>
            <a:ext cx="7285606" cy="4708981"/>
          </a:xfrm>
          <a:prstGeom prst="rect">
            <a:avLst/>
          </a:prstGeom>
          <a:noFill/>
        </p:spPr>
        <p:txBody>
          <a:bodyPr wrap="square" rtlCol="0">
            <a:spAutoFit/>
          </a:bodyPr>
          <a:lstStyle/>
          <a:p>
            <a:pPr marR="0" lvl="0" algn="l" defTabSz="914400" rtl="0" eaLnBrk="1" fontAlgn="auto" latinLnBrk="0" hangingPunct="1">
              <a:spcBef>
                <a:spcPts val="1200"/>
              </a:spcBef>
              <a:spcAft>
                <a:spcPts val="600"/>
              </a:spcAft>
              <a:buClr>
                <a:srgbClr val="FF9E16"/>
              </a:buClr>
              <a:buSzTx/>
              <a:tabLst/>
              <a:defRPr/>
            </a:pPr>
            <a:r>
              <a:rPr lang="en-US" sz="1600">
                <a:solidFill>
                  <a:srgbClr val="646569"/>
                </a:solidFill>
                <a:latin typeface="Calibri"/>
              </a:rPr>
              <a:t>The steps below relate to the following three areas of execution activity:</a:t>
            </a:r>
          </a:p>
          <a:p>
            <a:pPr marL="800100" lvl="1" indent="-342900">
              <a:spcBef>
                <a:spcPts val="600"/>
              </a:spcBef>
              <a:buClr>
                <a:srgbClr val="FF9E16"/>
              </a:buClr>
              <a:buFont typeface="Arial" panose="020B0604020202020204" pitchFamily="34" charset="0"/>
              <a:buChar char="•"/>
              <a:defRPr/>
            </a:pPr>
            <a:r>
              <a:rPr lang="en-US" sz="1600">
                <a:solidFill>
                  <a:srgbClr val="646569"/>
                </a:solidFill>
                <a:latin typeface="Calibri"/>
              </a:rPr>
              <a:t>Pre-call planning</a:t>
            </a:r>
          </a:p>
          <a:p>
            <a:pPr marL="800100" lvl="1" indent="-342900">
              <a:spcBef>
                <a:spcPts val="600"/>
              </a:spcBef>
              <a:buClr>
                <a:srgbClr val="FF9E16"/>
              </a:buClr>
              <a:buFont typeface="Arial" panose="020B0604020202020204" pitchFamily="34" charset="0"/>
              <a:buChar char="•"/>
              <a:defRPr/>
            </a:pPr>
            <a:r>
              <a:rPr lang="en-US" sz="1600">
                <a:solidFill>
                  <a:srgbClr val="646569"/>
                </a:solidFill>
                <a:latin typeface="Calibri"/>
              </a:rPr>
              <a:t>In-call execution</a:t>
            </a:r>
          </a:p>
          <a:p>
            <a:pPr marL="800100" lvl="1" indent="-342900">
              <a:spcBef>
                <a:spcPts val="600"/>
              </a:spcBef>
              <a:buClr>
                <a:srgbClr val="FF9E16"/>
              </a:buClr>
              <a:buFont typeface="Arial" panose="020B0604020202020204" pitchFamily="34" charset="0"/>
              <a:buChar char="•"/>
              <a:defRPr/>
            </a:pPr>
            <a:r>
              <a:rPr lang="en-US" sz="1600">
                <a:solidFill>
                  <a:srgbClr val="646569"/>
                </a:solidFill>
                <a:latin typeface="Calibri"/>
              </a:rPr>
              <a:t>Post-call measurement and next best action</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Define all tasks required to successfully complete each area of execution activity</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Define the insights that need to be used as an input for each task, as well as the system and data that is to be used to record the output of each task</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The In-call engagement activity will include both channel optimization tips and guidance, as well as sales choreography / objection handling guidance tailored for an omnichannel context </a:t>
            </a:r>
          </a:p>
          <a:p>
            <a:pPr lvl="1">
              <a:spcAft>
                <a:spcPts val="600"/>
              </a:spcAft>
              <a:buClr>
                <a:srgbClr val="FF9E16"/>
              </a:buClr>
              <a:defRPr/>
            </a:pPr>
            <a:r>
              <a:rPr lang="en-US" sz="1400" i="1">
                <a:solidFill>
                  <a:schemeClr val="tx2"/>
                </a:solidFill>
                <a:latin typeface="Calibri"/>
              </a:rPr>
              <a:t>Note: The sales choreography / objection handling playbook will need to be created in close collaboration with Sales &amp; Medical teams </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Combine into a user-friendly playbook that can be used as a reference guide by the field force</a:t>
            </a:r>
          </a:p>
        </p:txBody>
      </p:sp>
      <p:pic>
        <p:nvPicPr>
          <p:cNvPr id="6" name="Picture 5">
            <a:extLst>
              <a:ext uri="{FF2B5EF4-FFF2-40B4-BE49-F238E27FC236}">
                <a16:creationId xmlns:a16="http://schemas.microsoft.com/office/drawing/2014/main" id="{EB0281FA-732B-E144-BADD-0B1644961B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8498" y="1701354"/>
            <a:ext cx="2280496" cy="1279145"/>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AA52661E-673A-944A-99B1-5189E21E5E8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9538" y="2748434"/>
            <a:ext cx="2280496" cy="1276043"/>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69C7EB30-66C8-5A4C-B98D-DA3A2DA418C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80578" y="3792412"/>
            <a:ext cx="2270213" cy="1279145"/>
          </a:xfrm>
          <a:prstGeom prst="rect">
            <a:avLst/>
          </a:prstGeom>
        </p:spPr>
      </p:pic>
      <p:pic>
        <p:nvPicPr>
          <p:cNvPr id="23" name="Picture 22">
            <a:extLst>
              <a:ext uri="{FF2B5EF4-FFF2-40B4-BE49-F238E27FC236}">
                <a16:creationId xmlns:a16="http://schemas.microsoft.com/office/drawing/2014/main" id="{16357286-AE99-A34D-A068-FED5C4F502C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631333" y="4852530"/>
            <a:ext cx="2269153" cy="1276043"/>
          </a:xfrm>
          <a:prstGeom prst="rect">
            <a:avLst/>
          </a:prstGeom>
        </p:spPr>
      </p:pic>
    </p:spTree>
    <p:extLst>
      <p:ext uri="{BB962C8B-B14F-4D97-AF65-F5344CB8AC3E}">
        <p14:creationId xmlns:p14="http://schemas.microsoft.com/office/powerpoint/2010/main" val="60686612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016DD58-F957-1346-8429-B6924E6E0577}"/>
              </a:ext>
            </a:extLst>
          </p:cNvPr>
          <p:cNvSpPr/>
          <p:nvPr/>
        </p:nvSpPr>
        <p:spPr>
          <a:xfrm>
            <a:off x="0" y="-226"/>
            <a:ext cx="12192000" cy="1195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Calibri"/>
            </a:endParaRPr>
          </a:p>
        </p:txBody>
      </p:sp>
      <p:sp>
        <p:nvSpPr>
          <p:cNvPr id="2" name="Text Placeholder 1">
            <a:extLst>
              <a:ext uri="{FF2B5EF4-FFF2-40B4-BE49-F238E27FC236}">
                <a16:creationId xmlns:a16="http://schemas.microsoft.com/office/drawing/2014/main" id="{F0343857-B3D4-EE4B-B145-594D864007C9}"/>
              </a:ext>
            </a:extLst>
          </p:cNvPr>
          <p:cNvSpPr>
            <a:spLocks noGrp="1"/>
          </p:cNvSpPr>
          <p:nvPr>
            <p:ph type="body" sz="quarter" idx="13"/>
          </p:nvPr>
        </p:nvSpPr>
        <p:spPr>
          <a:xfrm>
            <a:off x="267046" y="748125"/>
            <a:ext cx="11859625" cy="579664"/>
          </a:xfrm>
        </p:spPr>
        <p:txBody>
          <a:bodyPr/>
          <a:lstStyle/>
          <a:p>
            <a:r>
              <a:rPr lang="en-US" sz="1400">
                <a:solidFill>
                  <a:schemeClr val="bg1"/>
                </a:solidFill>
              </a:rPr>
              <a:t>Optimize configuration of CRM to drive the MCCP process and optimize workflow for pre, during and post HCP call use</a:t>
            </a:r>
          </a:p>
        </p:txBody>
      </p:sp>
      <p:sp>
        <p:nvSpPr>
          <p:cNvPr id="3" name="Title 2">
            <a:extLst>
              <a:ext uri="{FF2B5EF4-FFF2-40B4-BE49-F238E27FC236}">
                <a16:creationId xmlns:a16="http://schemas.microsoft.com/office/drawing/2014/main" id="{AD4A8093-39C8-FB4B-A914-1502ADF096F9}"/>
              </a:ext>
            </a:extLst>
          </p:cNvPr>
          <p:cNvSpPr>
            <a:spLocks noGrp="1"/>
          </p:cNvSpPr>
          <p:nvPr>
            <p:ph type="title"/>
          </p:nvPr>
        </p:nvSpPr>
        <p:spPr>
          <a:xfrm>
            <a:off x="243639" y="161292"/>
            <a:ext cx="11639394" cy="579665"/>
          </a:xfrm>
        </p:spPr>
        <p:txBody>
          <a:bodyPr/>
          <a:lstStyle/>
          <a:p>
            <a:r>
              <a:rPr lang="en-US" sz="2800">
                <a:solidFill>
                  <a:schemeClr val="bg1"/>
                </a:solidFill>
              </a:rPr>
              <a:t>2.2 Configure Veeva CRM to optimize execution</a:t>
            </a:r>
          </a:p>
        </p:txBody>
      </p:sp>
      <p:sp>
        <p:nvSpPr>
          <p:cNvPr id="13" name="Rectangle 12">
            <a:extLst>
              <a:ext uri="{FF2B5EF4-FFF2-40B4-BE49-F238E27FC236}">
                <a16:creationId xmlns:a16="http://schemas.microsoft.com/office/drawing/2014/main" id="{15148C33-FF4C-5D47-A4E3-6161AC78335B}"/>
              </a:ext>
            </a:extLst>
          </p:cNvPr>
          <p:cNvSpPr/>
          <p:nvPr/>
        </p:nvSpPr>
        <p:spPr>
          <a:xfrm>
            <a:off x="313421" y="1512850"/>
            <a:ext cx="11429559" cy="478855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610A673C-FC63-3F4C-9716-0668BFC2367D}"/>
              </a:ext>
            </a:extLst>
          </p:cNvPr>
          <p:cNvSpPr/>
          <p:nvPr/>
        </p:nvSpPr>
        <p:spPr>
          <a:xfrm>
            <a:off x="11742980" y="1514029"/>
            <a:ext cx="135599" cy="47873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6" name="Picture 35">
            <a:extLst>
              <a:ext uri="{FF2B5EF4-FFF2-40B4-BE49-F238E27FC236}">
                <a16:creationId xmlns:a16="http://schemas.microsoft.com/office/drawing/2014/main" id="{93CBBE3D-F463-C749-91A9-B9880DF4592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85" y="1654034"/>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437ACA7F-D537-9C4C-BFC1-987234F390F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85" y="3938266"/>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41" name="Rectangle 40">
            <a:extLst>
              <a:ext uri="{FF2B5EF4-FFF2-40B4-BE49-F238E27FC236}">
                <a16:creationId xmlns:a16="http://schemas.microsoft.com/office/drawing/2014/main" id="{1B4C3C89-9DD5-E64D-A24B-1B6FE75BDAD0}"/>
              </a:ext>
            </a:extLst>
          </p:cNvPr>
          <p:cNvSpPr/>
          <p:nvPr/>
        </p:nvSpPr>
        <p:spPr>
          <a:xfrm>
            <a:off x="558498" y="3986640"/>
            <a:ext cx="3147596" cy="280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FF9E16"/>
                </a:solidFill>
                <a:latin typeface="Calibri"/>
              </a:rPr>
              <a:t>User Testing Call Report Configuration</a:t>
            </a:r>
            <a:endParaRPr kumimoji="0" lang="en-US" sz="1100" b="0" i="0" u="none" strike="noStrike" kern="1200" cap="none" spc="0" normalizeH="0" baseline="0" noProof="0">
              <a:ln>
                <a:noFill/>
              </a:ln>
              <a:solidFill>
                <a:srgbClr val="FF9E16"/>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3AEE5D2B-8982-9049-AFAE-7DEEE714BF9D}"/>
              </a:ext>
            </a:extLst>
          </p:cNvPr>
          <p:cNvSpPr/>
          <p:nvPr/>
        </p:nvSpPr>
        <p:spPr>
          <a:xfrm>
            <a:off x="558498" y="1705746"/>
            <a:ext cx="3238250" cy="23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9E16"/>
                </a:solidFill>
                <a:effectLst/>
                <a:uLnTx/>
                <a:uFillTx/>
                <a:latin typeface="Calibri"/>
                <a:ea typeface="+mn-ea"/>
                <a:cs typeface="+mn-cs"/>
              </a:rPr>
              <a:t>Business Requirements </a:t>
            </a:r>
            <a:r>
              <a:rPr lang="en-US" sz="1100">
                <a:solidFill>
                  <a:srgbClr val="FF9E16"/>
                </a:solidFill>
                <a:latin typeface="Calibri"/>
              </a:rPr>
              <a:t>For</a:t>
            </a:r>
            <a:r>
              <a:rPr kumimoji="0" lang="en-US" sz="1100" b="0" i="0" u="none" strike="noStrike" kern="1200" cap="none" spc="0" normalizeH="0" baseline="0" noProof="0">
                <a:ln>
                  <a:noFill/>
                </a:ln>
                <a:solidFill>
                  <a:srgbClr val="FF9E16"/>
                </a:solidFill>
                <a:effectLst/>
                <a:uLnTx/>
                <a:uFillTx/>
                <a:latin typeface="Calibri"/>
                <a:ea typeface="+mn-ea"/>
                <a:cs typeface="+mn-cs"/>
              </a:rPr>
              <a:t> CRM </a:t>
            </a:r>
            <a:r>
              <a:rPr lang="en-US" sz="1100">
                <a:solidFill>
                  <a:srgbClr val="FF9E16"/>
                </a:solidFill>
                <a:latin typeface="Calibri"/>
              </a:rPr>
              <a:t>Optimization</a:t>
            </a:r>
            <a:endParaRPr kumimoji="0" lang="en-US" sz="1100" b="0" i="0" u="none" strike="noStrike" kern="1200" cap="none" spc="0" normalizeH="0" baseline="0" noProof="0">
              <a:ln>
                <a:noFill/>
              </a:ln>
              <a:solidFill>
                <a:srgbClr val="FF9E16"/>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59B26131-9581-BB4D-BA0E-DA8074510913}"/>
              </a:ext>
            </a:extLst>
          </p:cNvPr>
          <p:cNvSpPr txBox="1"/>
          <p:nvPr/>
        </p:nvSpPr>
        <p:spPr>
          <a:xfrm>
            <a:off x="4347896" y="1694078"/>
            <a:ext cx="7090114" cy="4262705"/>
          </a:xfrm>
          <a:prstGeom prst="rect">
            <a:avLst/>
          </a:prstGeom>
          <a:noFill/>
        </p:spPr>
        <p:txBody>
          <a:bodyPr wrap="square" rtlCol="0">
            <a:spAutoFit/>
          </a:bodyPr>
          <a:lstStyle/>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Assess the following process design and guidance materials to create business and technical requirements for the CRM configuration:</a:t>
            </a:r>
          </a:p>
          <a:p>
            <a:pPr marL="800100" lvl="1" indent="-342900">
              <a:spcBef>
                <a:spcPts val="600"/>
              </a:spcBef>
              <a:spcAft>
                <a:spcPts val="600"/>
              </a:spcAft>
              <a:buClr>
                <a:srgbClr val="FF9E16"/>
              </a:buClr>
              <a:buFont typeface="Arial" panose="020B0604020202020204" pitchFamily="34" charset="0"/>
              <a:buChar char="•"/>
              <a:defRPr/>
            </a:pPr>
            <a:r>
              <a:rPr lang="en-US" sz="1600">
                <a:solidFill>
                  <a:srgbClr val="646569"/>
                </a:solidFill>
                <a:latin typeface="Calibri"/>
              </a:rPr>
              <a:t>MCCP process design</a:t>
            </a:r>
          </a:p>
          <a:p>
            <a:pPr marL="800100" lvl="1" indent="-342900">
              <a:spcBef>
                <a:spcPts val="600"/>
              </a:spcBef>
              <a:spcAft>
                <a:spcPts val="600"/>
              </a:spcAft>
              <a:buClr>
                <a:srgbClr val="FF9E16"/>
              </a:buClr>
              <a:buFont typeface="Arial" panose="020B0604020202020204" pitchFamily="34" charset="0"/>
              <a:buChar char="•"/>
              <a:defRPr/>
            </a:pPr>
            <a:r>
              <a:rPr lang="en-US" sz="1600">
                <a:solidFill>
                  <a:srgbClr val="646569"/>
                </a:solidFill>
                <a:latin typeface="Calibri"/>
              </a:rPr>
              <a:t>A “day / cycle in the life” of a rep blueprint</a:t>
            </a:r>
          </a:p>
          <a:p>
            <a:pPr marL="800100" lvl="1" indent="-342900">
              <a:spcBef>
                <a:spcPts val="600"/>
              </a:spcBef>
              <a:spcAft>
                <a:spcPts val="600"/>
              </a:spcAft>
              <a:buClr>
                <a:srgbClr val="FF9E16"/>
              </a:buClr>
              <a:buFont typeface="Arial" panose="020B0604020202020204" pitchFamily="34" charset="0"/>
              <a:buChar char="•"/>
              <a:defRPr/>
            </a:pPr>
            <a:r>
              <a:rPr lang="en-US" sz="1600">
                <a:solidFill>
                  <a:srgbClr val="646569"/>
                </a:solidFill>
                <a:latin typeface="Calibri"/>
              </a:rPr>
              <a:t>Pre-call planning best practice</a:t>
            </a:r>
          </a:p>
          <a:p>
            <a:pPr marL="800100" lvl="1" indent="-342900">
              <a:spcBef>
                <a:spcPts val="600"/>
              </a:spcBef>
              <a:spcAft>
                <a:spcPts val="600"/>
              </a:spcAft>
              <a:buClr>
                <a:srgbClr val="FF9E16"/>
              </a:buClr>
              <a:buFont typeface="Arial" panose="020B0604020202020204" pitchFamily="34" charset="0"/>
              <a:buChar char="•"/>
              <a:defRPr/>
            </a:pPr>
            <a:r>
              <a:rPr lang="en-US" sz="1600">
                <a:solidFill>
                  <a:srgbClr val="646569"/>
                </a:solidFill>
                <a:latin typeface="Calibri"/>
              </a:rPr>
              <a:t>Call execution best practice</a:t>
            </a:r>
          </a:p>
          <a:p>
            <a:pPr marL="800100" lvl="1" indent="-342900">
              <a:spcBef>
                <a:spcPts val="600"/>
              </a:spcBef>
              <a:spcAft>
                <a:spcPts val="600"/>
              </a:spcAft>
              <a:buClr>
                <a:srgbClr val="FF9E16"/>
              </a:buClr>
              <a:buFont typeface="Arial" panose="020B0604020202020204" pitchFamily="34" charset="0"/>
              <a:buChar char="•"/>
              <a:defRPr/>
            </a:pPr>
            <a:r>
              <a:rPr lang="en-US" sz="1600">
                <a:solidFill>
                  <a:srgbClr val="646569"/>
                </a:solidFill>
                <a:latin typeface="Calibri"/>
              </a:rPr>
              <a:t>Post call measurement and next best action best practice</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Create a test environment and develop the updated configuration to reflect the business and technical requirements</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Test / validate new configuration with future end users</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Deploy configuration to the production CRM environment</a:t>
            </a:r>
          </a:p>
        </p:txBody>
      </p:sp>
      <p:pic>
        <p:nvPicPr>
          <p:cNvPr id="14" name="Picture 13">
            <a:extLst>
              <a:ext uri="{FF2B5EF4-FFF2-40B4-BE49-F238E27FC236}">
                <a16:creationId xmlns:a16="http://schemas.microsoft.com/office/drawing/2014/main" id="{5C026984-A537-8D47-A42A-F254553881F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6560" y="1992077"/>
            <a:ext cx="3146270" cy="1485274"/>
          </a:xfrm>
          <a:prstGeom prst="rect">
            <a:avLst/>
          </a:prstGeom>
        </p:spPr>
      </p:pic>
      <p:pic>
        <p:nvPicPr>
          <p:cNvPr id="16" name="Picture 15">
            <a:extLst>
              <a:ext uri="{FF2B5EF4-FFF2-40B4-BE49-F238E27FC236}">
                <a16:creationId xmlns:a16="http://schemas.microsoft.com/office/drawing/2014/main" id="{3D42DB72-7C1B-A843-9850-B2FEFF199A7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43384" y="4421958"/>
            <a:ext cx="1920547" cy="1385538"/>
          </a:xfrm>
          <a:prstGeom prst="rect">
            <a:avLst/>
          </a:prstGeom>
        </p:spPr>
      </p:pic>
      <p:pic>
        <p:nvPicPr>
          <p:cNvPr id="17" name="Picture 16">
            <a:extLst>
              <a:ext uri="{FF2B5EF4-FFF2-40B4-BE49-F238E27FC236}">
                <a16:creationId xmlns:a16="http://schemas.microsoft.com/office/drawing/2014/main" id="{FE3C33BA-BD9A-D84B-9DB4-FC3B0FB09E9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222"/>
          <a:stretch/>
        </p:blipFill>
        <p:spPr>
          <a:xfrm>
            <a:off x="667437" y="4286438"/>
            <a:ext cx="1931251" cy="1385538"/>
          </a:xfrm>
          <a:prstGeom prst="rect">
            <a:avLst/>
          </a:prstGeom>
        </p:spPr>
      </p:pic>
    </p:spTree>
    <p:extLst>
      <p:ext uri="{BB962C8B-B14F-4D97-AF65-F5344CB8AC3E}">
        <p14:creationId xmlns:p14="http://schemas.microsoft.com/office/powerpoint/2010/main" val="56735441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016DD58-F957-1346-8429-B6924E6E0577}"/>
              </a:ext>
            </a:extLst>
          </p:cNvPr>
          <p:cNvSpPr/>
          <p:nvPr/>
        </p:nvSpPr>
        <p:spPr>
          <a:xfrm>
            <a:off x="0" y="0"/>
            <a:ext cx="12192000" cy="11955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F0343857-B3D4-EE4B-B145-594D864007C9}"/>
              </a:ext>
            </a:extLst>
          </p:cNvPr>
          <p:cNvSpPr>
            <a:spLocks noGrp="1"/>
          </p:cNvSpPr>
          <p:nvPr>
            <p:ph type="body" sz="quarter" idx="13"/>
          </p:nvPr>
        </p:nvSpPr>
        <p:spPr>
          <a:xfrm>
            <a:off x="267046" y="748125"/>
            <a:ext cx="11859625" cy="579664"/>
          </a:xfrm>
        </p:spPr>
        <p:txBody>
          <a:bodyPr/>
          <a:lstStyle/>
          <a:p>
            <a:r>
              <a:rPr lang="en-US" sz="1400">
                <a:solidFill>
                  <a:schemeClr val="bg1"/>
                </a:solidFill>
              </a:rPr>
              <a:t>Building on existing training available, create &amp; deploy training needed to effectively deliver omnichannel experiences to HCPS</a:t>
            </a:r>
          </a:p>
        </p:txBody>
      </p:sp>
      <p:sp>
        <p:nvSpPr>
          <p:cNvPr id="3" name="Title 2">
            <a:extLst>
              <a:ext uri="{FF2B5EF4-FFF2-40B4-BE49-F238E27FC236}">
                <a16:creationId xmlns:a16="http://schemas.microsoft.com/office/drawing/2014/main" id="{AD4A8093-39C8-FB4B-A914-1502ADF096F9}"/>
              </a:ext>
            </a:extLst>
          </p:cNvPr>
          <p:cNvSpPr>
            <a:spLocks noGrp="1"/>
          </p:cNvSpPr>
          <p:nvPr>
            <p:ph type="title"/>
          </p:nvPr>
        </p:nvSpPr>
        <p:spPr>
          <a:xfrm>
            <a:off x="243639" y="161292"/>
            <a:ext cx="11639394" cy="579665"/>
          </a:xfrm>
        </p:spPr>
        <p:txBody>
          <a:bodyPr/>
          <a:lstStyle/>
          <a:p>
            <a:r>
              <a:rPr lang="en-US" sz="2800">
                <a:solidFill>
                  <a:schemeClr val="bg1"/>
                </a:solidFill>
              </a:rPr>
              <a:t>3.1 Create &amp; deploy training to deliver omnichannel experiences</a:t>
            </a:r>
          </a:p>
        </p:txBody>
      </p:sp>
      <p:sp>
        <p:nvSpPr>
          <p:cNvPr id="13" name="Rectangle 12">
            <a:extLst>
              <a:ext uri="{FF2B5EF4-FFF2-40B4-BE49-F238E27FC236}">
                <a16:creationId xmlns:a16="http://schemas.microsoft.com/office/drawing/2014/main" id="{15148C33-FF4C-5D47-A4E3-6161AC78335B}"/>
              </a:ext>
            </a:extLst>
          </p:cNvPr>
          <p:cNvSpPr/>
          <p:nvPr/>
        </p:nvSpPr>
        <p:spPr>
          <a:xfrm>
            <a:off x="313421" y="1512850"/>
            <a:ext cx="11429559" cy="4809891"/>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610A673C-FC63-3F4C-9716-0668BFC2367D}"/>
              </a:ext>
            </a:extLst>
          </p:cNvPr>
          <p:cNvSpPr/>
          <p:nvPr/>
        </p:nvSpPr>
        <p:spPr>
          <a:xfrm>
            <a:off x="11742980" y="1514029"/>
            <a:ext cx="151798" cy="48080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6" name="Picture 35">
            <a:extLst>
              <a:ext uri="{FF2B5EF4-FFF2-40B4-BE49-F238E27FC236}">
                <a16:creationId xmlns:a16="http://schemas.microsoft.com/office/drawing/2014/main" id="{93CBBE3D-F463-C749-91A9-B9880DF4592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9020" y="1662059"/>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39" name="TextBox 38">
            <a:extLst>
              <a:ext uri="{FF2B5EF4-FFF2-40B4-BE49-F238E27FC236}">
                <a16:creationId xmlns:a16="http://schemas.microsoft.com/office/drawing/2014/main" id="{E9775BDA-1CD2-2B43-83C6-5D482E1E8AAF}"/>
              </a:ext>
            </a:extLst>
          </p:cNvPr>
          <p:cNvSpPr txBox="1"/>
          <p:nvPr/>
        </p:nvSpPr>
        <p:spPr>
          <a:xfrm>
            <a:off x="4406139" y="1660770"/>
            <a:ext cx="7090114" cy="2985433"/>
          </a:xfrm>
          <a:prstGeom prst="rect">
            <a:avLst/>
          </a:prstGeom>
          <a:noFill/>
        </p:spPr>
        <p:txBody>
          <a:bodyPr wrap="square" rtlCol="0">
            <a:spAutoFit/>
          </a:bodyPr>
          <a:lstStyle/>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Identify a group of sales representatives as a review committee and review cycles</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Agree on key design principles for the Instructor-led training on omnichannel  (theory vs. exercise, key themes, language, duration &amp; format, etc.)</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Test &amp; review proposed table of content and necessary instructions required for a train-the-trainer delivery (slide notes, timings, tips &amp; tricks)</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Develop training material and test &amp; iterate with review committee</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Deliver a train-the-trainer session and handover training materials</a:t>
            </a:r>
          </a:p>
        </p:txBody>
      </p:sp>
      <p:sp>
        <p:nvSpPr>
          <p:cNvPr id="15" name="Rectangle 14">
            <a:extLst>
              <a:ext uri="{FF2B5EF4-FFF2-40B4-BE49-F238E27FC236}">
                <a16:creationId xmlns:a16="http://schemas.microsoft.com/office/drawing/2014/main" id="{3AEE5D2B-8982-9049-AFAE-7DEEE714BF9D}"/>
              </a:ext>
            </a:extLst>
          </p:cNvPr>
          <p:cNvSpPr/>
          <p:nvPr/>
        </p:nvSpPr>
        <p:spPr>
          <a:xfrm>
            <a:off x="556333" y="1713771"/>
            <a:ext cx="3238250" cy="23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FF9E16"/>
                </a:solidFill>
                <a:latin typeface="Calibri"/>
              </a:rPr>
              <a:t>Hand’s on omnichannel training </a:t>
            </a:r>
            <a:endParaRPr kumimoji="0" lang="en-US" sz="1100" b="0" i="0" u="none" strike="noStrike" kern="1200" cap="none" spc="0" normalizeH="0" baseline="0" noProof="0">
              <a:ln>
                <a:noFill/>
              </a:ln>
              <a:solidFill>
                <a:srgbClr val="FF9E16"/>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1B37CD4B-6CA1-2849-99D2-88658A270F8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9020" y="3960317"/>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87FDBA1E-4F87-5945-AE0C-F2132CCFB273}"/>
              </a:ext>
            </a:extLst>
          </p:cNvPr>
          <p:cNvSpPr/>
          <p:nvPr/>
        </p:nvSpPr>
        <p:spPr>
          <a:xfrm>
            <a:off x="556333" y="4012029"/>
            <a:ext cx="3238250" cy="23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FF9E16"/>
                </a:solidFill>
                <a:latin typeface="Calibri"/>
              </a:rPr>
              <a:t>Provide a hand over and TTT session</a:t>
            </a:r>
            <a:endParaRPr kumimoji="0" lang="en-US" sz="1100" b="0" i="0" u="none" strike="noStrike" kern="1200" cap="none" spc="0" normalizeH="0" baseline="0" noProof="0">
              <a:ln>
                <a:noFill/>
              </a:ln>
              <a:solidFill>
                <a:srgbClr val="FF9E16"/>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68052513-B515-C64A-8EED-F841884058B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2698" y="1931015"/>
            <a:ext cx="3531589" cy="1593354"/>
          </a:xfrm>
          <a:prstGeom prst="rect">
            <a:avLst/>
          </a:prstGeom>
        </p:spPr>
      </p:pic>
      <p:pic>
        <p:nvPicPr>
          <p:cNvPr id="23" name="Picture 22">
            <a:extLst>
              <a:ext uri="{FF2B5EF4-FFF2-40B4-BE49-F238E27FC236}">
                <a16:creationId xmlns:a16="http://schemas.microsoft.com/office/drawing/2014/main" id="{26F84E37-7822-E040-A6F5-E4FD6CC3E88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5745" y="4342663"/>
            <a:ext cx="1992287" cy="1118017"/>
          </a:xfrm>
          <a:prstGeom prst="rect">
            <a:avLst/>
          </a:prstGeom>
        </p:spPr>
      </p:pic>
      <p:pic>
        <p:nvPicPr>
          <p:cNvPr id="19" name="Picture 18">
            <a:extLst>
              <a:ext uri="{FF2B5EF4-FFF2-40B4-BE49-F238E27FC236}">
                <a16:creationId xmlns:a16="http://schemas.microsoft.com/office/drawing/2014/main" id="{DDFCDD23-C5BF-C74D-9528-5C245B2583A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121467" y="5048469"/>
            <a:ext cx="1924963" cy="712257"/>
          </a:xfrm>
          <a:prstGeom prst="rect">
            <a:avLst/>
          </a:prstGeom>
        </p:spPr>
      </p:pic>
    </p:spTree>
    <p:extLst>
      <p:ext uri="{BB962C8B-B14F-4D97-AF65-F5344CB8AC3E}">
        <p14:creationId xmlns:p14="http://schemas.microsoft.com/office/powerpoint/2010/main" val="167451782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016DD58-F957-1346-8429-B6924E6E0577}"/>
              </a:ext>
            </a:extLst>
          </p:cNvPr>
          <p:cNvSpPr/>
          <p:nvPr/>
        </p:nvSpPr>
        <p:spPr>
          <a:xfrm>
            <a:off x="0" y="0"/>
            <a:ext cx="12192000" cy="11955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F0343857-B3D4-EE4B-B145-594D864007C9}"/>
              </a:ext>
            </a:extLst>
          </p:cNvPr>
          <p:cNvSpPr>
            <a:spLocks noGrp="1"/>
          </p:cNvSpPr>
          <p:nvPr>
            <p:ph type="body" sz="quarter" idx="13"/>
          </p:nvPr>
        </p:nvSpPr>
        <p:spPr>
          <a:xfrm>
            <a:off x="267046" y="748125"/>
            <a:ext cx="11924954" cy="579664"/>
          </a:xfrm>
        </p:spPr>
        <p:txBody>
          <a:bodyPr/>
          <a:lstStyle/>
          <a:p>
            <a:r>
              <a:rPr lang="en-US" sz="1400">
                <a:solidFill>
                  <a:schemeClr val="bg1"/>
                </a:solidFill>
              </a:rPr>
              <a:t>Work with the L&amp;D team to identify where the new training material would be relevant and support updating the curriculums</a:t>
            </a:r>
          </a:p>
        </p:txBody>
      </p:sp>
      <p:sp>
        <p:nvSpPr>
          <p:cNvPr id="3" name="Title 2">
            <a:extLst>
              <a:ext uri="{FF2B5EF4-FFF2-40B4-BE49-F238E27FC236}">
                <a16:creationId xmlns:a16="http://schemas.microsoft.com/office/drawing/2014/main" id="{AD4A8093-39C8-FB4B-A914-1502ADF096F9}"/>
              </a:ext>
            </a:extLst>
          </p:cNvPr>
          <p:cNvSpPr>
            <a:spLocks noGrp="1"/>
          </p:cNvSpPr>
          <p:nvPr>
            <p:ph type="title"/>
          </p:nvPr>
        </p:nvSpPr>
        <p:spPr>
          <a:xfrm>
            <a:off x="243639" y="161292"/>
            <a:ext cx="11639394" cy="579665"/>
          </a:xfrm>
        </p:spPr>
        <p:txBody>
          <a:bodyPr/>
          <a:lstStyle/>
          <a:p>
            <a:r>
              <a:rPr lang="en-US" sz="2800">
                <a:solidFill>
                  <a:schemeClr val="bg1"/>
                </a:solidFill>
              </a:rPr>
              <a:t>3.2. Update the learning &amp; development journey</a:t>
            </a:r>
          </a:p>
        </p:txBody>
      </p:sp>
      <p:sp>
        <p:nvSpPr>
          <p:cNvPr id="13" name="Rectangle 12">
            <a:extLst>
              <a:ext uri="{FF2B5EF4-FFF2-40B4-BE49-F238E27FC236}">
                <a16:creationId xmlns:a16="http://schemas.microsoft.com/office/drawing/2014/main" id="{15148C33-FF4C-5D47-A4E3-6161AC78335B}"/>
              </a:ext>
            </a:extLst>
          </p:cNvPr>
          <p:cNvSpPr/>
          <p:nvPr/>
        </p:nvSpPr>
        <p:spPr>
          <a:xfrm>
            <a:off x="313421" y="1512850"/>
            <a:ext cx="11429559" cy="264984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610A673C-FC63-3F4C-9716-0668BFC2367D}"/>
              </a:ext>
            </a:extLst>
          </p:cNvPr>
          <p:cNvSpPr/>
          <p:nvPr/>
        </p:nvSpPr>
        <p:spPr>
          <a:xfrm>
            <a:off x="11742980" y="1514029"/>
            <a:ext cx="149633" cy="26486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6" name="Picture 35">
            <a:extLst>
              <a:ext uri="{FF2B5EF4-FFF2-40B4-BE49-F238E27FC236}">
                <a16:creationId xmlns:a16="http://schemas.microsoft.com/office/drawing/2014/main" id="{93CBBE3D-F463-C749-91A9-B9880DF4592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85" y="1654034"/>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39" name="TextBox 38">
            <a:extLst>
              <a:ext uri="{FF2B5EF4-FFF2-40B4-BE49-F238E27FC236}">
                <a16:creationId xmlns:a16="http://schemas.microsoft.com/office/drawing/2014/main" id="{E9775BDA-1CD2-2B43-83C6-5D482E1E8AAF}"/>
              </a:ext>
            </a:extLst>
          </p:cNvPr>
          <p:cNvSpPr txBox="1"/>
          <p:nvPr/>
        </p:nvSpPr>
        <p:spPr>
          <a:xfrm>
            <a:off x="4347896" y="1588783"/>
            <a:ext cx="7090114" cy="2508379"/>
          </a:xfrm>
          <a:prstGeom prst="rect">
            <a:avLst/>
          </a:prstGeom>
          <a:noFill/>
        </p:spPr>
        <p:txBody>
          <a:bodyPr wrap="square" rtlCol="0">
            <a:spAutoFit/>
          </a:bodyPr>
          <a:lstStyle/>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Understand the current curriculum for sales including differences per roles &amp; markets, priority trainings, sequence of trainings, etc.</a:t>
            </a:r>
          </a:p>
          <a:p>
            <a:pPr marL="342900" indent="-342900">
              <a:spcBef>
                <a:spcPts val="1200"/>
              </a:spcBef>
              <a:spcAft>
                <a:spcPts val="600"/>
              </a:spcAft>
              <a:buClr>
                <a:srgbClr val="FF9E16"/>
              </a:buClr>
              <a:buFont typeface="+mj-lt"/>
              <a:buAutoNum type="arabicPeriod"/>
              <a:defRPr/>
            </a:pPr>
            <a:r>
              <a:rPr lang="en-US" sz="1600">
                <a:solidFill>
                  <a:srgbClr val="646569"/>
                </a:solidFill>
              </a:rPr>
              <a:t>Work closely with the L&amp;D team to understand where the new training would better fit in the current curriculum </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Identify key learning interventions to support prioritization of training rollout</a:t>
            </a:r>
          </a:p>
          <a:p>
            <a:pPr marL="342900" marR="0" lvl="0" indent="-342900" algn="l" defTabSz="914400" rtl="0" eaLnBrk="1" fontAlgn="auto" latinLnBrk="0" hangingPunct="1">
              <a:spcBef>
                <a:spcPts val="1200"/>
              </a:spcBef>
              <a:spcAft>
                <a:spcPts val="600"/>
              </a:spcAft>
              <a:buClr>
                <a:srgbClr val="FF9E16"/>
              </a:buClr>
              <a:buSzTx/>
              <a:buFont typeface="+mj-lt"/>
              <a:buAutoNum type="arabicPeriod"/>
              <a:tabLst/>
              <a:defRPr/>
            </a:pPr>
            <a:r>
              <a:rPr lang="en-US" sz="1600">
                <a:solidFill>
                  <a:srgbClr val="646569"/>
                </a:solidFill>
                <a:latin typeface="Calibri"/>
              </a:rPr>
              <a:t>Support in the identification of other relevant formats besides Instructor-Led to deliver the training created</a:t>
            </a:r>
          </a:p>
        </p:txBody>
      </p:sp>
      <p:sp>
        <p:nvSpPr>
          <p:cNvPr id="5" name="TextBox 4">
            <a:extLst>
              <a:ext uri="{FF2B5EF4-FFF2-40B4-BE49-F238E27FC236}">
                <a16:creationId xmlns:a16="http://schemas.microsoft.com/office/drawing/2014/main" id="{E4AFC748-4E3B-AC4A-AC9E-488BA0D1DCF1}"/>
              </a:ext>
            </a:extLst>
          </p:cNvPr>
          <p:cNvSpPr txBox="1"/>
          <p:nvPr/>
        </p:nvSpPr>
        <p:spPr>
          <a:xfrm>
            <a:off x="3428984" y="1948499"/>
            <a:ext cx="735526" cy="168059"/>
          </a:xfrm>
          <a:prstGeom prst="rect">
            <a:avLst/>
          </a:prstGeom>
          <a:noFill/>
        </p:spPr>
        <p:txBody>
          <a:bodyPr wrap="square" rtlCol="0">
            <a:noAutofit/>
          </a:bodyPr>
          <a:lstStyle/>
          <a:p>
            <a:pPr marR="0" algn="ctr" defTabSz="914400" rtl="0" eaLnBrk="1" fontAlgn="auto" latinLnBrk="0" hangingPunct="1">
              <a:lnSpc>
                <a:spcPct val="80000"/>
              </a:lnSpc>
              <a:spcBef>
                <a:spcPts val="1200"/>
              </a:spcBef>
              <a:spcAft>
                <a:spcPts val="0"/>
              </a:spcAft>
              <a:buClr>
                <a:schemeClr val="tx2"/>
              </a:buClr>
              <a:buSzTx/>
              <a:tabLst/>
            </a:pPr>
            <a:r>
              <a:rPr lang="en-US" sz="600" b="1"/>
              <a:t>Key intervention areas</a:t>
            </a:r>
          </a:p>
        </p:txBody>
      </p:sp>
      <p:pic>
        <p:nvPicPr>
          <p:cNvPr id="16" name="Picture 15">
            <a:extLst>
              <a:ext uri="{FF2B5EF4-FFF2-40B4-BE49-F238E27FC236}">
                <a16:creationId xmlns:a16="http://schemas.microsoft.com/office/drawing/2014/main" id="{0AE4FA48-4F11-0344-8320-2065EF0459E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81349" y="2731284"/>
            <a:ext cx="118737" cy="169814"/>
          </a:xfrm>
          <a:prstGeom prst="rect">
            <a:avLst/>
          </a:prstGeom>
        </p:spPr>
      </p:pic>
      <p:pic>
        <p:nvPicPr>
          <p:cNvPr id="17" name="Picture 16">
            <a:extLst>
              <a:ext uri="{FF2B5EF4-FFF2-40B4-BE49-F238E27FC236}">
                <a16:creationId xmlns:a16="http://schemas.microsoft.com/office/drawing/2014/main" id="{C6856F49-4D4F-164E-A331-24183F47D9A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81349" y="2486247"/>
            <a:ext cx="118737" cy="169814"/>
          </a:xfrm>
          <a:prstGeom prst="rect">
            <a:avLst/>
          </a:prstGeom>
        </p:spPr>
      </p:pic>
      <p:pic>
        <p:nvPicPr>
          <p:cNvPr id="18" name="Picture 17">
            <a:extLst>
              <a:ext uri="{FF2B5EF4-FFF2-40B4-BE49-F238E27FC236}">
                <a16:creationId xmlns:a16="http://schemas.microsoft.com/office/drawing/2014/main" id="{9333B3F9-9556-DA4B-A269-2E6BE3FA857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81349" y="2241209"/>
            <a:ext cx="118737" cy="169814"/>
          </a:xfrm>
          <a:prstGeom prst="rect">
            <a:avLst/>
          </a:prstGeom>
        </p:spPr>
      </p:pic>
      <p:sp>
        <p:nvSpPr>
          <p:cNvPr id="6" name="TextBox 5">
            <a:extLst>
              <a:ext uri="{FF2B5EF4-FFF2-40B4-BE49-F238E27FC236}">
                <a16:creationId xmlns:a16="http://schemas.microsoft.com/office/drawing/2014/main" id="{88A55A1D-9F5F-5B48-81CE-AF7C53B8AE6D}"/>
              </a:ext>
            </a:extLst>
          </p:cNvPr>
          <p:cNvSpPr txBox="1"/>
          <p:nvPr/>
        </p:nvSpPr>
        <p:spPr>
          <a:xfrm>
            <a:off x="3564463" y="2225657"/>
            <a:ext cx="633800" cy="204030"/>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300"/>
              <a:t>Cross-functional training with medical to build virtual relationships (ELITE)</a:t>
            </a:r>
          </a:p>
        </p:txBody>
      </p:sp>
      <p:sp>
        <p:nvSpPr>
          <p:cNvPr id="19" name="TextBox 18">
            <a:extLst>
              <a:ext uri="{FF2B5EF4-FFF2-40B4-BE49-F238E27FC236}">
                <a16:creationId xmlns:a16="http://schemas.microsoft.com/office/drawing/2014/main" id="{3485AEB7-D45B-2648-8CF7-4A3EF07F420C}"/>
              </a:ext>
            </a:extLst>
          </p:cNvPr>
          <p:cNvSpPr txBox="1"/>
          <p:nvPr/>
        </p:nvSpPr>
        <p:spPr>
          <a:xfrm>
            <a:off x="3564463" y="2475438"/>
            <a:ext cx="633800" cy="204030"/>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300"/>
              <a:t>Training on how to build partnerships with accounts and budling an account plan</a:t>
            </a:r>
          </a:p>
        </p:txBody>
      </p:sp>
      <p:sp>
        <p:nvSpPr>
          <p:cNvPr id="20" name="TextBox 19">
            <a:extLst>
              <a:ext uri="{FF2B5EF4-FFF2-40B4-BE49-F238E27FC236}">
                <a16:creationId xmlns:a16="http://schemas.microsoft.com/office/drawing/2014/main" id="{4A19C412-A998-C24E-B3BD-45A7EBD4F4F9}"/>
              </a:ext>
            </a:extLst>
          </p:cNvPr>
          <p:cNvSpPr txBox="1"/>
          <p:nvPr/>
        </p:nvSpPr>
        <p:spPr>
          <a:xfrm>
            <a:off x="3564463" y="2725219"/>
            <a:ext cx="633800" cy="167097"/>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300"/>
              <a:t>Soft-skill training on time-management </a:t>
            </a:r>
          </a:p>
        </p:txBody>
      </p:sp>
      <p:pic>
        <p:nvPicPr>
          <p:cNvPr id="3074" name="Picture 2">
            <a:extLst>
              <a:ext uri="{FF2B5EF4-FFF2-40B4-BE49-F238E27FC236}">
                <a16:creationId xmlns:a16="http://schemas.microsoft.com/office/drawing/2014/main" id="{BD89437E-0626-7D4F-8772-46D4584DAB2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481280" y="2963367"/>
            <a:ext cx="119095" cy="16938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ACDF447-D9C8-234D-84B3-4EC38D51C1D8}"/>
              </a:ext>
            </a:extLst>
          </p:cNvPr>
          <p:cNvSpPr txBox="1"/>
          <p:nvPr/>
        </p:nvSpPr>
        <p:spPr>
          <a:xfrm>
            <a:off x="3561611" y="2972149"/>
            <a:ext cx="633800" cy="240963"/>
          </a:xfrm>
          <a:prstGeom prst="rect">
            <a:avLst/>
          </a:prstGeom>
          <a:noFill/>
        </p:spPr>
        <p:txBody>
          <a:bodyPr wrap="squar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300"/>
              <a:t>Build analytics skills to better understand channel performance and adapt interventions</a:t>
            </a:r>
          </a:p>
        </p:txBody>
      </p:sp>
      <p:pic>
        <p:nvPicPr>
          <p:cNvPr id="22" name="Picture 21">
            <a:extLst>
              <a:ext uri="{FF2B5EF4-FFF2-40B4-BE49-F238E27FC236}">
                <a16:creationId xmlns:a16="http://schemas.microsoft.com/office/drawing/2014/main" id="{ED013E6D-7F7F-0C48-A2B8-FE396A9947C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5359" y="1863359"/>
            <a:ext cx="2804930" cy="1718840"/>
          </a:xfrm>
          <a:prstGeom prst="rect">
            <a:avLst/>
          </a:prstGeom>
        </p:spPr>
      </p:pic>
      <p:sp>
        <p:nvSpPr>
          <p:cNvPr id="23" name="Rectangle 22">
            <a:extLst>
              <a:ext uri="{FF2B5EF4-FFF2-40B4-BE49-F238E27FC236}">
                <a16:creationId xmlns:a16="http://schemas.microsoft.com/office/drawing/2014/main" id="{B85193B6-EE6E-9848-A384-0BFC23D88EC9}"/>
              </a:ext>
            </a:extLst>
          </p:cNvPr>
          <p:cNvSpPr/>
          <p:nvPr/>
        </p:nvSpPr>
        <p:spPr>
          <a:xfrm>
            <a:off x="558498" y="1705746"/>
            <a:ext cx="3238250" cy="23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FF9E16"/>
                </a:solidFill>
                <a:latin typeface="Calibri"/>
              </a:rPr>
              <a:t>Updated curriculum </a:t>
            </a:r>
            <a:endParaRPr kumimoji="0" lang="en-US" sz="1100" b="0" i="0" u="none" strike="noStrike" kern="1200" cap="none" spc="0" normalizeH="0" baseline="0" noProof="0">
              <a:ln>
                <a:noFill/>
              </a:ln>
              <a:solidFill>
                <a:srgbClr val="FF9E16"/>
              </a:solidFill>
              <a:effectLst/>
              <a:uLnTx/>
              <a:uFillTx/>
              <a:latin typeface="Calibri"/>
              <a:ea typeface="+mn-ea"/>
              <a:cs typeface="+mn-cs"/>
            </a:endParaRPr>
          </a:p>
        </p:txBody>
      </p:sp>
    </p:spTree>
    <p:extLst>
      <p:ext uri="{BB962C8B-B14F-4D97-AF65-F5344CB8AC3E}">
        <p14:creationId xmlns:p14="http://schemas.microsoft.com/office/powerpoint/2010/main" val="223929793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745BC4-48FB-E346-A080-59BF8E54D1A9}"/>
              </a:ext>
            </a:extLst>
          </p:cNvPr>
          <p:cNvSpPr>
            <a:spLocks noGrp="1"/>
          </p:cNvSpPr>
          <p:nvPr>
            <p:ph type="title"/>
          </p:nvPr>
        </p:nvSpPr>
        <p:spPr/>
        <p:txBody>
          <a:bodyPr vert="horz" lIns="91440" tIns="45720" rIns="91440" bIns="45720" rtlCol="0" anchor="ctr" anchorCtr="0">
            <a:noAutofit/>
          </a:bodyPr>
          <a:lstStyle/>
          <a:p>
            <a:r>
              <a:rPr lang="en-US"/>
              <a:t>It is essential to build on the current insight, strategy and planning and translate this into a practical execution plan</a:t>
            </a:r>
          </a:p>
        </p:txBody>
      </p:sp>
      <p:sp>
        <p:nvSpPr>
          <p:cNvPr id="4" name="TextBox 3">
            <a:extLst>
              <a:ext uri="{FF2B5EF4-FFF2-40B4-BE49-F238E27FC236}">
                <a16:creationId xmlns:a16="http://schemas.microsoft.com/office/drawing/2014/main" id="{62255291-A0E6-B04E-B401-A1F914908662}"/>
              </a:ext>
            </a:extLst>
          </p:cNvPr>
          <p:cNvSpPr txBox="1"/>
          <p:nvPr/>
        </p:nvSpPr>
        <p:spPr>
          <a:xfrm>
            <a:off x="3875049" y="2063018"/>
            <a:ext cx="7522590" cy="3932743"/>
          </a:xfrm>
          <a:prstGeom prst="rect">
            <a:avLst/>
          </a:prstGeom>
          <a:noFill/>
        </p:spPr>
        <p:txBody>
          <a:bodyPr wrap="square" rtlCol="0">
            <a:spAutoFit/>
          </a:bodyPr>
          <a:lstStyle/>
          <a:p>
            <a:pPr marL="630238" indent="-279400">
              <a:spcBef>
                <a:spcPts val="1200"/>
              </a:spcBef>
              <a:buClr>
                <a:schemeClr val="tx2"/>
              </a:buClr>
              <a:buFont typeface="Arial" panose="020B0604020202020204" pitchFamily="34" charset="0"/>
              <a:buChar char="•"/>
            </a:pPr>
            <a:r>
              <a:rPr lang="en-US"/>
              <a:t>Attitudinal customer segmentation</a:t>
            </a:r>
          </a:p>
          <a:p>
            <a:pPr marL="630238" indent="-279400">
              <a:spcBef>
                <a:spcPts val="1200"/>
              </a:spcBef>
              <a:buClr>
                <a:schemeClr val="tx2"/>
              </a:buClr>
              <a:buFont typeface="Arial" panose="020B0604020202020204" pitchFamily="34" charset="0"/>
              <a:buChar char="•"/>
            </a:pPr>
            <a:r>
              <a:rPr lang="en-US"/>
              <a:t>Customer prioritization </a:t>
            </a:r>
          </a:p>
          <a:p>
            <a:pPr marL="630238" indent="-279400">
              <a:spcBef>
                <a:spcPts val="1200"/>
              </a:spcBef>
              <a:buClr>
                <a:schemeClr val="tx2"/>
              </a:buClr>
              <a:buFont typeface="Arial" panose="020B0604020202020204" pitchFamily="34" charset="0"/>
              <a:buChar char="•"/>
            </a:pPr>
            <a:r>
              <a:rPr lang="en-US"/>
              <a:t>Channel volume definition and different engagement frameworks </a:t>
            </a:r>
          </a:p>
          <a:p>
            <a:pPr marL="630238" indent="-279400">
              <a:spcBef>
                <a:spcPts val="1200"/>
              </a:spcBef>
              <a:buClr>
                <a:schemeClr val="tx2"/>
              </a:buClr>
              <a:buFont typeface="Arial" panose="020B0604020202020204" pitchFamily="34" charset="0"/>
              <a:buChar char="•"/>
            </a:pPr>
            <a:r>
              <a:rPr lang="en-US"/>
              <a:t>Field force structure and territory allocation</a:t>
            </a:r>
          </a:p>
          <a:p>
            <a:pPr marL="630238" indent="-279400">
              <a:spcBef>
                <a:spcPts val="1200"/>
              </a:spcBef>
              <a:buClr>
                <a:schemeClr val="tx2"/>
              </a:buClr>
              <a:buFont typeface="Arial" panose="020B0604020202020204" pitchFamily="34" charset="0"/>
              <a:buChar char="•"/>
            </a:pPr>
            <a:r>
              <a:rPr lang="en-US"/>
              <a:t>Competency frameworks for sales (Elite Performance)</a:t>
            </a:r>
          </a:p>
          <a:p>
            <a:pPr marL="630238" indent="-279400">
              <a:spcBef>
                <a:spcPts val="1200"/>
              </a:spcBef>
              <a:buClr>
                <a:schemeClr val="tx2"/>
              </a:buClr>
              <a:buFont typeface="Arial" panose="020B0604020202020204" pitchFamily="34" charset="0"/>
              <a:buChar char="•"/>
            </a:pPr>
            <a:r>
              <a:rPr lang="en-US"/>
              <a:t>Customer Journey definition – in progress</a:t>
            </a:r>
          </a:p>
          <a:p>
            <a:pPr marL="630238" indent="-279400">
              <a:spcBef>
                <a:spcPts val="1200"/>
              </a:spcBef>
              <a:buClr>
                <a:schemeClr val="tx2"/>
              </a:buClr>
              <a:buFont typeface="Arial" panose="020B0604020202020204" pitchFamily="34" charset="0"/>
              <a:buChar char="•"/>
            </a:pPr>
            <a:r>
              <a:rPr lang="en-US"/>
              <a:t>Etc.</a:t>
            </a:r>
          </a:p>
          <a:p>
            <a:pPr marL="285750" indent="-285750">
              <a:lnSpc>
                <a:spcPct val="80000"/>
              </a:lnSpc>
              <a:spcBef>
                <a:spcPts val="1200"/>
              </a:spcBef>
              <a:buClr>
                <a:schemeClr val="tx2"/>
              </a:buClr>
              <a:buFont typeface="Arial" panose="020B0604020202020204" pitchFamily="34" charset="0"/>
              <a:buChar char="•"/>
            </a:pPr>
            <a:endParaRPr lang="en-US"/>
          </a:p>
          <a:p>
            <a:pPr>
              <a:lnSpc>
                <a:spcPct val="80000"/>
              </a:lnSpc>
              <a:spcBef>
                <a:spcPts val="1200"/>
              </a:spcBef>
              <a:buClr>
                <a:schemeClr val="tx2"/>
              </a:buClr>
            </a:pPr>
            <a:r>
              <a:rPr lang="en-US"/>
              <a:t>Translating the strategic work done so far into tangible actions for each market is the next step </a:t>
            </a:r>
          </a:p>
        </p:txBody>
      </p:sp>
      <p:pic>
        <p:nvPicPr>
          <p:cNvPr id="7" name="Graphic 6" descr="Building Brick Wall outline">
            <a:extLst>
              <a:ext uri="{FF2B5EF4-FFF2-40B4-BE49-F238E27FC236}">
                <a16:creationId xmlns:a16="http://schemas.microsoft.com/office/drawing/2014/main" id="{C7432D0A-F8F0-8D40-B3AD-069B7CBEC5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5637" y="1952948"/>
            <a:ext cx="3447934" cy="3447934"/>
          </a:xfrm>
          <a:prstGeom prst="rect">
            <a:avLst/>
          </a:prstGeom>
        </p:spPr>
      </p:pic>
      <p:sp>
        <p:nvSpPr>
          <p:cNvPr id="8" name="Rectangle 7">
            <a:extLst>
              <a:ext uri="{FF2B5EF4-FFF2-40B4-BE49-F238E27FC236}">
                <a16:creationId xmlns:a16="http://schemas.microsoft.com/office/drawing/2014/main" id="{2DE84C0A-5584-C94E-A277-91A10CECB0A1}"/>
              </a:ext>
            </a:extLst>
          </p:cNvPr>
          <p:cNvSpPr/>
          <p:nvPr/>
        </p:nvSpPr>
        <p:spPr>
          <a:xfrm>
            <a:off x="276303" y="1457118"/>
            <a:ext cx="10997938" cy="400110"/>
          </a:xfrm>
          <a:prstGeom prst="rect">
            <a:avLst/>
          </a:prstGeom>
        </p:spPr>
        <p:txBody>
          <a:bodyPr wrap="square">
            <a:spAutoFit/>
          </a:bodyPr>
          <a:lstStyle/>
          <a:p>
            <a:pPr>
              <a:spcBef>
                <a:spcPts val="1200"/>
              </a:spcBef>
              <a:buClr>
                <a:schemeClr val="tx2"/>
              </a:buClr>
            </a:pPr>
            <a:r>
              <a:rPr lang="en-US" sz="2000"/>
              <a:t>Galapagos has been working to define the strategic elements of its go-to-market model, including:</a:t>
            </a:r>
          </a:p>
        </p:txBody>
      </p:sp>
    </p:spTree>
    <p:extLst>
      <p:ext uri="{BB962C8B-B14F-4D97-AF65-F5344CB8AC3E}">
        <p14:creationId xmlns:p14="http://schemas.microsoft.com/office/powerpoint/2010/main" val="364165026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016DD58-F957-1346-8429-B6924E6E0577}"/>
              </a:ext>
            </a:extLst>
          </p:cNvPr>
          <p:cNvSpPr/>
          <p:nvPr/>
        </p:nvSpPr>
        <p:spPr>
          <a:xfrm>
            <a:off x="0" y="-9832"/>
            <a:ext cx="12192000" cy="1195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F0343857-B3D4-EE4B-B145-594D864007C9}"/>
              </a:ext>
            </a:extLst>
          </p:cNvPr>
          <p:cNvSpPr>
            <a:spLocks noGrp="1"/>
          </p:cNvSpPr>
          <p:nvPr>
            <p:ph type="body" sz="quarter" idx="13"/>
          </p:nvPr>
        </p:nvSpPr>
        <p:spPr>
          <a:xfrm>
            <a:off x="267046" y="748125"/>
            <a:ext cx="11859625" cy="579664"/>
          </a:xfrm>
        </p:spPr>
        <p:txBody>
          <a:bodyPr/>
          <a:lstStyle/>
          <a:p>
            <a:r>
              <a:rPr lang="en-US" sz="1400">
                <a:solidFill>
                  <a:schemeClr val="bg1"/>
                </a:solidFill>
              </a:rPr>
              <a:t>Create the plan for deploying the model within pilot markets, and tailor approach and materials to specific archetypes</a:t>
            </a:r>
          </a:p>
        </p:txBody>
      </p:sp>
      <p:sp>
        <p:nvSpPr>
          <p:cNvPr id="3" name="Title 2">
            <a:extLst>
              <a:ext uri="{FF2B5EF4-FFF2-40B4-BE49-F238E27FC236}">
                <a16:creationId xmlns:a16="http://schemas.microsoft.com/office/drawing/2014/main" id="{AD4A8093-39C8-FB4B-A914-1502ADF096F9}"/>
              </a:ext>
            </a:extLst>
          </p:cNvPr>
          <p:cNvSpPr>
            <a:spLocks noGrp="1"/>
          </p:cNvSpPr>
          <p:nvPr>
            <p:ph type="title"/>
          </p:nvPr>
        </p:nvSpPr>
        <p:spPr>
          <a:xfrm>
            <a:off x="243639" y="161292"/>
            <a:ext cx="11639394" cy="579665"/>
          </a:xfrm>
        </p:spPr>
        <p:txBody>
          <a:bodyPr/>
          <a:lstStyle/>
          <a:p>
            <a:r>
              <a:rPr lang="en-US" sz="2800">
                <a:solidFill>
                  <a:schemeClr val="bg1"/>
                </a:solidFill>
              </a:rPr>
              <a:t>4.1. Build and execute the pilot deployment roadmap</a:t>
            </a:r>
          </a:p>
        </p:txBody>
      </p:sp>
      <p:sp>
        <p:nvSpPr>
          <p:cNvPr id="13" name="Rectangle 12">
            <a:extLst>
              <a:ext uri="{FF2B5EF4-FFF2-40B4-BE49-F238E27FC236}">
                <a16:creationId xmlns:a16="http://schemas.microsoft.com/office/drawing/2014/main" id="{15148C33-FF4C-5D47-A4E3-6161AC78335B}"/>
              </a:ext>
            </a:extLst>
          </p:cNvPr>
          <p:cNvSpPr/>
          <p:nvPr/>
        </p:nvSpPr>
        <p:spPr>
          <a:xfrm>
            <a:off x="313421" y="1512850"/>
            <a:ext cx="11429559" cy="478855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610A673C-FC63-3F4C-9716-0668BFC2367D}"/>
              </a:ext>
            </a:extLst>
          </p:cNvPr>
          <p:cNvSpPr/>
          <p:nvPr/>
        </p:nvSpPr>
        <p:spPr>
          <a:xfrm>
            <a:off x="11742980" y="1514029"/>
            <a:ext cx="135599" cy="47873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6" name="Picture 35">
            <a:extLst>
              <a:ext uri="{FF2B5EF4-FFF2-40B4-BE49-F238E27FC236}">
                <a16:creationId xmlns:a16="http://schemas.microsoft.com/office/drawing/2014/main" id="{93CBBE3D-F463-C749-91A9-B9880DF4592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85" y="1654034"/>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437ACA7F-D537-9C4C-BFC1-987234F390F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85" y="3938266"/>
            <a:ext cx="3758947" cy="202398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41" name="Rectangle 40">
            <a:extLst>
              <a:ext uri="{FF2B5EF4-FFF2-40B4-BE49-F238E27FC236}">
                <a16:creationId xmlns:a16="http://schemas.microsoft.com/office/drawing/2014/main" id="{1B4C3C89-9DD5-E64D-A24B-1B6FE75BDAD0}"/>
              </a:ext>
            </a:extLst>
          </p:cNvPr>
          <p:cNvSpPr/>
          <p:nvPr/>
        </p:nvSpPr>
        <p:spPr>
          <a:xfrm>
            <a:off x="558498" y="4020571"/>
            <a:ext cx="3147596" cy="280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9E16"/>
                </a:solidFill>
                <a:effectLst/>
                <a:uLnTx/>
                <a:uFillTx/>
                <a:latin typeface="Calibri"/>
                <a:ea typeface="+mn-ea"/>
                <a:cs typeface="+mn-cs"/>
              </a:rPr>
              <a:t>Hypercare support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err="1">
                <a:ln>
                  <a:noFill/>
                </a:ln>
                <a:solidFill>
                  <a:schemeClr val="tx1"/>
                </a:solidFill>
                <a:effectLst/>
                <a:uLnTx/>
                <a:uFillTx/>
                <a:latin typeface="Calibri"/>
                <a:ea typeface="+mn-ea"/>
                <a:cs typeface="+mn-cs"/>
              </a:rPr>
              <a:t>Who,What,Where,When</a:t>
            </a:r>
            <a:r>
              <a:rPr kumimoji="0" lang="en-US" sz="900" i="1" u="none" strike="noStrike" kern="1200" cap="none" spc="0" normalizeH="0" baseline="0" noProof="0">
                <a:ln>
                  <a:noFill/>
                </a:ln>
                <a:solidFill>
                  <a:schemeClr val="tx1"/>
                </a:solidFill>
                <a:effectLst/>
                <a:uLnTx/>
                <a:uFillTx/>
                <a:latin typeface="Calibri"/>
                <a:ea typeface="+mn-ea"/>
                <a:cs typeface="+mn-cs"/>
              </a:rPr>
              <a:t>?</a:t>
            </a:r>
          </a:p>
        </p:txBody>
      </p:sp>
      <p:sp>
        <p:nvSpPr>
          <p:cNvPr id="15" name="Rectangle 14">
            <a:extLst>
              <a:ext uri="{FF2B5EF4-FFF2-40B4-BE49-F238E27FC236}">
                <a16:creationId xmlns:a16="http://schemas.microsoft.com/office/drawing/2014/main" id="{3AEE5D2B-8982-9049-AFAE-7DEEE714BF9D}"/>
              </a:ext>
            </a:extLst>
          </p:cNvPr>
          <p:cNvSpPr/>
          <p:nvPr/>
        </p:nvSpPr>
        <p:spPr>
          <a:xfrm>
            <a:off x="558498" y="1705746"/>
            <a:ext cx="3238250" cy="23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100">
                <a:solidFill>
                  <a:srgbClr val="FF9E16"/>
                </a:solidFill>
              </a:rPr>
              <a:t>Roadmap and action plan</a:t>
            </a:r>
          </a:p>
        </p:txBody>
      </p:sp>
      <p:sp>
        <p:nvSpPr>
          <p:cNvPr id="12" name="TextBox 11">
            <a:extLst>
              <a:ext uri="{FF2B5EF4-FFF2-40B4-BE49-F238E27FC236}">
                <a16:creationId xmlns:a16="http://schemas.microsoft.com/office/drawing/2014/main" id="{59B26131-9581-BB4D-BA0E-DA8074510913}"/>
              </a:ext>
            </a:extLst>
          </p:cNvPr>
          <p:cNvSpPr txBox="1"/>
          <p:nvPr/>
        </p:nvSpPr>
        <p:spPr>
          <a:xfrm>
            <a:off x="4416397" y="1654034"/>
            <a:ext cx="7090114" cy="4216539"/>
          </a:xfrm>
          <a:prstGeom prst="rect">
            <a:avLst/>
          </a:prstGeom>
          <a:noFill/>
        </p:spPr>
        <p:txBody>
          <a:bodyPr wrap="square" rtlCol="0">
            <a:spAutoFit/>
          </a:bodyPr>
          <a:lstStyle/>
          <a:p>
            <a:pPr marL="342900" lvl="0" indent="-342900">
              <a:spcBef>
                <a:spcPts val="600"/>
              </a:spcBef>
              <a:spcAft>
                <a:spcPts val="600"/>
              </a:spcAft>
              <a:buClr>
                <a:srgbClr val="FF9E16"/>
              </a:buClr>
              <a:buFont typeface="+mj-lt"/>
              <a:buAutoNum type="arabicPeriod"/>
              <a:defRPr/>
            </a:pPr>
            <a:r>
              <a:rPr lang="en-US" sz="1600"/>
              <a:t>Agree the pilot markets and timelines required to meet launch dates (action plan)</a:t>
            </a:r>
          </a:p>
          <a:p>
            <a:pPr marL="342900" lvl="0" indent="-342900">
              <a:spcBef>
                <a:spcPts val="600"/>
              </a:spcBef>
              <a:spcAft>
                <a:spcPts val="600"/>
              </a:spcAft>
              <a:buClr>
                <a:srgbClr val="FF9E16"/>
              </a:buClr>
              <a:buFont typeface="+mj-lt"/>
              <a:buAutoNum type="arabicPeriod"/>
              <a:defRPr/>
            </a:pPr>
            <a:r>
              <a:rPr lang="en-US" sz="1600"/>
              <a:t>Leverage </a:t>
            </a:r>
            <a:r>
              <a:rPr lang="en-GB" sz="1600"/>
              <a:t>governance and adoption frameworks to define local</a:t>
            </a:r>
            <a:r>
              <a:rPr lang="en-US" sz="1600"/>
              <a:t> owners and key metrics for local success </a:t>
            </a:r>
          </a:p>
          <a:p>
            <a:pPr marL="342900" indent="-342900">
              <a:spcBef>
                <a:spcPts val="600"/>
              </a:spcBef>
              <a:spcAft>
                <a:spcPts val="600"/>
              </a:spcAft>
              <a:buClr>
                <a:srgbClr val="FF9E16"/>
              </a:buClr>
              <a:buFont typeface="+mj-lt"/>
              <a:buAutoNum type="arabicPeriod"/>
              <a:defRPr/>
            </a:pPr>
            <a:r>
              <a:rPr lang="en-GB" sz="1600"/>
              <a:t>Tailor rep activity allocation &amp; MCCP process to local context</a:t>
            </a:r>
          </a:p>
          <a:p>
            <a:pPr marL="342900" indent="-342900">
              <a:spcBef>
                <a:spcPts val="600"/>
              </a:spcBef>
              <a:spcAft>
                <a:spcPts val="600"/>
              </a:spcAft>
              <a:buClr>
                <a:srgbClr val="FF9E16"/>
              </a:buClr>
              <a:buFont typeface="+mj-lt"/>
              <a:buAutoNum type="arabicPeriod"/>
              <a:defRPr/>
            </a:pPr>
            <a:r>
              <a:rPr lang="en-GB" sz="1600"/>
              <a:t>Work with local team to adapt blueprint for the ‘day / cycle in the life’ of a hybrid rep for the September to November sales cycle </a:t>
            </a:r>
          </a:p>
          <a:p>
            <a:pPr marL="342900" indent="-342900">
              <a:spcBef>
                <a:spcPts val="600"/>
              </a:spcBef>
              <a:spcAft>
                <a:spcPts val="600"/>
              </a:spcAft>
              <a:buClr>
                <a:srgbClr val="FF9E16"/>
              </a:buClr>
              <a:buFont typeface="+mj-lt"/>
              <a:buAutoNum type="arabicPeriod"/>
              <a:defRPr/>
            </a:pPr>
            <a:r>
              <a:rPr lang="en-GB" sz="1600"/>
              <a:t>Hold </a:t>
            </a:r>
            <a:r>
              <a:rPr lang="en-US" sz="1600"/>
              <a:t>regular check-in calls with key business users to identify any high need areas of support</a:t>
            </a:r>
          </a:p>
          <a:p>
            <a:pPr marL="342900" indent="-342900">
              <a:spcBef>
                <a:spcPts val="600"/>
              </a:spcBef>
              <a:spcAft>
                <a:spcPts val="600"/>
              </a:spcAft>
              <a:buClr>
                <a:srgbClr val="FF9E16"/>
              </a:buClr>
              <a:buFont typeface="+mj-lt"/>
              <a:buAutoNum type="arabicPeriod"/>
              <a:defRPr/>
            </a:pPr>
            <a:r>
              <a:rPr lang="en-US" sz="1600"/>
              <a:t>Provide hands on support &amp; clarification on how to leverage the given materials during the rep activities </a:t>
            </a:r>
          </a:p>
          <a:p>
            <a:pPr marL="342900" indent="-342900">
              <a:spcBef>
                <a:spcPts val="600"/>
              </a:spcBef>
              <a:spcAft>
                <a:spcPts val="600"/>
              </a:spcAft>
              <a:buClr>
                <a:srgbClr val="FF9E16"/>
              </a:buClr>
              <a:buFont typeface="+mj-lt"/>
              <a:buAutoNum type="arabicPeriod"/>
              <a:defRPr/>
            </a:pPr>
            <a:r>
              <a:rPr lang="en-US" sz="1600"/>
              <a:t>Record any lessons learnt from pilot deployment to enhance blueprints accordingly</a:t>
            </a:r>
          </a:p>
        </p:txBody>
      </p:sp>
      <p:pic>
        <p:nvPicPr>
          <p:cNvPr id="14" name="Picture 13">
            <a:extLst>
              <a:ext uri="{FF2B5EF4-FFF2-40B4-BE49-F238E27FC236}">
                <a16:creationId xmlns:a16="http://schemas.microsoft.com/office/drawing/2014/main" id="{9A6F492B-D8F6-0F49-8478-5811E7BE56B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5540" y="2008106"/>
            <a:ext cx="2704166" cy="1452748"/>
          </a:xfrm>
          <a:prstGeom prst="rect">
            <a:avLst/>
          </a:prstGeom>
        </p:spPr>
      </p:pic>
      <p:pic>
        <p:nvPicPr>
          <p:cNvPr id="4" name="Picture 3">
            <a:extLst>
              <a:ext uri="{FF2B5EF4-FFF2-40B4-BE49-F238E27FC236}">
                <a16:creationId xmlns:a16="http://schemas.microsoft.com/office/drawing/2014/main" id="{E6980296-B2DA-7942-9488-272628FDBDB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58498" y="4527442"/>
            <a:ext cx="3476897" cy="993265"/>
          </a:xfrm>
          <a:prstGeom prst="rect">
            <a:avLst/>
          </a:prstGeom>
        </p:spPr>
      </p:pic>
    </p:spTree>
    <p:extLst>
      <p:ext uri="{BB962C8B-B14F-4D97-AF65-F5344CB8AC3E}">
        <p14:creationId xmlns:p14="http://schemas.microsoft.com/office/powerpoint/2010/main" val="2075307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7A06C6-4D60-E043-B067-727D999DF628}"/>
              </a:ext>
            </a:extLst>
          </p:cNvPr>
          <p:cNvSpPr>
            <a:spLocks noGrp="1"/>
          </p:cNvSpPr>
          <p:nvPr>
            <p:ph type="title"/>
          </p:nvPr>
        </p:nvSpPr>
        <p:spPr>
          <a:xfrm>
            <a:off x="276302" y="240653"/>
            <a:ext cx="11595131" cy="1101213"/>
          </a:xfrm>
        </p:spPr>
        <p:txBody>
          <a:bodyPr anchor="ctr"/>
          <a:lstStyle/>
          <a:p>
            <a:r>
              <a:rPr lang="en-US" sz="2800">
                <a:latin typeface="Calibri" panose="020F0502020204030204" pitchFamily="34" charset="0"/>
                <a:cs typeface="Calibri" panose="020F0502020204030204" pitchFamily="34" charset="0"/>
              </a:rPr>
              <a:t>1. Building omnichannel training materials for oncology globally </a:t>
            </a:r>
          </a:p>
        </p:txBody>
      </p:sp>
      <p:sp>
        <p:nvSpPr>
          <p:cNvPr id="4" name="TextBox 3">
            <a:extLst>
              <a:ext uri="{FF2B5EF4-FFF2-40B4-BE49-F238E27FC236}">
                <a16:creationId xmlns:a16="http://schemas.microsoft.com/office/drawing/2014/main" id="{BD39108C-2EF1-6E42-B7E2-66D6B69CCBF0}"/>
              </a:ext>
            </a:extLst>
          </p:cNvPr>
          <p:cNvSpPr txBox="1"/>
          <p:nvPr/>
        </p:nvSpPr>
        <p:spPr>
          <a:xfrm>
            <a:off x="276302" y="994365"/>
            <a:ext cx="3028008" cy="344710"/>
          </a:xfrm>
          <a:prstGeom prst="rect">
            <a:avLst/>
          </a:prstGeom>
          <a:noFill/>
        </p:spPr>
        <p:txBody>
          <a:bodyPr wrap="non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2000" b="1">
                <a:latin typeface="Calibri" panose="020F0502020204030204" pitchFamily="34" charset="0"/>
                <a:cs typeface="Calibri" panose="020F0502020204030204" pitchFamily="34" charset="0"/>
              </a:rPr>
              <a:t>Omnichannel for Oncology</a:t>
            </a:r>
          </a:p>
        </p:txBody>
      </p:sp>
      <p:sp>
        <p:nvSpPr>
          <p:cNvPr id="5" name="TextBox 4">
            <a:extLst>
              <a:ext uri="{FF2B5EF4-FFF2-40B4-BE49-F238E27FC236}">
                <a16:creationId xmlns:a16="http://schemas.microsoft.com/office/drawing/2014/main" id="{3B2AEF86-B203-9B46-AF7E-2CA2F415B8CF}"/>
              </a:ext>
            </a:extLst>
          </p:cNvPr>
          <p:cNvSpPr txBox="1"/>
          <p:nvPr/>
        </p:nvSpPr>
        <p:spPr>
          <a:xfrm>
            <a:off x="674053" y="1869696"/>
            <a:ext cx="4287712" cy="4039054"/>
          </a:xfrm>
          <a:prstGeom prst="rect">
            <a:avLst/>
          </a:prstGeom>
          <a:noFill/>
        </p:spPr>
        <p:txBody>
          <a:bodyPr wrap="square" lIns="0" tIns="36576" rIns="0" bIns="0" rtlCol="0">
            <a:spAutoFit/>
          </a:bodyPr>
          <a:lstStyle/>
          <a:p>
            <a:pPr>
              <a:lnSpc>
                <a:spcPct val="85000"/>
              </a:lnSpc>
              <a:spcAft>
                <a:spcPts val="400"/>
              </a:spcAft>
              <a:buClr>
                <a:schemeClr val="accent2"/>
              </a:buClr>
              <a:buSzPct val="70000"/>
            </a:pPr>
            <a:r>
              <a:rPr lang="en-US" sz="1600" b="1">
                <a:latin typeface="Calibri" panose="020F0502020204030204" pitchFamily="34" charset="0"/>
                <a:cs typeface="Calibri" panose="020F0502020204030204" pitchFamily="34" charset="0"/>
              </a:rPr>
              <a:t>Business Need</a:t>
            </a:r>
          </a:p>
          <a:p>
            <a:pPr marL="290512"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A top 5 pharma company wants to support the field force in embracing remote engagement capabilities and putting the customer at the center. </a:t>
            </a:r>
          </a:p>
          <a:p>
            <a:pPr marL="290512"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Oncology has been working over 2020 to better understand the drivers and challenges for remote engagement by running surveys and talking to the field force at global, regional and local level  </a:t>
            </a:r>
          </a:p>
          <a:p>
            <a:pPr marL="290512"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Change management and training have been identified as a key need to help Sales Reps perform their daily business interactions with customers more effectively using Omnichannel </a:t>
            </a:r>
          </a:p>
          <a:p>
            <a:pPr marL="290512"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Our customer wanted to build an Omnichannel Curriculum that equips sales specialist with the skill and will to build better omnichannel experiences with HCPs</a:t>
            </a:r>
          </a:p>
          <a:p>
            <a:pPr marL="285750" indent="-166688" defTabSz="914400" fontAlgn="base">
              <a:lnSpc>
                <a:spcPct val="85000"/>
              </a:lnSpc>
              <a:spcBef>
                <a:spcPct val="0"/>
              </a:spcBef>
              <a:spcAft>
                <a:spcPct val="0"/>
              </a:spcAft>
              <a:buClr>
                <a:srgbClr val="FFE600"/>
              </a:buClr>
              <a:buSzPct val="100000"/>
              <a:buFont typeface="Wingdings" panose="05000000000000000000" pitchFamily="2" charset="2"/>
              <a:buChar char="§"/>
              <a:tabLst>
                <a:tab pos="173038" algn="l"/>
              </a:tabLst>
              <a:defRPr/>
            </a:pPr>
            <a:endParaRPr lang="en-US" sz="1200" kern="0">
              <a:latin typeface="Calibri" panose="020F0502020204030204" pitchFamily="34" charset="0"/>
              <a:cs typeface="Calibri" panose="020F0502020204030204" pitchFamily="34" charset="0"/>
            </a:endParaRPr>
          </a:p>
          <a:p>
            <a:pPr fontAlgn="base">
              <a:lnSpc>
                <a:spcPct val="85000"/>
              </a:lnSpc>
              <a:spcBef>
                <a:spcPct val="0"/>
              </a:spcBef>
              <a:spcAft>
                <a:spcPts val="400"/>
              </a:spcAft>
              <a:buClr>
                <a:schemeClr val="accent2"/>
              </a:buClr>
              <a:buSzPct val="70000"/>
              <a:tabLst>
                <a:tab pos="173038" algn="l"/>
              </a:tabLst>
              <a:defRPr/>
            </a:pPr>
            <a:r>
              <a:rPr lang="en-US" sz="1600" b="1">
                <a:latin typeface="Calibri" panose="020F0502020204030204" pitchFamily="34" charset="0"/>
                <a:cs typeface="Calibri" panose="020F0502020204030204" pitchFamily="34" charset="0"/>
              </a:rPr>
              <a:t>Value Delivered</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3 training modules, stress-tested with key stakeholders at different organisational levels (learning, SFE, Franchise leads,…)</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Range of exercises &amp; activities and guidelines for instructors on how it needs to be delivered (timings and messages)</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2x Train-the-trainer sessions to hand-over to local trainers </a:t>
            </a:r>
          </a:p>
        </p:txBody>
      </p:sp>
      <p:sp>
        <p:nvSpPr>
          <p:cNvPr id="48" name="Rectangle 47">
            <a:extLst>
              <a:ext uri="{FF2B5EF4-FFF2-40B4-BE49-F238E27FC236}">
                <a16:creationId xmlns:a16="http://schemas.microsoft.com/office/drawing/2014/main" id="{6CC7B0BD-1BD9-D442-B175-3E938674134C}"/>
              </a:ext>
            </a:extLst>
          </p:cNvPr>
          <p:cNvSpPr/>
          <p:nvPr/>
        </p:nvSpPr>
        <p:spPr>
          <a:xfrm>
            <a:off x="8015101" y="2768561"/>
            <a:ext cx="3699546" cy="1266081"/>
          </a:xfrm>
          <a:prstGeom prst="rect">
            <a:avLst/>
          </a:prstGeom>
        </p:spPr>
        <p:txBody>
          <a:bodyPr wrap="square" anchor="ctr">
            <a:spAutoFit/>
          </a:bodyPr>
          <a:lstStyle/>
          <a:p>
            <a:pPr>
              <a:spcAft>
                <a:spcPts val="300"/>
              </a:spcAft>
            </a:pPr>
            <a:r>
              <a:rPr lang="en-US" sz="1100"/>
              <a:t>Key learning objectives are:</a:t>
            </a:r>
          </a:p>
          <a:p>
            <a:pPr marL="342900" indent="-200025">
              <a:spcAft>
                <a:spcPts val="300"/>
              </a:spcAft>
              <a:buAutoNum type="arabicPeriod"/>
            </a:pPr>
            <a:r>
              <a:rPr lang="en-US" sz="1100"/>
              <a:t>Share some oncology specific trends that impact HCP behaviors</a:t>
            </a:r>
          </a:p>
          <a:p>
            <a:pPr marL="342900" indent="-200025">
              <a:spcAft>
                <a:spcPts val="300"/>
              </a:spcAft>
              <a:buFontTx/>
              <a:buAutoNum type="arabicPeriod"/>
            </a:pPr>
            <a:r>
              <a:rPr lang="en-US" sz="1100"/>
              <a:t>Help Sales specialist recognize which type of HCP they are facing</a:t>
            </a:r>
          </a:p>
          <a:p>
            <a:pPr marL="342900" indent="-200025">
              <a:spcAft>
                <a:spcPts val="300"/>
              </a:spcAft>
              <a:buFontTx/>
              <a:buAutoNum type="arabicPeriod"/>
            </a:pPr>
            <a:r>
              <a:rPr lang="en-US" sz="1100"/>
              <a:t>Identify ways to spot change in HCPs behaviors and implications</a:t>
            </a:r>
          </a:p>
        </p:txBody>
      </p:sp>
      <p:sp>
        <p:nvSpPr>
          <p:cNvPr id="49" name="Rectangle 48">
            <a:extLst>
              <a:ext uri="{FF2B5EF4-FFF2-40B4-BE49-F238E27FC236}">
                <a16:creationId xmlns:a16="http://schemas.microsoft.com/office/drawing/2014/main" id="{ED737068-1648-C14D-90AB-BF4730B0D2B8}"/>
              </a:ext>
            </a:extLst>
          </p:cNvPr>
          <p:cNvSpPr/>
          <p:nvPr/>
        </p:nvSpPr>
        <p:spPr>
          <a:xfrm>
            <a:off x="8013271" y="4273282"/>
            <a:ext cx="3720614" cy="1266081"/>
          </a:xfrm>
          <a:prstGeom prst="rect">
            <a:avLst/>
          </a:prstGeom>
        </p:spPr>
        <p:txBody>
          <a:bodyPr wrap="square" anchor="ctr">
            <a:spAutoFit/>
          </a:bodyPr>
          <a:lstStyle/>
          <a:p>
            <a:pPr>
              <a:spcAft>
                <a:spcPts val="300"/>
              </a:spcAft>
            </a:pPr>
            <a:r>
              <a:rPr lang="en-US" sz="1100"/>
              <a:t>Key learning objectives are:</a:t>
            </a:r>
          </a:p>
          <a:p>
            <a:pPr marL="342900" indent="-242888">
              <a:spcAft>
                <a:spcPts val="300"/>
              </a:spcAft>
              <a:buFont typeface="+mj-lt"/>
              <a:buAutoNum type="arabicPeriod"/>
            </a:pPr>
            <a:r>
              <a:rPr lang="en-US" sz="1100"/>
              <a:t>Recognize different channel types available and how the mix varies depending on the type of HCP</a:t>
            </a:r>
          </a:p>
          <a:p>
            <a:pPr marL="342900" indent="-242888">
              <a:spcAft>
                <a:spcPts val="300"/>
              </a:spcAft>
              <a:buFont typeface="+mj-lt"/>
              <a:buAutoNum type="arabicPeriod"/>
            </a:pPr>
            <a:r>
              <a:rPr lang="en-US" sz="1100"/>
              <a:t>Identify different techniques to build engagement and follow ups over time</a:t>
            </a:r>
          </a:p>
          <a:p>
            <a:pPr marL="342900" indent="-242888">
              <a:spcAft>
                <a:spcPts val="300"/>
              </a:spcAft>
              <a:buFont typeface="+mj-lt"/>
              <a:buAutoNum type="arabicPeriod"/>
            </a:pPr>
            <a:r>
              <a:rPr lang="en-US" sz="1100"/>
              <a:t>Learn how the brand objectives lens would impact the omnichannel journeys </a:t>
            </a:r>
          </a:p>
        </p:txBody>
      </p:sp>
      <p:sp>
        <p:nvSpPr>
          <p:cNvPr id="50" name="Rectangle 49">
            <a:extLst>
              <a:ext uri="{FF2B5EF4-FFF2-40B4-BE49-F238E27FC236}">
                <a16:creationId xmlns:a16="http://schemas.microsoft.com/office/drawing/2014/main" id="{2D0E0BED-E5EC-C848-8450-775615A24768}"/>
              </a:ext>
            </a:extLst>
          </p:cNvPr>
          <p:cNvSpPr/>
          <p:nvPr/>
        </p:nvSpPr>
        <p:spPr>
          <a:xfrm>
            <a:off x="8008806" y="1166720"/>
            <a:ext cx="3772093" cy="1424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r>
              <a:rPr lang="en-US" sz="1100">
                <a:solidFill>
                  <a:schemeClr val="tx1"/>
                </a:solidFill>
              </a:rPr>
              <a:t>Key learning objectives are:</a:t>
            </a:r>
          </a:p>
          <a:p>
            <a:pPr marL="342900" indent="-200025">
              <a:spcAft>
                <a:spcPts val="300"/>
              </a:spcAft>
              <a:buAutoNum type="arabicPeriod"/>
            </a:pPr>
            <a:r>
              <a:rPr lang="en-US" sz="1100">
                <a:solidFill>
                  <a:schemeClr val="tx1"/>
                </a:solidFill>
              </a:rPr>
              <a:t>Show market trends around the HCP engagement model </a:t>
            </a:r>
          </a:p>
          <a:p>
            <a:pPr marL="342900" indent="-200025">
              <a:spcAft>
                <a:spcPts val="300"/>
              </a:spcAft>
              <a:buFontTx/>
              <a:buAutoNum type="arabicPeriod"/>
            </a:pPr>
            <a:r>
              <a:rPr lang="en-US" sz="1100">
                <a:solidFill>
                  <a:schemeClr val="tx1"/>
                </a:solidFill>
              </a:rPr>
              <a:t>Raise awareness on the omnichannel vision and ongoing initiatives for the Sales specialist </a:t>
            </a:r>
          </a:p>
          <a:p>
            <a:pPr marL="342900" indent="-200025">
              <a:spcAft>
                <a:spcPts val="300"/>
              </a:spcAft>
              <a:buFontTx/>
              <a:buAutoNum type="arabicPeriod"/>
            </a:pPr>
            <a:r>
              <a:rPr lang="en-US" sz="1100">
                <a:solidFill>
                  <a:schemeClr val="tx1"/>
                </a:solidFill>
              </a:rPr>
              <a:t>Understand requirements for omnichannel to be successful</a:t>
            </a:r>
          </a:p>
        </p:txBody>
      </p:sp>
      <p:sp>
        <p:nvSpPr>
          <p:cNvPr id="51" name="Rectangle 50">
            <a:extLst>
              <a:ext uri="{FF2B5EF4-FFF2-40B4-BE49-F238E27FC236}">
                <a16:creationId xmlns:a16="http://schemas.microsoft.com/office/drawing/2014/main" id="{CCEAD644-6A56-F646-BA6C-8C89E0C24007}"/>
              </a:ext>
            </a:extLst>
          </p:cNvPr>
          <p:cNvSpPr/>
          <p:nvPr/>
        </p:nvSpPr>
        <p:spPr>
          <a:xfrm>
            <a:off x="6282970" y="5742328"/>
            <a:ext cx="5170598" cy="4360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t>All modules have a mix of theory &amp; practice, with activities to interact with audience and case studies </a:t>
            </a:r>
          </a:p>
        </p:txBody>
      </p:sp>
      <p:pic>
        <p:nvPicPr>
          <p:cNvPr id="9" name="Picture 8">
            <a:extLst>
              <a:ext uri="{FF2B5EF4-FFF2-40B4-BE49-F238E27FC236}">
                <a16:creationId xmlns:a16="http://schemas.microsoft.com/office/drawing/2014/main" id="{69F6A58E-89F2-8246-B01A-A158C58AC1D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70043" y="1237197"/>
            <a:ext cx="2328389" cy="1306466"/>
          </a:xfrm>
          <a:prstGeom prst="rect">
            <a:avLst/>
          </a:prstGeom>
        </p:spPr>
      </p:pic>
      <p:pic>
        <p:nvPicPr>
          <p:cNvPr id="10" name="Picture 9">
            <a:extLst>
              <a:ext uri="{FF2B5EF4-FFF2-40B4-BE49-F238E27FC236}">
                <a16:creationId xmlns:a16="http://schemas.microsoft.com/office/drawing/2014/main" id="{DC202A64-32CF-CE49-8EF0-44F225172E1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73478" y="2737402"/>
            <a:ext cx="2331860" cy="1306466"/>
          </a:xfrm>
          <a:prstGeom prst="rect">
            <a:avLst/>
          </a:prstGeom>
        </p:spPr>
      </p:pic>
      <p:pic>
        <p:nvPicPr>
          <p:cNvPr id="11" name="Picture 10">
            <a:extLst>
              <a:ext uri="{FF2B5EF4-FFF2-40B4-BE49-F238E27FC236}">
                <a16:creationId xmlns:a16="http://schemas.microsoft.com/office/drawing/2014/main" id="{5A31EB57-D339-E24B-AB7D-A29425083F1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70043" y="4237607"/>
            <a:ext cx="2339732" cy="1306467"/>
          </a:xfrm>
          <a:prstGeom prst="rect">
            <a:avLst/>
          </a:prstGeom>
        </p:spPr>
      </p:pic>
      <p:sp>
        <p:nvSpPr>
          <p:cNvPr id="2" name="Rectangle 1">
            <a:extLst>
              <a:ext uri="{FF2B5EF4-FFF2-40B4-BE49-F238E27FC236}">
                <a16:creationId xmlns:a16="http://schemas.microsoft.com/office/drawing/2014/main" id="{D83E03DF-103B-9D4E-A410-2C1D66667EF2}"/>
              </a:ext>
            </a:extLst>
          </p:cNvPr>
          <p:cNvSpPr/>
          <p:nvPr/>
        </p:nvSpPr>
        <p:spPr>
          <a:xfrm>
            <a:off x="0" y="-33383"/>
            <a:ext cx="12192000" cy="2740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ur selected credentials </a:t>
            </a:r>
          </a:p>
        </p:txBody>
      </p:sp>
    </p:spTree>
    <p:extLst>
      <p:ext uri="{BB962C8B-B14F-4D97-AF65-F5344CB8AC3E}">
        <p14:creationId xmlns:p14="http://schemas.microsoft.com/office/powerpoint/2010/main" val="28843319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BA674742-7A62-E846-B6CA-090D75CFCE9A}"/>
              </a:ext>
            </a:extLst>
          </p:cNvPr>
          <p:cNvSpPr>
            <a:spLocks noGrp="1"/>
          </p:cNvSpPr>
          <p:nvPr>
            <p:ph type="title"/>
          </p:nvPr>
        </p:nvSpPr>
        <p:spPr/>
        <p:txBody>
          <a:bodyPr anchor="ctr"/>
          <a:lstStyle/>
          <a:p>
            <a:r>
              <a:rPr lang="en-US" sz="2800">
                <a:latin typeface="Calibri" panose="020F0502020204030204" pitchFamily="34" charset="0"/>
                <a:cs typeface="Calibri" panose="020F0502020204030204" pitchFamily="34" charset="0"/>
              </a:rPr>
              <a:t>2. Creating a MCM capability anchored on technology </a:t>
            </a:r>
            <a:endParaRPr lang="en-US" sz="2800">
              <a:ea typeface="+mj-lt"/>
              <a:cs typeface="+mj-lt"/>
            </a:endParaRPr>
          </a:p>
        </p:txBody>
      </p:sp>
      <p:sp>
        <p:nvSpPr>
          <p:cNvPr id="11" name="TextBox 10">
            <a:extLst>
              <a:ext uri="{FF2B5EF4-FFF2-40B4-BE49-F238E27FC236}">
                <a16:creationId xmlns:a16="http://schemas.microsoft.com/office/drawing/2014/main" id="{64B94B8E-0B26-6B4A-98F7-76B91ABDB47B}"/>
              </a:ext>
            </a:extLst>
          </p:cNvPr>
          <p:cNvSpPr txBox="1"/>
          <p:nvPr/>
        </p:nvSpPr>
        <p:spPr>
          <a:xfrm>
            <a:off x="214576" y="949035"/>
            <a:ext cx="4085927" cy="344710"/>
          </a:xfrm>
          <a:prstGeom prst="rect">
            <a:avLst/>
          </a:prstGeom>
          <a:noFill/>
        </p:spPr>
        <p:txBody>
          <a:bodyPr wrap="non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2000" b="1" i="0"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Developing Multi-Channel Capability</a:t>
            </a:r>
          </a:p>
        </p:txBody>
      </p:sp>
      <p:sp>
        <p:nvSpPr>
          <p:cNvPr id="12" name="TextBox 11">
            <a:extLst>
              <a:ext uri="{FF2B5EF4-FFF2-40B4-BE49-F238E27FC236}">
                <a16:creationId xmlns:a16="http://schemas.microsoft.com/office/drawing/2014/main" id="{A358893C-DED1-C942-A2EE-05EB8EF7E4A3}"/>
              </a:ext>
            </a:extLst>
          </p:cNvPr>
          <p:cNvSpPr txBox="1"/>
          <p:nvPr/>
        </p:nvSpPr>
        <p:spPr>
          <a:xfrm>
            <a:off x="656077" y="2039953"/>
            <a:ext cx="4287712" cy="442172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400"/>
              </a:spcAft>
              <a:buClr>
                <a:srgbClr val="FAB911"/>
              </a:buClr>
              <a:buSzPct val="70000"/>
              <a:buFontTx/>
              <a:buNone/>
              <a:tabLst/>
              <a:defRPr/>
            </a:pPr>
            <a:r>
              <a:rPr kumimoji="0" lang="en-US" sz="1600" b="1" i="0"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Business Need</a:t>
            </a: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kumimoji="0" lang="en-US"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Global top 20 Pharmaceutical company wanted to implement Veeva digital tools including CLM, VAE &amp; Veeva Engage Meeting</a:t>
            </a: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kumimoji="0" lang="en-US"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The deployment was across all EMEA markets and needed to be tailored to resonate with different levels of digital maturity</a:t>
            </a: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lang="en-US" sz="1200" kern="0">
                <a:solidFill>
                  <a:srgbClr val="646569"/>
                </a:solidFill>
                <a:latin typeface="Calibri" panose="020F0502020204030204" pitchFamily="34" charset="0"/>
                <a:cs typeface="Calibri" panose="020F0502020204030204" pitchFamily="34" charset="0"/>
              </a:rPr>
              <a:t>A </a:t>
            </a:r>
            <a:r>
              <a:rPr lang="en-US" sz="1200" kern="0" err="1">
                <a:solidFill>
                  <a:srgbClr val="646569"/>
                </a:solidFill>
                <a:latin typeface="Calibri" panose="020F0502020204030204" pitchFamily="34" charset="0"/>
                <a:cs typeface="Calibri" panose="020F0502020204030204" pitchFamily="34" charset="0"/>
              </a:rPr>
              <a:t>programme</a:t>
            </a:r>
            <a:r>
              <a:rPr lang="en-US" sz="1200" kern="0">
                <a:solidFill>
                  <a:srgbClr val="646569"/>
                </a:solidFill>
                <a:latin typeface="Calibri" panose="020F0502020204030204" pitchFamily="34" charset="0"/>
                <a:cs typeface="Calibri" panose="020F0502020204030204" pitchFamily="34" charset="0"/>
              </a:rPr>
              <a:t> was developed giving countries options to select the elements that best fit their needs, from full customer journey development, through technical and soft-skills training</a:t>
            </a:r>
            <a:endParaRPr kumimoji="0" lang="en-US"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endParaRP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kumimoji="0" lang="en-US"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Training delivery was also tailored to meet role-specific needs</a:t>
            </a:r>
            <a:endParaRPr kumimoji="0" lang="en-US" sz="1200" b="1"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endParaRPr>
          </a:p>
          <a:p>
            <a:pPr marL="119062" marR="0" lvl="0" indent="0" algn="l" defTabSz="914400" rtl="0" eaLnBrk="1" fontAlgn="base" latinLnBrk="0" hangingPunct="1">
              <a:lnSpc>
                <a:spcPct val="100000"/>
              </a:lnSpc>
              <a:spcBef>
                <a:spcPct val="0"/>
              </a:spcBef>
              <a:spcAft>
                <a:spcPct val="0"/>
              </a:spcAft>
              <a:buClr>
                <a:srgbClr val="FF9E16"/>
              </a:buClr>
              <a:buSzPct val="100000"/>
              <a:buFontTx/>
              <a:buNone/>
              <a:tabLst>
                <a:tab pos="173038" algn="l"/>
              </a:tabLst>
              <a:defRPr/>
            </a:pPr>
            <a:endParaRPr kumimoji="0" lang="en-US" sz="1200" b="1"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endParaRPr>
          </a:p>
          <a:p>
            <a:pPr marL="119062" marR="0" lvl="0" indent="0" algn="l" defTabSz="914400" rtl="0" eaLnBrk="1" fontAlgn="base" latinLnBrk="0" hangingPunct="1">
              <a:lnSpc>
                <a:spcPct val="100000"/>
              </a:lnSpc>
              <a:spcBef>
                <a:spcPct val="0"/>
              </a:spcBef>
              <a:spcAft>
                <a:spcPct val="0"/>
              </a:spcAft>
              <a:buClr>
                <a:srgbClr val="FF9E16"/>
              </a:buClr>
              <a:buSzPct val="100000"/>
              <a:buFontTx/>
              <a:buNone/>
              <a:tabLst>
                <a:tab pos="173038" algn="l"/>
              </a:tabLst>
              <a:defRPr/>
            </a:pPr>
            <a:r>
              <a:rPr kumimoji="0" lang="en-US" sz="1600" b="1" i="0"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Value Delivered</a:t>
            </a: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kumimoji="0" lang="en-IN"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sym typeface="EYInterstate" pitchFamily="2" charset="0"/>
              </a:rPr>
              <a:t>Engagement across markets to understand level of maturity and requirements for successful adoption</a:t>
            </a: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lang="en-IN" sz="1200" kern="0">
                <a:solidFill>
                  <a:srgbClr val="646569"/>
                </a:solidFill>
                <a:latin typeface="Calibri" panose="020F0502020204030204" pitchFamily="34" charset="0"/>
                <a:cs typeface="Calibri" panose="020F0502020204030204" pitchFamily="34" charset="0"/>
                <a:sym typeface="EYInterstate" pitchFamily="2" charset="0"/>
              </a:rPr>
              <a:t>Change communications developed to build anticipation and excitement for the new capabilities and dispel any underlying concerns with the change</a:t>
            </a:r>
            <a:endParaRPr kumimoji="0" lang="en-IN"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sym typeface="EYInterstate" pitchFamily="2" charset="0"/>
            </a:endParaRP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kumimoji="0" lang="en-IN"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sym typeface="EYInterstate" pitchFamily="2" charset="0"/>
              </a:rPr>
              <a:t>Interactive eLearning delivered in 14 languages</a:t>
            </a: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kumimoji="0" lang="en-IN"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sym typeface="EYInterstate" pitchFamily="2" charset="0"/>
              </a:rPr>
              <a:t>Full curriculum covering roles from commercial, through medical to marketing and head office</a:t>
            </a: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kumimoji="0" lang="en-IN"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sym typeface="EYInterstate" pitchFamily="2" charset="0"/>
              </a:rPr>
              <a:t>Train-the-trainer delivered to enable local training capability, and end-user-training delivered where required (&gt;1,000 trained)</a:t>
            </a: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r>
              <a:rPr lang="en-IN" sz="1200" kern="0">
                <a:solidFill>
                  <a:srgbClr val="646569"/>
                </a:solidFill>
                <a:latin typeface="Calibri" panose="020F0502020204030204" pitchFamily="34" charset="0"/>
                <a:cs typeface="Calibri" panose="020F0502020204030204" pitchFamily="34" charset="0"/>
                <a:sym typeface="EYInterstate" pitchFamily="2" charset="0"/>
              </a:rPr>
              <a:t>&gt;90% satisfaction from all participants</a:t>
            </a:r>
            <a:endParaRPr kumimoji="0" lang="en-IN"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sym typeface="EYInterstate" pitchFamily="2" charset="0"/>
            </a:endParaRPr>
          </a:p>
          <a:p>
            <a:pPr marL="290512" marR="0" lvl="0" indent="-171450" algn="l" defTabSz="914400" rtl="0" eaLnBrk="1" fontAlgn="base" latinLnBrk="0" hangingPunct="1">
              <a:lnSpc>
                <a:spcPct val="100000"/>
              </a:lnSpc>
              <a:spcBef>
                <a:spcPct val="0"/>
              </a:spcBef>
              <a:spcAft>
                <a:spcPct val="0"/>
              </a:spcAft>
              <a:buClr>
                <a:srgbClr val="FF9E16"/>
              </a:buClr>
              <a:buSzPct val="100000"/>
              <a:buFont typeface="Courier New" panose="02070309020205020404" pitchFamily="49" charset="0"/>
              <a:buChar char="o"/>
              <a:tabLst>
                <a:tab pos="173038" algn="l"/>
              </a:tabLst>
              <a:defRPr/>
            </a:pPr>
            <a:endParaRPr kumimoji="0" lang="en-IN" sz="1200" b="0" i="0" u="none" strike="noStrike" kern="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sym typeface="EYInterstate" pitchFamily="2" charset="0"/>
            </a:endParaRPr>
          </a:p>
        </p:txBody>
      </p:sp>
      <p:sp>
        <p:nvSpPr>
          <p:cNvPr id="21" name="TextBox 20">
            <a:extLst>
              <a:ext uri="{FF2B5EF4-FFF2-40B4-BE49-F238E27FC236}">
                <a16:creationId xmlns:a16="http://schemas.microsoft.com/office/drawing/2014/main" id="{B0F74B0D-1BC2-6A4D-9260-9912E52CED50}"/>
              </a:ext>
            </a:extLst>
          </p:cNvPr>
          <p:cNvSpPr txBox="1"/>
          <p:nvPr/>
        </p:nvSpPr>
        <p:spPr>
          <a:xfrm>
            <a:off x="5547841" y="2551902"/>
            <a:ext cx="2654620" cy="1631012"/>
          </a:xfrm>
          <a:prstGeom prst="rect">
            <a:avLst/>
          </a:prstGeom>
          <a:noFill/>
        </p:spPr>
        <p:txBody>
          <a:bodyPr wrap="square" lIns="91356" tIns="45678" rIns="91356" bIns="45678" rtlCol="0">
            <a:noAutofit/>
          </a:bodyPr>
          <a:lstStyle/>
          <a:p>
            <a:pPr marL="0" marR="0" lvl="0" indent="0" algn="l" defTabSz="913545" rtl="0" eaLnBrk="1" fontAlgn="auto" latinLnBrk="0" hangingPunct="1">
              <a:lnSpc>
                <a:spcPct val="100000"/>
              </a:lnSpc>
              <a:spcBef>
                <a:spcPts val="300"/>
              </a:spcBef>
              <a:spcAft>
                <a:spcPct val="0"/>
              </a:spcAft>
              <a:buClrTx/>
              <a:buSzTx/>
              <a:buFontTx/>
              <a:buNone/>
              <a:tabLst/>
              <a:defRPr/>
            </a:pPr>
            <a:r>
              <a:rPr kumimoji="0" lang="en-US" sz="1000" b="0"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Shaping the customer journey and use case for salespeople. Defining and document the requirements for success and how the omni-channel approach maps to day-to-day workflow</a:t>
            </a:r>
          </a:p>
        </p:txBody>
      </p:sp>
      <p:sp>
        <p:nvSpPr>
          <p:cNvPr id="22" name="TextBox 21">
            <a:extLst>
              <a:ext uri="{FF2B5EF4-FFF2-40B4-BE49-F238E27FC236}">
                <a16:creationId xmlns:a16="http://schemas.microsoft.com/office/drawing/2014/main" id="{A1DD6225-045E-0B40-A464-F844BD1FC79A}"/>
              </a:ext>
            </a:extLst>
          </p:cNvPr>
          <p:cNvSpPr txBox="1"/>
          <p:nvPr/>
        </p:nvSpPr>
        <p:spPr>
          <a:xfrm>
            <a:off x="5531226" y="2336520"/>
            <a:ext cx="2654620" cy="276914"/>
          </a:xfrm>
          <a:prstGeom prst="rect">
            <a:avLst/>
          </a:prstGeom>
          <a:noFill/>
        </p:spPr>
        <p:txBody>
          <a:bodyPr wrap="square" lIns="91356" tIns="45678" rIns="91356" bIns="45678" rtlCol="0">
            <a:spAutoFit/>
          </a:bodyPr>
          <a:lstStyle/>
          <a:p>
            <a:pPr marL="0" marR="0" lvl="0" indent="0" algn="l" defTabSz="914400" rtl="0" eaLnBrk="1" fontAlgn="base" latinLnBrk="0" hangingPunct="1">
              <a:lnSpc>
                <a:spcPct val="85000"/>
              </a:lnSpc>
              <a:spcBef>
                <a:spcPct val="0"/>
              </a:spcBef>
              <a:spcAft>
                <a:spcPts val="400"/>
              </a:spcAft>
              <a:buClr>
                <a:srgbClr val="FAB911"/>
              </a:buClr>
              <a:buSzPct val="70000"/>
              <a:buFontTx/>
              <a:buNone/>
              <a:tabLst>
                <a:tab pos="173038" algn="l"/>
              </a:tabLst>
              <a:defRPr/>
            </a:pPr>
            <a:r>
              <a:rPr kumimoji="0" lang="en-US" sz="1400" b="1"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Customer Journey</a:t>
            </a:r>
          </a:p>
        </p:txBody>
      </p:sp>
      <p:sp>
        <p:nvSpPr>
          <p:cNvPr id="23" name="TextBox 22">
            <a:extLst>
              <a:ext uri="{FF2B5EF4-FFF2-40B4-BE49-F238E27FC236}">
                <a16:creationId xmlns:a16="http://schemas.microsoft.com/office/drawing/2014/main" id="{728B884A-4050-2B4A-ABC0-626161208F1A}"/>
              </a:ext>
            </a:extLst>
          </p:cNvPr>
          <p:cNvSpPr txBox="1"/>
          <p:nvPr/>
        </p:nvSpPr>
        <p:spPr>
          <a:xfrm>
            <a:off x="8816577" y="3369047"/>
            <a:ext cx="2771321" cy="1389311"/>
          </a:xfrm>
          <a:prstGeom prst="rect">
            <a:avLst/>
          </a:prstGeom>
          <a:noFill/>
        </p:spPr>
        <p:txBody>
          <a:bodyPr wrap="square" lIns="91356" tIns="45678" rIns="91356" bIns="45678" rtlCol="0" anchor="t">
            <a:noAutofit/>
          </a:bodyPr>
          <a:lstStyle/>
          <a:p>
            <a:pPr marL="0" marR="0" lvl="0" indent="0" algn="l" defTabSz="914400" rtl="0" eaLnBrk="1" fontAlgn="auto" latinLnBrk="0" hangingPunct="1">
              <a:lnSpc>
                <a:spcPct val="100000"/>
              </a:lnSpc>
              <a:spcBef>
                <a:spcPts val="300"/>
              </a:spcBef>
              <a:spcAft>
                <a:spcPct val="0"/>
              </a:spcAft>
              <a:buClrTx/>
              <a:buSzTx/>
              <a:buFontTx/>
              <a:buNone/>
              <a:tabLst/>
              <a:defRPr/>
            </a:pPr>
            <a:r>
              <a:rPr kumimoji="0" lang="en-US" sz="1000" b="0"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A full range of interactive eLearning, supplemented with deep-dive ‘micro-learning’ video modules:</a:t>
            </a:r>
          </a:p>
          <a:p>
            <a:pPr marL="228600" marR="0" lvl="0" indent="-228600" algn="l" defTabSz="914400" rtl="0" eaLnBrk="1" fontAlgn="auto" latinLnBrk="0" hangingPunct="1">
              <a:lnSpc>
                <a:spcPct val="100000"/>
              </a:lnSpc>
              <a:spcBef>
                <a:spcPts val="300"/>
              </a:spcBef>
              <a:spcAft>
                <a:spcPct val="0"/>
              </a:spcAft>
              <a:buClrTx/>
              <a:buSzTx/>
              <a:buFont typeface="+mj-lt"/>
              <a:buAutoNum type="arabicPeriod"/>
              <a:tabLst/>
              <a:defRPr/>
            </a:pPr>
            <a:r>
              <a:rPr kumimoji="0" lang="en-US" sz="1000" b="0"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Best practice in digital tools use</a:t>
            </a:r>
          </a:p>
          <a:p>
            <a:pPr marL="228600" marR="0" lvl="0" indent="-228600" algn="l" defTabSz="914400" rtl="0" eaLnBrk="1" fontAlgn="auto" latinLnBrk="0" hangingPunct="1">
              <a:lnSpc>
                <a:spcPct val="100000"/>
              </a:lnSpc>
              <a:spcBef>
                <a:spcPts val="300"/>
              </a:spcBef>
              <a:spcAft>
                <a:spcPct val="0"/>
              </a:spcAft>
              <a:buClrTx/>
              <a:buSzTx/>
              <a:buFont typeface="+mj-lt"/>
              <a:buAutoNum type="arabicPeriod"/>
              <a:tabLst/>
              <a:defRPr/>
            </a:pPr>
            <a:r>
              <a:rPr kumimoji="0" lang="en-US" sz="1000" b="0"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Understanding the customer journey and how Veeva tools map to daily workflow</a:t>
            </a:r>
          </a:p>
          <a:p>
            <a:pPr marL="228600" marR="0" lvl="0" indent="-228600" algn="l" defTabSz="914400" rtl="0" eaLnBrk="1" fontAlgn="auto" latinLnBrk="0" hangingPunct="1">
              <a:lnSpc>
                <a:spcPct val="100000"/>
              </a:lnSpc>
              <a:spcBef>
                <a:spcPts val="300"/>
              </a:spcBef>
              <a:spcAft>
                <a:spcPct val="0"/>
              </a:spcAft>
              <a:buClrTx/>
              <a:buSzTx/>
              <a:buFont typeface="+mj-lt"/>
              <a:buAutoNum type="arabicPeriod"/>
              <a:tabLst/>
              <a:defRPr/>
            </a:pPr>
            <a:r>
              <a:rPr kumimoji="0" lang="en-US" sz="1000" b="0"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Engaging with customers over virtual meetings</a:t>
            </a:r>
          </a:p>
          <a:p>
            <a:pPr marL="228600" marR="0" lvl="0" indent="-228600" algn="l" defTabSz="914400" rtl="0" eaLnBrk="1" fontAlgn="auto" latinLnBrk="0" hangingPunct="1">
              <a:lnSpc>
                <a:spcPct val="100000"/>
              </a:lnSpc>
              <a:spcBef>
                <a:spcPts val="300"/>
              </a:spcBef>
              <a:spcAft>
                <a:spcPct val="0"/>
              </a:spcAft>
              <a:buClrTx/>
              <a:buSzTx/>
              <a:buFont typeface="+mj-lt"/>
              <a:buAutoNum type="arabicPeriod"/>
              <a:tabLst/>
              <a:defRPr/>
            </a:pPr>
            <a:r>
              <a:rPr kumimoji="0" lang="en-US" sz="1000" b="0"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Successfully delivery remote meetings</a:t>
            </a:r>
          </a:p>
          <a:p>
            <a:pPr marL="228600" marR="0" lvl="0" indent="-228600" algn="l" defTabSz="914400" rtl="0" eaLnBrk="1" fontAlgn="auto" latinLnBrk="0" hangingPunct="1">
              <a:lnSpc>
                <a:spcPct val="100000"/>
              </a:lnSpc>
              <a:spcBef>
                <a:spcPts val="300"/>
              </a:spcBef>
              <a:spcAft>
                <a:spcPct val="0"/>
              </a:spcAft>
              <a:buClrTx/>
              <a:buSzTx/>
              <a:buFont typeface="+mj-lt"/>
              <a:buAutoNum type="arabicPeriod"/>
              <a:tabLst/>
              <a:defRPr/>
            </a:pPr>
            <a:r>
              <a:rPr kumimoji="0" lang="en-US" sz="1000" b="0"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Leveraging CLM and VAE to drive deeper conversations, and extend your interaction beyond the call</a:t>
            </a:r>
          </a:p>
        </p:txBody>
      </p:sp>
      <p:sp>
        <p:nvSpPr>
          <p:cNvPr id="24" name="TextBox 23">
            <a:extLst>
              <a:ext uri="{FF2B5EF4-FFF2-40B4-BE49-F238E27FC236}">
                <a16:creationId xmlns:a16="http://schemas.microsoft.com/office/drawing/2014/main" id="{80C813D1-DD33-4A48-8D77-CCC1954615D0}"/>
              </a:ext>
            </a:extLst>
          </p:cNvPr>
          <p:cNvSpPr txBox="1"/>
          <p:nvPr/>
        </p:nvSpPr>
        <p:spPr>
          <a:xfrm>
            <a:off x="8953040" y="3059716"/>
            <a:ext cx="2572818" cy="307692"/>
          </a:xfrm>
          <a:prstGeom prst="rect">
            <a:avLst/>
          </a:prstGeom>
          <a:noFill/>
        </p:spPr>
        <p:txBody>
          <a:bodyPr wrap="square" lIns="91356" tIns="45678" rIns="91356" bIns="45678" rtlCol="0">
            <a:spAutoFit/>
          </a:bodyPr>
          <a:lstStyle/>
          <a:p>
            <a:pPr marL="0" marR="0" lvl="0" indent="0" algn="l" defTabSz="913545" rtl="0" eaLnBrk="1" fontAlgn="auto" latinLnBrk="0" hangingPunct="1">
              <a:lnSpc>
                <a:spcPct val="100000"/>
              </a:lnSpc>
              <a:spcBef>
                <a:spcPts val="0"/>
              </a:spcBef>
              <a:spcAft>
                <a:spcPct val="0"/>
              </a:spcAft>
              <a:buClrTx/>
              <a:buSzTx/>
              <a:buFontTx/>
              <a:buNone/>
              <a:tabLst/>
              <a:defRPr/>
            </a:pPr>
            <a:r>
              <a:rPr kumimoji="0" lang="en-US" sz="1400" b="1"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Multi-language eLearning</a:t>
            </a:r>
          </a:p>
        </p:txBody>
      </p:sp>
      <p:sp>
        <p:nvSpPr>
          <p:cNvPr id="25" name="TextBox 24">
            <a:extLst>
              <a:ext uri="{FF2B5EF4-FFF2-40B4-BE49-F238E27FC236}">
                <a16:creationId xmlns:a16="http://schemas.microsoft.com/office/drawing/2014/main" id="{6F0B4CF9-16A1-BE4E-9378-52A6FA497D81}"/>
              </a:ext>
            </a:extLst>
          </p:cNvPr>
          <p:cNvSpPr txBox="1"/>
          <p:nvPr/>
        </p:nvSpPr>
        <p:spPr>
          <a:xfrm>
            <a:off x="5769844" y="5672662"/>
            <a:ext cx="2583159" cy="532945"/>
          </a:xfrm>
          <a:prstGeom prst="rect">
            <a:avLst/>
          </a:prstGeom>
          <a:noFill/>
        </p:spPr>
        <p:txBody>
          <a:bodyPr wrap="square" lIns="91356" tIns="45678" rIns="91356" bIns="45678" rtlCol="0" anchor="t">
            <a:noAutofit/>
          </a:bodyPr>
          <a:lstStyle/>
          <a:p>
            <a:pPr marL="0" marR="0" lvl="0" indent="0" algn="l" defTabSz="914400" rtl="0" eaLnBrk="1" fontAlgn="auto" latinLnBrk="0" hangingPunct="1">
              <a:lnSpc>
                <a:spcPct val="100000"/>
              </a:lnSpc>
              <a:spcBef>
                <a:spcPts val="300"/>
              </a:spcBef>
              <a:spcAft>
                <a:spcPct val="0"/>
              </a:spcAft>
              <a:buClrTx/>
              <a:buSzTx/>
              <a:buFontTx/>
              <a:buNone/>
              <a:tabLst/>
              <a:defRPr/>
            </a:pPr>
            <a:r>
              <a:rPr kumimoji="0" lang="en-US" sz="1000" b="0"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Engaging video and interactive communications setting the scene for the </a:t>
            </a:r>
            <a:r>
              <a:rPr lang="en-US" sz="1000" i="1">
                <a:solidFill>
                  <a:srgbClr val="646569"/>
                </a:solidFill>
                <a:latin typeface="Calibri" panose="020F0502020204030204" pitchFamily="34" charset="0"/>
                <a:cs typeface="Calibri" panose="020F0502020204030204" pitchFamily="34" charset="0"/>
              </a:rPr>
              <a:t>upcoming change, and describing the value for field teams and HCPs</a:t>
            </a:r>
            <a:endParaRPr kumimoji="0" lang="en-US" sz="1000" b="0"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endParaRPr>
          </a:p>
        </p:txBody>
      </p:sp>
      <p:sp>
        <p:nvSpPr>
          <p:cNvPr id="26" name="TextBox 25">
            <a:extLst>
              <a:ext uri="{FF2B5EF4-FFF2-40B4-BE49-F238E27FC236}">
                <a16:creationId xmlns:a16="http://schemas.microsoft.com/office/drawing/2014/main" id="{CFA3A5AE-9E34-7347-8D48-AF30BF30A8A5}"/>
              </a:ext>
            </a:extLst>
          </p:cNvPr>
          <p:cNvSpPr txBox="1"/>
          <p:nvPr/>
        </p:nvSpPr>
        <p:spPr>
          <a:xfrm>
            <a:off x="5794554" y="5442700"/>
            <a:ext cx="2607333" cy="276914"/>
          </a:xfrm>
          <a:prstGeom prst="rect">
            <a:avLst/>
          </a:prstGeom>
          <a:noFill/>
        </p:spPr>
        <p:txBody>
          <a:bodyPr wrap="square" lIns="91356" tIns="45678" rIns="91356" bIns="45678" rtlCol="0">
            <a:spAutoFit/>
          </a:bodyPr>
          <a:lstStyle/>
          <a:p>
            <a:pPr marL="0" marR="0" lvl="0" indent="0" algn="l" defTabSz="914400" rtl="0" eaLnBrk="1" fontAlgn="base" latinLnBrk="0" hangingPunct="1">
              <a:lnSpc>
                <a:spcPct val="85000"/>
              </a:lnSpc>
              <a:spcBef>
                <a:spcPct val="0"/>
              </a:spcBef>
              <a:spcAft>
                <a:spcPts val="400"/>
              </a:spcAft>
              <a:buClr>
                <a:srgbClr val="FAB911"/>
              </a:buClr>
              <a:buSzPct val="70000"/>
              <a:buFontTx/>
              <a:buNone/>
              <a:tabLst>
                <a:tab pos="173038" algn="l"/>
              </a:tabLst>
              <a:defRPr/>
            </a:pPr>
            <a:r>
              <a:rPr kumimoji="0" lang="en-US" sz="1400" b="1" i="1" u="none" strike="noStrike" kern="1200" cap="none" spc="0" normalizeH="0" baseline="0" noProof="0">
                <a:ln>
                  <a:noFill/>
                </a:ln>
                <a:solidFill>
                  <a:srgbClr val="646569"/>
                </a:solidFill>
                <a:effectLst/>
                <a:uLnTx/>
                <a:uFillTx/>
                <a:latin typeface="Calibri" panose="020F0502020204030204" pitchFamily="34" charset="0"/>
                <a:ea typeface="+mn-ea"/>
                <a:cs typeface="Calibri" panose="020F0502020204030204" pitchFamily="34" charset="0"/>
              </a:rPr>
              <a:t>Change communications plan</a:t>
            </a:r>
          </a:p>
        </p:txBody>
      </p:sp>
      <p:pic>
        <p:nvPicPr>
          <p:cNvPr id="2" name="Picture 1">
            <a:extLst>
              <a:ext uri="{FF2B5EF4-FFF2-40B4-BE49-F238E27FC236}">
                <a16:creationId xmlns:a16="http://schemas.microsoft.com/office/drawing/2014/main" id="{213BA0B3-9FF5-E940-A9F8-322A301C607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31226" y="1037081"/>
            <a:ext cx="2671235" cy="1104528"/>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AB6A0004-37E3-0A46-A587-26A44CFA3D2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58465" y="3694479"/>
            <a:ext cx="2633370" cy="1633240"/>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2A8300C9-8834-6148-96B7-C178CBD325B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42647" y="1442582"/>
            <a:ext cx="2676364" cy="1483591"/>
          </a:xfrm>
          <a:prstGeom prst="rect">
            <a:avLst/>
          </a:prstGeom>
          <a:ln>
            <a:noFill/>
          </a:ln>
          <a:effectLst>
            <a:outerShdw blurRad="292100" dist="139700" dir="2700000" algn="tl" rotWithShape="0">
              <a:srgbClr val="333333">
                <a:alpha val="65000"/>
              </a:srgbClr>
            </a:outerShdw>
          </a:effectLst>
        </p:spPr>
      </p:pic>
      <p:sp>
        <p:nvSpPr>
          <p:cNvPr id="14" name="Rectangle 13">
            <a:extLst>
              <a:ext uri="{FF2B5EF4-FFF2-40B4-BE49-F238E27FC236}">
                <a16:creationId xmlns:a16="http://schemas.microsoft.com/office/drawing/2014/main" id="{DF09BC33-65AC-2F41-9313-BBE71A944C48}"/>
              </a:ext>
            </a:extLst>
          </p:cNvPr>
          <p:cNvSpPr/>
          <p:nvPr/>
        </p:nvSpPr>
        <p:spPr>
          <a:xfrm>
            <a:off x="0" y="-33383"/>
            <a:ext cx="12192000" cy="2740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ur selected credentials </a:t>
            </a:r>
          </a:p>
        </p:txBody>
      </p:sp>
    </p:spTree>
    <p:extLst>
      <p:ext uri="{BB962C8B-B14F-4D97-AF65-F5344CB8AC3E}">
        <p14:creationId xmlns:p14="http://schemas.microsoft.com/office/powerpoint/2010/main" val="234169856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7A06C6-4D60-E043-B067-727D999DF628}"/>
              </a:ext>
            </a:extLst>
          </p:cNvPr>
          <p:cNvSpPr>
            <a:spLocks noGrp="1"/>
          </p:cNvSpPr>
          <p:nvPr>
            <p:ph type="title"/>
          </p:nvPr>
        </p:nvSpPr>
        <p:spPr/>
        <p:txBody>
          <a:bodyPr anchor="ctr"/>
          <a:lstStyle/>
          <a:p>
            <a:r>
              <a:rPr lang="en-US" sz="2800">
                <a:latin typeface="Calibri" panose="020F0502020204030204" pitchFamily="34" charset="0"/>
                <a:cs typeface="Calibri" panose="020F0502020204030204" pitchFamily="34" charset="0"/>
              </a:rPr>
              <a:t>3. Upskill on digital capabilities for better CX across EU</a:t>
            </a:r>
          </a:p>
        </p:txBody>
      </p:sp>
      <p:sp>
        <p:nvSpPr>
          <p:cNvPr id="4" name="TextBox 3">
            <a:extLst>
              <a:ext uri="{FF2B5EF4-FFF2-40B4-BE49-F238E27FC236}">
                <a16:creationId xmlns:a16="http://schemas.microsoft.com/office/drawing/2014/main" id="{BD39108C-2EF1-6E42-B7E2-66D6B69CCBF0}"/>
              </a:ext>
            </a:extLst>
          </p:cNvPr>
          <p:cNvSpPr txBox="1"/>
          <p:nvPr/>
        </p:nvSpPr>
        <p:spPr>
          <a:xfrm>
            <a:off x="276303" y="978940"/>
            <a:ext cx="3926844" cy="344710"/>
          </a:xfrm>
          <a:prstGeom prst="rect">
            <a:avLst/>
          </a:prstGeom>
          <a:noFill/>
        </p:spPr>
        <p:txBody>
          <a:bodyPr wrap="non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2000" b="1">
                <a:latin typeface="Calibri" panose="020F0502020204030204" pitchFamily="34" charset="0"/>
                <a:cs typeface="Calibri" panose="020F0502020204030204" pitchFamily="34" charset="0"/>
              </a:rPr>
              <a:t>Accelerating Digital Transformation</a:t>
            </a:r>
          </a:p>
        </p:txBody>
      </p:sp>
      <p:sp>
        <p:nvSpPr>
          <p:cNvPr id="5" name="TextBox 4">
            <a:extLst>
              <a:ext uri="{FF2B5EF4-FFF2-40B4-BE49-F238E27FC236}">
                <a16:creationId xmlns:a16="http://schemas.microsoft.com/office/drawing/2014/main" id="{3B2AEF86-B203-9B46-AF7E-2CA2F415B8CF}"/>
              </a:ext>
            </a:extLst>
          </p:cNvPr>
          <p:cNvSpPr txBox="1"/>
          <p:nvPr/>
        </p:nvSpPr>
        <p:spPr>
          <a:xfrm>
            <a:off x="656077" y="2039953"/>
            <a:ext cx="4287712" cy="3669723"/>
          </a:xfrm>
          <a:prstGeom prst="rect">
            <a:avLst/>
          </a:prstGeom>
          <a:noFill/>
        </p:spPr>
        <p:txBody>
          <a:bodyPr wrap="square" lIns="0" tIns="36576" rIns="0" bIns="0" rtlCol="0">
            <a:spAutoFit/>
          </a:bodyPr>
          <a:lstStyle/>
          <a:p>
            <a:pPr>
              <a:lnSpc>
                <a:spcPct val="85000"/>
              </a:lnSpc>
              <a:spcAft>
                <a:spcPts val="400"/>
              </a:spcAft>
              <a:buClr>
                <a:schemeClr val="accent2"/>
              </a:buClr>
              <a:buSzPct val="70000"/>
            </a:pPr>
            <a:r>
              <a:rPr lang="en-US" sz="1600" b="1">
                <a:latin typeface="Calibri" panose="020F0502020204030204" pitchFamily="34" charset="0"/>
                <a:cs typeface="Calibri" panose="020F0502020204030204" pitchFamily="34" charset="0"/>
              </a:rPr>
              <a:t>Business Need</a:t>
            </a:r>
          </a:p>
          <a:p>
            <a:pPr marL="290512" indent="-171450" defTabSz="91440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Physicians become increasingly digitally savvy while at the same time the sales representative-based model becomes unsustainable in the long run</a:t>
            </a:r>
          </a:p>
          <a:p>
            <a:pPr marL="290512" indent="-171450" defTabSz="91440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More than ever, the competitive environment requires a need to differentiate how Physicians are engaged with over time</a:t>
            </a:r>
          </a:p>
          <a:p>
            <a:pPr marL="290512" indent="-171450" defTabSz="91440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This led to a top 10 Global Pharmaceutical company to develop a specific range of tools to understand digital maturity and empower their commercial functions to drive a digital engagement with physicians across Europe</a:t>
            </a:r>
          </a:p>
          <a:p>
            <a:pPr marL="285750" indent="-166688" defTabSz="914400" fontAlgn="base">
              <a:spcBef>
                <a:spcPct val="0"/>
              </a:spcBef>
              <a:spcAft>
                <a:spcPct val="0"/>
              </a:spcAft>
              <a:buClr>
                <a:srgbClr val="FFE600"/>
              </a:buClr>
              <a:buSzPct val="100000"/>
              <a:buFont typeface="Wingdings" panose="05000000000000000000" pitchFamily="2" charset="2"/>
              <a:buChar char="§"/>
              <a:tabLst>
                <a:tab pos="173038" algn="l"/>
              </a:tabLst>
              <a:defRPr/>
            </a:pPr>
            <a:endParaRPr lang="en-US" sz="1200" kern="0">
              <a:latin typeface="Calibri" panose="020F0502020204030204" pitchFamily="34" charset="0"/>
              <a:cs typeface="Calibri" panose="020F0502020204030204" pitchFamily="34" charset="0"/>
            </a:endParaRPr>
          </a:p>
          <a:p>
            <a:pPr marL="285750" indent="-166688" defTabSz="914400" fontAlgn="base">
              <a:lnSpc>
                <a:spcPct val="85000"/>
              </a:lnSpc>
              <a:spcBef>
                <a:spcPct val="0"/>
              </a:spcBef>
              <a:spcAft>
                <a:spcPct val="0"/>
              </a:spcAft>
              <a:buClr>
                <a:srgbClr val="FFE600"/>
              </a:buClr>
              <a:buSzPct val="100000"/>
              <a:buFont typeface="Wingdings" panose="05000000000000000000" pitchFamily="2" charset="2"/>
              <a:buChar char="§"/>
              <a:tabLst>
                <a:tab pos="173038" algn="l"/>
              </a:tabLst>
              <a:defRPr/>
            </a:pPr>
            <a:endParaRPr lang="en-US" sz="1200" kern="0">
              <a:latin typeface="Calibri" panose="020F0502020204030204" pitchFamily="34" charset="0"/>
              <a:cs typeface="Calibri" panose="020F0502020204030204" pitchFamily="34" charset="0"/>
            </a:endParaRPr>
          </a:p>
          <a:p>
            <a:pPr fontAlgn="base">
              <a:lnSpc>
                <a:spcPct val="85000"/>
              </a:lnSpc>
              <a:spcBef>
                <a:spcPct val="0"/>
              </a:spcBef>
              <a:spcAft>
                <a:spcPts val="400"/>
              </a:spcAft>
              <a:buClr>
                <a:schemeClr val="accent2"/>
              </a:buClr>
              <a:buSzPct val="70000"/>
              <a:tabLst>
                <a:tab pos="173038" algn="l"/>
              </a:tabLst>
              <a:defRPr/>
            </a:pPr>
            <a:r>
              <a:rPr lang="en-US" sz="1600" b="1">
                <a:latin typeface="Calibri" panose="020F0502020204030204" pitchFamily="34" charset="0"/>
                <a:cs typeface="Calibri" panose="020F0502020204030204" pitchFamily="34" charset="0"/>
              </a:rPr>
              <a:t>Value Delivered</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Aligned steering committee around programme value and objectives. Developed “Executive Story” to support programme based on affiliate needs</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Delivered frameworks and Tactical guidance on how to operate in Multichannel Marketing (digital and legal)</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Multichannel framework (KPIs, change journey and dashboards)</a:t>
            </a:r>
          </a:p>
        </p:txBody>
      </p:sp>
      <p:sp>
        <p:nvSpPr>
          <p:cNvPr id="25" name="TextBox 24">
            <a:extLst>
              <a:ext uri="{FF2B5EF4-FFF2-40B4-BE49-F238E27FC236}">
                <a16:creationId xmlns:a16="http://schemas.microsoft.com/office/drawing/2014/main" id="{448FD9EE-0562-0845-A108-FAEB19410E14}"/>
              </a:ext>
            </a:extLst>
          </p:cNvPr>
          <p:cNvSpPr txBox="1"/>
          <p:nvPr/>
        </p:nvSpPr>
        <p:spPr>
          <a:xfrm>
            <a:off x="5494129" y="2559116"/>
            <a:ext cx="2953224" cy="1872406"/>
          </a:xfrm>
          <a:prstGeom prst="rect">
            <a:avLst/>
          </a:prstGeom>
          <a:noFill/>
        </p:spPr>
        <p:txBody>
          <a:bodyPr wrap="square" lIns="91356" tIns="45678" rIns="91356" bIns="45678" rtlCol="0">
            <a:noAutofit/>
          </a:bodyPr>
          <a:lstStyle/>
          <a:p>
            <a:pPr defTabSz="913545" fontAlgn="auto">
              <a:spcBef>
                <a:spcPts val="300"/>
              </a:spcBef>
              <a:spcAft>
                <a:spcPct val="0"/>
              </a:spcAft>
              <a:buClrTx/>
              <a:buSzTx/>
              <a:defRPr/>
            </a:pPr>
            <a:r>
              <a:rPr lang="en-US" sz="1000" b="1" kern="0">
                <a:latin typeface="Calibri" panose="020F0502020204030204" pitchFamily="34" charset="0"/>
                <a:cs typeface="Calibri" panose="020F0502020204030204" pitchFamily="34" charset="0"/>
              </a:rPr>
              <a:t>Four How to Guides </a:t>
            </a:r>
            <a:r>
              <a:rPr lang="en-US" sz="1000" i="1" kern="0">
                <a:latin typeface="Calibri" panose="020F0502020204030204" pitchFamily="34" charset="0"/>
                <a:cs typeface="Calibri" panose="020F0502020204030204" pitchFamily="34" charset="0"/>
              </a:rPr>
              <a:t>giving detailed support the Marketing &amp; Sales in the following topics:</a:t>
            </a:r>
          </a:p>
          <a:p>
            <a:pPr marL="171289" indent="-171289" defTabSz="913545" fontAlgn="auto">
              <a:spcBef>
                <a:spcPts val="300"/>
              </a:spcBef>
              <a:spcAft>
                <a:spcPct val="0"/>
              </a:spcAft>
              <a:buClrTx/>
              <a:buSzTx/>
              <a:buFont typeface="Arial" panose="020B0604020202020204" pitchFamily="34" charset="0"/>
              <a:buChar char="•"/>
              <a:defRPr/>
            </a:pPr>
            <a:r>
              <a:rPr lang="en-US" sz="1000" i="1" kern="0">
                <a:latin typeface="Calibri" panose="020F0502020204030204" pitchFamily="34" charset="0"/>
                <a:cs typeface="Calibri" panose="020F0502020204030204" pitchFamily="34" charset="0"/>
              </a:rPr>
              <a:t>Data privacy &amp; Pharma legal</a:t>
            </a:r>
          </a:p>
          <a:p>
            <a:pPr marL="171289" indent="-171289" defTabSz="913545" fontAlgn="auto">
              <a:spcBef>
                <a:spcPts val="300"/>
              </a:spcBef>
              <a:spcAft>
                <a:spcPct val="0"/>
              </a:spcAft>
              <a:buClrTx/>
              <a:buSzTx/>
              <a:buFont typeface="Arial" panose="020B0604020202020204" pitchFamily="34" charset="0"/>
              <a:buChar char="•"/>
              <a:defRPr/>
            </a:pPr>
            <a:r>
              <a:rPr lang="en-US" sz="1000" i="1" kern="0">
                <a:latin typeface="Calibri" panose="020F0502020204030204" pitchFamily="34" charset="0"/>
                <a:cs typeface="Calibri" panose="020F0502020204030204" pitchFamily="34" charset="0"/>
              </a:rPr>
              <a:t>Customer Experience</a:t>
            </a:r>
          </a:p>
          <a:p>
            <a:pPr marL="171289" indent="-171289" defTabSz="913545" fontAlgn="auto">
              <a:spcBef>
                <a:spcPts val="300"/>
              </a:spcBef>
              <a:spcAft>
                <a:spcPct val="0"/>
              </a:spcAft>
              <a:buClrTx/>
              <a:buSzTx/>
              <a:buFont typeface="Arial" panose="020B0604020202020204" pitchFamily="34" charset="0"/>
              <a:buChar char="•"/>
              <a:defRPr/>
            </a:pPr>
            <a:r>
              <a:rPr lang="en-US" sz="1000" i="1" kern="0">
                <a:latin typeface="Calibri" panose="020F0502020204030204" pitchFamily="34" charset="0"/>
                <a:cs typeface="Calibri" panose="020F0502020204030204" pitchFamily="34" charset="0"/>
              </a:rPr>
              <a:t>Digital Tactics</a:t>
            </a:r>
          </a:p>
          <a:p>
            <a:pPr marL="171289" indent="-171289" defTabSz="913545" fontAlgn="auto">
              <a:spcBef>
                <a:spcPts val="300"/>
              </a:spcBef>
              <a:spcAft>
                <a:spcPct val="0"/>
              </a:spcAft>
              <a:buClrTx/>
              <a:buSzTx/>
              <a:buFont typeface="Arial" panose="020B0604020202020204" pitchFamily="34" charset="0"/>
              <a:buChar char="•"/>
              <a:defRPr/>
            </a:pPr>
            <a:r>
              <a:rPr lang="en-US" sz="1000" i="1" kern="0">
                <a:latin typeface="Calibri" panose="020F0502020204030204" pitchFamily="34" charset="0"/>
                <a:cs typeface="Calibri" panose="020F0502020204030204" pitchFamily="34" charset="0"/>
              </a:rPr>
              <a:t>KPI &amp; Analytics</a:t>
            </a:r>
          </a:p>
        </p:txBody>
      </p:sp>
      <p:sp>
        <p:nvSpPr>
          <p:cNvPr id="26" name="TextBox 25">
            <a:extLst>
              <a:ext uri="{FF2B5EF4-FFF2-40B4-BE49-F238E27FC236}">
                <a16:creationId xmlns:a16="http://schemas.microsoft.com/office/drawing/2014/main" id="{DDFCDC21-DFB7-5748-8249-4ABB79501F31}"/>
              </a:ext>
            </a:extLst>
          </p:cNvPr>
          <p:cNvSpPr txBox="1"/>
          <p:nvPr/>
        </p:nvSpPr>
        <p:spPr>
          <a:xfrm>
            <a:off x="5494129" y="2340469"/>
            <a:ext cx="1894802" cy="276914"/>
          </a:xfrm>
          <a:prstGeom prst="rect">
            <a:avLst/>
          </a:prstGeom>
          <a:noFill/>
        </p:spPr>
        <p:txBody>
          <a:bodyPr wrap="square" lIns="91356" tIns="45678" rIns="91356" bIns="45678" rtlCol="0">
            <a:spAutoFit/>
          </a:bodyPr>
          <a:lstStyle/>
          <a:p>
            <a:pPr fontAlgn="base">
              <a:lnSpc>
                <a:spcPct val="85000"/>
              </a:lnSpc>
              <a:spcBef>
                <a:spcPct val="0"/>
              </a:spcBef>
              <a:spcAft>
                <a:spcPts val="400"/>
              </a:spcAft>
              <a:buClr>
                <a:schemeClr val="accent2"/>
              </a:buClr>
              <a:buSzPct val="70000"/>
              <a:tabLst>
                <a:tab pos="173038" algn="l"/>
              </a:tabLst>
              <a:defRPr/>
            </a:pPr>
            <a:r>
              <a:rPr lang="en-US" sz="1400" b="1" i="1">
                <a:latin typeface="Calibri" panose="020F0502020204030204" pitchFamily="34" charset="0"/>
                <a:cs typeface="Calibri" panose="020F0502020204030204" pitchFamily="34" charset="0"/>
              </a:rPr>
              <a:t>How to Guides</a:t>
            </a:r>
          </a:p>
        </p:txBody>
      </p:sp>
      <p:sp>
        <p:nvSpPr>
          <p:cNvPr id="27" name="TextBox 26">
            <a:extLst>
              <a:ext uri="{FF2B5EF4-FFF2-40B4-BE49-F238E27FC236}">
                <a16:creationId xmlns:a16="http://schemas.microsoft.com/office/drawing/2014/main" id="{36A97340-AAFD-A642-A4B8-C75FA630805B}"/>
              </a:ext>
            </a:extLst>
          </p:cNvPr>
          <p:cNvSpPr txBox="1"/>
          <p:nvPr/>
        </p:nvSpPr>
        <p:spPr>
          <a:xfrm>
            <a:off x="8860611" y="2651741"/>
            <a:ext cx="2371648" cy="1389311"/>
          </a:xfrm>
          <a:prstGeom prst="rect">
            <a:avLst/>
          </a:prstGeom>
          <a:noFill/>
        </p:spPr>
        <p:txBody>
          <a:bodyPr wrap="square" lIns="91356" tIns="45678" rIns="91356" bIns="45678" rtlCol="0" anchor="t">
            <a:noAutofit/>
          </a:bodyPr>
          <a:lstStyle/>
          <a:p>
            <a:pPr>
              <a:spcBef>
                <a:spcPts val="300"/>
              </a:spcBef>
              <a:spcAft>
                <a:spcPct val="0"/>
              </a:spcAft>
              <a:buClrTx/>
              <a:buSzTx/>
            </a:pPr>
            <a:r>
              <a:rPr lang="en-US" sz="1000" i="1">
                <a:latin typeface="Calibri" panose="020F0502020204030204" pitchFamily="34" charset="0"/>
                <a:cs typeface="Calibri" panose="020F0502020204030204" pitchFamily="34" charset="0"/>
              </a:rPr>
              <a:t>Set of templates to support in the integration and definition of digital initiatives in the overall campaign design and implementation</a:t>
            </a:r>
          </a:p>
        </p:txBody>
      </p:sp>
      <p:sp>
        <p:nvSpPr>
          <p:cNvPr id="28" name="TextBox 27">
            <a:extLst>
              <a:ext uri="{FF2B5EF4-FFF2-40B4-BE49-F238E27FC236}">
                <a16:creationId xmlns:a16="http://schemas.microsoft.com/office/drawing/2014/main" id="{07378273-0858-1D41-AF48-41B139AEFD7F}"/>
              </a:ext>
            </a:extLst>
          </p:cNvPr>
          <p:cNvSpPr txBox="1"/>
          <p:nvPr/>
        </p:nvSpPr>
        <p:spPr>
          <a:xfrm>
            <a:off x="8813851" y="2342410"/>
            <a:ext cx="2572818" cy="307692"/>
          </a:xfrm>
          <a:prstGeom prst="rect">
            <a:avLst/>
          </a:prstGeom>
          <a:noFill/>
        </p:spPr>
        <p:txBody>
          <a:bodyPr wrap="square" lIns="91356" tIns="45678" rIns="91356" bIns="45678" rtlCol="0">
            <a:spAutoFit/>
          </a:bodyPr>
          <a:lstStyle/>
          <a:p>
            <a:pPr defTabSz="913545" fontAlgn="auto">
              <a:spcBef>
                <a:spcPts val="0"/>
              </a:spcBef>
              <a:spcAft>
                <a:spcPct val="0"/>
              </a:spcAft>
              <a:buClrTx/>
              <a:buSzTx/>
              <a:defRPr/>
            </a:pPr>
            <a:r>
              <a:rPr lang="en-US" sz="1400" b="1" i="1">
                <a:latin typeface="Calibri" panose="020F0502020204030204" pitchFamily="34" charset="0"/>
                <a:cs typeface="Calibri" panose="020F0502020204030204" pitchFamily="34" charset="0"/>
              </a:rPr>
              <a:t>Digital planning Process</a:t>
            </a:r>
          </a:p>
        </p:txBody>
      </p:sp>
      <p:sp>
        <p:nvSpPr>
          <p:cNvPr id="29" name="TextBox 28">
            <a:extLst>
              <a:ext uri="{FF2B5EF4-FFF2-40B4-BE49-F238E27FC236}">
                <a16:creationId xmlns:a16="http://schemas.microsoft.com/office/drawing/2014/main" id="{55837176-E87A-A846-B1F7-116EDE35866D}"/>
              </a:ext>
            </a:extLst>
          </p:cNvPr>
          <p:cNvSpPr txBox="1"/>
          <p:nvPr/>
        </p:nvSpPr>
        <p:spPr>
          <a:xfrm>
            <a:off x="5449059" y="5784965"/>
            <a:ext cx="2422531" cy="532945"/>
          </a:xfrm>
          <a:prstGeom prst="rect">
            <a:avLst/>
          </a:prstGeom>
          <a:noFill/>
        </p:spPr>
        <p:txBody>
          <a:bodyPr wrap="square" lIns="91356" tIns="45678" rIns="91356" bIns="45678" rtlCol="0" anchor="t">
            <a:noAutofit/>
          </a:bodyPr>
          <a:lstStyle/>
          <a:p>
            <a:pPr>
              <a:spcBef>
                <a:spcPts val="300"/>
              </a:spcBef>
              <a:spcAft>
                <a:spcPct val="0"/>
              </a:spcAft>
              <a:buClrTx/>
              <a:buSzTx/>
            </a:pPr>
            <a:r>
              <a:rPr lang="en-US" sz="1000" i="1">
                <a:latin typeface="Calibri" panose="020F0502020204030204" pitchFamily="34" charset="0"/>
                <a:cs typeface="Calibri" panose="020F0502020204030204" pitchFamily="34" charset="0"/>
              </a:rPr>
              <a:t>Self-assessment tool to assess the maturity level of the digital capabilities in term of people, process and tools</a:t>
            </a:r>
          </a:p>
        </p:txBody>
      </p:sp>
      <p:sp>
        <p:nvSpPr>
          <p:cNvPr id="30" name="TextBox 29">
            <a:extLst>
              <a:ext uri="{FF2B5EF4-FFF2-40B4-BE49-F238E27FC236}">
                <a16:creationId xmlns:a16="http://schemas.microsoft.com/office/drawing/2014/main" id="{62642F24-D666-CC40-B7CB-672C4E98725F}"/>
              </a:ext>
            </a:extLst>
          </p:cNvPr>
          <p:cNvSpPr txBox="1"/>
          <p:nvPr/>
        </p:nvSpPr>
        <p:spPr>
          <a:xfrm>
            <a:off x="5449756" y="5538195"/>
            <a:ext cx="2445202" cy="276914"/>
          </a:xfrm>
          <a:prstGeom prst="rect">
            <a:avLst/>
          </a:prstGeom>
          <a:noFill/>
        </p:spPr>
        <p:txBody>
          <a:bodyPr wrap="square" lIns="91356" tIns="45678" rIns="91356" bIns="45678" rtlCol="0">
            <a:spAutoFit/>
          </a:bodyPr>
          <a:lstStyle/>
          <a:p>
            <a:pPr fontAlgn="base">
              <a:lnSpc>
                <a:spcPct val="85000"/>
              </a:lnSpc>
              <a:spcBef>
                <a:spcPct val="0"/>
              </a:spcBef>
              <a:spcAft>
                <a:spcPts val="400"/>
              </a:spcAft>
              <a:buClr>
                <a:schemeClr val="accent2"/>
              </a:buClr>
              <a:buSzPct val="70000"/>
              <a:tabLst>
                <a:tab pos="173038" algn="l"/>
              </a:tabLst>
              <a:defRPr/>
            </a:pPr>
            <a:r>
              <a:rPr lang="en-US" sz="1400" b="1" i="1">
                <a:latin typeface="Calibri" panose="020F0502020204030204" pitchFamily="34" charset="0"/>
                <a:cs typeface="Calibri" panose="020F0502020204030204" pitchFamily="34" charset="0"/>
              </a:rPr>
              <a:t>Self-assessment tool</a:t>
            </a:r>
          </a:p>
        </p:txBody>
      </p:sp>
      <p:sp>
        <p:nvSpPr>
          <p:cNvPr id="31" name="TextBox 30">
            <a:extLst>
              <a:ext uri="{FF2B5EF4-FFF2-40B4-BE49-F238E27FC236}">
                <a16:creationId xmlns:a16="http://schemas.microsoft.com/office/drawing/2014/main" id="{30B397D3-FA47-954B-94D6-00432DC52F33}"/>
              </a:ext>
            </a:extLst>
          </p:cNvPr>
          <p:cNvSpPr txBox="1"/>
          <p:nvPr/>
        </p:nvSpPr>
        <p:spPr>
          <a:xfrm>
            <a:off x="8776582" y="5538195"/>
            <a:ext cx="1555049" cy="276914"/>
          </a:xfrm>
          <a:prstGeom prst="rect">
            <a:avLst/>
          </a:prstGeom>
          <a:noFill/>
        </p:spPr>
        <p:txBody>
          <a:bodyPr wrap="square" lIns="91356" tIns="45678" rIns="91356" bIns="45678" rtlCol="0">
            <a:spAutoFit/>
          </a:bodyPr>
          <a:lstStyle/>
          <a:p>
            <a:pPr fontAlgn="base">
              <a:lnSpc>
                <a:spcPct val="85000"/>
              </a:lnSpc>
              <a:spcBef>
                <a:spcPct val="0"/>
              </a:spcBef>
              <a:spcAft>
                <a:spcPts val="400"/>
              </a:spcAft>
              <a:buClr>
                <a:schemeClr val="accent2"/>
              </a:buClr>
              <a:buSzPct val="70000"/>
              <a:tabLst>
                <a:tab pos="173038" algn="l"/>
              </a:tabLst>
              <a:defRPr/>
            </a:pPr>
            <a:r>
              <a:rPr lang="en-US" sz="1400" b="1" i="1">
                <a:latin typeface="Calibri" panose="020F0502020204030204" pitchFamily="34" charset="0"/>
                <a:cs typeface="Calibri" panose="020F0502020204030204" pitchFamily="34" charset="0"/>
              </a:rPr>
              <a:t>Dashboards</a:t>
            </a:r>
          </a:p>
        </p:txBody>
      </p:sp>
      <p:sp>
        <p:nvSpPr>
          <p:cNvPr id="32" name="TextBox 31">
            <a:extLst>
              <a:ext uri="{FF2B5EF4-FFF2-40B4-BE49-F238E27FC236}">
                <a16:creationId xmlns:a16="http://schemas.microsoft.com/office/drawing/2014/main" id="{E434B58C-64C4-5A45-B377-A87191E3147B}"/>
              </a:ext>
            </a:extLst>
          </p:cNvPr>
          <p:cNvSpPr txBox="1"/>
          <p:nvPr/>
        </p:nvSpPr>
        <p:spPr>
          <a:xfrm>
            <a:off x="8746438" y="5784965"/>
            <a:ext cx="2445202" cy="1389311"/>
          </a:xfrm>
          <a:prstGeom prst="rect">
            <a:avLst/>
          </a:prstGeom>
          <a:noFill/>
        </p:spPr>
        <p:txBody>
          <a:bodyPr wrap="square" lIns="91356" tIns="45678" rIns="91356" bIns="45678" rtlCol="0" anchor="t">
            <a:noAutofit/>
          </a:bodyPr>
          <a:lstStyle/>
          <a:p>
            <a:pPr>
              <a:spcBef>
                <a:spcPts val="300"/>
              </a:spcBef>
              <a:spcAft>
                <a:spcPct val="0"/>
              </a:spcAft>
              <a:buClrTx/>
              <a:buSzTx/>
            </a:pPr>
            <a:r>
              <a:rPr lang="en-US" sz="1000" i="1">
                <a:latin typeface="Calibri" panose="020F0502020204030204" pitchFamily="34" charset="0"/>
                <a:cs typeface="Calibri" panose="020F0502020204030204" pitchFamily="34" charset="0"/>
              </a:rPr>
              <a:t>Dashboarding exercise to illustrate the status of customer engagement journey through the defined KPI framework</a:t>
            </a:r>
          </a:p>
        </p:txBody>
      </p:sp>
      <p:pic>
        <p:nvPicPr>
          <p:cNvPr id="33" name="Snagit_PPT2227">
            <a:extLst>
              <a:ext uri="{FF2B5EF4-FFF2-40B4-BE49-F238E27FC236}">
                <a16:creationId xmlns:a16="http://schemas.microsoft.com/office/drawing/2014/main" id="{EE7F295A-7590-6B42-938F-5E5068956CE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69448" y="3967431"/>
            <a:ext cx="2248662" cy="1440191"/>
          </a:xfrm>
          <a:prstGeom prst="rect">
            <a:avLst/>
          </a:prstGeom>
        </p:spPr>
      </p:pic>
      <p:grpSp>
        <p:nvGrpSpPr>
          <p:cNvPr id="43" name="Group 42">
            <a:extLst>
              <a:ext uri="{FF2B5EF4-FFF2-40B4-BE49-F238E27FC236}">
                <a16:creationId xmlns:a16="http://schemas.microsoft.com/office/drawing/2014/main" id="{120BB895-8559-C34C-9734-95D76750786D}"/>
              </a:ext>
            </a:extLst>
          </p:cNvPr>
          <p:cNvGrpSpPr/>
          <p:nvPr/>
        </p:nvGrpSpPr>
        <p:grpSpPr>
          <a:xfrm>
            <a:off x="6370076" y="1104498"/>
            <a:ext cx="1018855" cy="1216315"/>
            <a:chOff x="8323310" y="875510"/>
            <a:chExt cx="1491705" cy="1958889"/>
          </a:xfrm>
          <a:effectLst>
            <a:outerShdw blurRad="50800" dist="38100" dir="2700000" algn="tl" rotWithShape="0">
              <a:prstClr val="black">
                <a:alpha val="40000"/>
              </a:prstClr>
            </a:outerShdw>
          </a:effectLst>
        </p:grpSpPr>
        <p:pic>
          <p:nvPicPr>
            <p:cNvPr id="38" name="Picture 37">
              <a:extLst>
                <a:ext uri="{FF2B5EF4-FFF2-40B4-BE49-F238E27FC236}">
                  <a16:creationId xmlns:a16="http://schemas.microsoft.com/office/drawing/2014/main" id="{666381B6-5190-8740-A497-F16D3E3E87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23310" y="875510"/>
              <a:ext cx="1341865" cy="1805925"/>
            </a:xfrm>
            <a:prstGeom prst="rect">
              <a:avLst/>
            </a:prstGeom>
            <a:ln>
              <a:solidFill>
                <a:srgbClr val="7030A0"/>
              </a:solidFill>
            </a:ln>
          </p:spPr>
        </p:pic>
        <p:pic>
          <p:nvPicPr>
            <p:cNvPr id="39" name="Picture 38">
              <a:extLst>
                <a:ext uri="{FF2B5EF4-FFF2-40B4-BE49-F238E27FC236}">
                  <a16:creationId xmlns:a16="http://schemas.microsoft.com/office/drawing/2014/main" id="{50A84D21-9ADA-3341-AE87-F791AF89471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60770" y="913751"/>
              <a:ext cx="1341865" cy="1805925"/>
            </a:xfrm>
            <a:prstGeom prst="rect">
              <a:avLst/>
            </a:prstGeom>
            <a:ln>
              <a:solidFill>
                <a:srgbClr val="7030A0"/>
              </a:solidFill>
            </a:ln>
          </p:spPr>
        </p:pic>
        <p:pic>
          <p:nvPicPr>
            <p:cNvPr id="40" name="Picture 39">
              <a:extLst>
                <a:ext uri="{FF2B5EF4-FFF2-40B4-BE49-F238E27FC236}">
                  <a16:creationId xmlns:a16="http://schemas.microsoft.com/office/drawing/2014/main" id="{62ABB392-74AF-5B40-859D-E00668B7B99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98230" y="951992"/>
              <a:ext cx="1341865" cy="1805925"/>
            </a:xfrm>
            <a:prstGeom prst="rect">
              <a:avLst/>
            </a:prstGeom>
            <a:ln>
              <a:solidFill>
                <a:srgbClr val="7030A0"/>
              </a:solidFill>
            </a:ln>
          </p:spPr>
        </p:pic>
        <p:pic>
          <p:nvPicPr>
            <p:cNvPr id="41" name="Picture 40">
              <a:extLst>
                <a:ext uri="{FF2B5EF4-FFF2-40B4-BE49-F238E27FC236}">
                  <a16:creationId xmlns:a16="http://schemas.microsoft.com/office/drawing/2014/main" id="{3CCE49B0-0FD9-7746-BCF4-B792BEA3CD7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35690" y="990233"/>
              <a:ext cx="1341865" cy="1805925"/>
            </a:xfrm>
            <a:prstGeom prst="rect">
              <a:avLst/>
            </a:prstGeom>
            <a:ln>
              <a:solidFill>
                <a:srgbClr val="7030A0"/>
              </a:solidFill>
            </a:ln>
          </p:spPr>
        </p:pic>
        <p:pic>
          <p:nvPicPr>
            <p:cNvPr id="42" name="Picture 41">
              <a:extLst>
                <a:ext uri="{FF2B5EF4-FFF2-40B4-BE49-F238E27FC236}">
                  <a16:creationId xmlns:a16="http://schemas.microsoft.com/office/drawing/2014/main" id="{032B4678-CD74-1149-88E9-C8B9606363E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73150" y="1028474"/>
              <a:ext cx="1341865" cy="1805925"/>
            </a:xfrm>
            <a:prstGeom prst="rect">
              <a:avLst/>
            </a:prstGeom>
            <a:ln>
              <a:solidFill>
                <a:srgbClr val="7030A0"/>
              </a:solidFill>
            </a:ln>
          </p:spPr>
        </p:pic>
      </p:grpSp>
      <p:pic>
        <p:nvPicPr>
          <p:cNvPr id="44" name="Picture 43">
            <a:extLst>
              <a:ext uri="{FF2B5EF4-FFF2-40B4-BE49-F238E27FC236}">
                <a16:creationId xmlns:a16="http://schemas.microsoft.com/office/drawing/2014/main" id="{38B430C0-8ECE-6142-BFD5-3450C8B89E9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3763" y="1029640"/>
            <a:ext cx="2071177" cy="1258375"/>
          </a:xfrm>
          <a:prstGeom prst="rect">
            <a:avLst/>
          </a:prstGeom>
          <a:effectLst>
            <a:outerShdw blurRad="50800" dist="38100" dir="2700000" algn="tl" rotWithShape="0">
              <a:prstClr val="black">
                <a:alpha val="40000"/>
              </a:prstClr>
            </a:outerShdw>
          </a:effectLst>
        </p:spPr>
      </p:pic>
      <p:pic>
        <p:nvPicPr>
          <p:cNvPr id="45" name="Picture 44">
            <a:extLst>
              <a:ext uri="{FF2B5EF4-FFF2-40B4-BE49-F238E27FC236}">
                <a16:creationId xmlns:a16="http://schemas.microsoft.com/office/drawing/2014/main" id="{D28132ED-4CA7-E541-A904-C4EA86725AA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55054" y="3987214"/>
            <a:ext cx="2119905" cy="1467625"/>
          </a:xfrm>
          <a:prstGeom prst="rect">
            <a:avLst/>
          </a:prstGeom>
          <a:effectLst>
            <a:outerShdw blurRad="50800" dist="38100" dir="2700000" algn="tl" rotWithShape="0">
              <a:prstClr val="black">
                <a:alpha val="40000"/>
              </a:prstClr>
            </a:outerShdw>
          </a:effectLst>
        </p:spPr>
      </p:pic>
      <p:sp>
        <p:nvSpPr>
          <p:cNvPr id="22" name="Rectangle 21">
            <a:extLst>
              <a:ext uri="{FF2B5EF4-FFF2-40B4-BE49-F238E27FC236}">
                <a16:creationId xmlns:a16="http://schemas.microsoft.com/office/drawing/2014/main" id="{B6DF5BF6-746A-454D-B7F3-F65656893B9B}"/>
              </a:ext>
            </a:extLst>
          </p:cNvPr>
          <p:cNvSpPr/>
          <p:nvPr/>
        </p:nvSpPr>
        <p:spPr>
          <a:xfrm>
            <a:off x="0" y="-33383"/>
            <a:ext cx="12192000" cy="2740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ur selected credentials </a:t>
            </a:r>
          </a:p>
        </p:txBody>
      </p:sp>
    </p:spTree>
    <p:extLst>
      <p:ext uri="{BB962C8B-B14F-4D97-AF65-F5344CB8AC3E}">
        <p14:creationId xmlns:p14="http://schemas.microsoft.com/office/powerpoint/2010/main" val="256819787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7A06C6-4D60-E043-B067-727D999DF628}"/>
              </a:ext>
            </a:extLst>
          </p:cNvPr>
          <p:cNvSpPr>
            <a:spLocks noGrp="1"/>
          </p:cNvSpPr>
          <p:nvPr>
            <p:ph type="title"/>
          </p:nvPr>
        </p:nvSpPr>
        <p:spPr/>
        <p:txBody>
          <a:bodyPr anchor="ctr"/>
          <a:lstStyle/>
          <a:p>
            <a:r>
              <a:rPr lang="en-US" sz="2800">
                <a:latin typeface="Calibri" panose="020F0502020204030204" pitchFamily="34" charset="0"/>
                <a:cs typeface="Calibri" panose="020F0502020204030204" pitchFamily="34" charset="0"/>
              </a:rPr>
              <a:t>4. Building a marketing function that is fit for the future globally</a:t>
            </a:r>
          </a:p>
        </p:txBody>
      </p:sp>
      <p:sp>
        <p:nvSpPr>
          <p:cNvPr id="4" name="TextBox 3">
            <a:extLst>
              <a:ext uri="{FF2B5EF4-FFF2-40B4-BE49-F238E27FC236}">
                <a16:creationId xmlns:a16="http://schemas.microsoft.com/office/drawing/2014/main" id="{BD39108C-2EF1-6E42-B7E2-66D6B69CCBF0}"/>
              </a:ext>
            </a:extLst>
          </p:cNvPr>
          <p:cNvSpPr txBox="1"/>
          <p:nvPr/>
        </p:nvSpPr>
        <p:spPr>
          <a:xfrm>
            <a:off x="276303" y="985449"/>
            <a:ext cx="4236673" cy="344710"/>
          </a:xfrm>
          <a:prstGeom prst="rect">
            <a:avLst/>
          </a:prstGeom>
          <a:noFill/>
        </p:spPr>
        <p:txBody>
          <a:bodyPr wrap="non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2000" b="1">
                <a:latin typeface="Calibri" panose="020F0502020204030204" pitchFamily="34" charset="0"/>
                <a:cs typeface="Calibri" panose="020F0502020204030204" pitchFamily="34" charset="0"/>
              </a:rPr>
              <a:t>Building a Global Marketing Academy </a:t>
            </a:r>
          </a:p>
        </p:txBody>
      </p:sp>
      <p:sp>
        <p:nvSpPr>
          <p:cNvPr id="5" name="TextBox 4">
            <a:extLst>
              <a:ext uri="{FF2B5EF4-FFF2-40B4-BE49-F238E27FC236}">
                <a16:creationId xmlns:a16="http://schemas.microsoft.com/office/drawing/2014/main" id="{3B2AEF86-B203-9B46-AF7E-2CA2F415B8CF}"/>
              </a:ext>
            </a:extLst>
          </p:cNvPr>
          <p:cNvSpPr txBox="1"/>
          <p:nvPr/>
        </p:nvSpPr>
        <p:spPr>
          <a:xfrm>
            <a:off x="656077" y="2039953"/>
            <a:ext cx="4287712" cy="4237057"/>
          </a:xfrm>
          <a:prstGeom prst="rect">
            <a:avLst/>
          </a:prstGeom>
          <a:noFill/>
        </p:spPr>
        <p:txBody>
          <a:bodyPr wrap="square" lIns="0" tIns="36576" rIns="0" bIns="0" rtlCol="0">
            <a:spAutoFit/>
          </a:bodyPr>
          <a:lstStyle/>
          <a:p>
            <a:pPr>
              <a:lnSpc>
                <a:spcPct val="85000"/>
              </a:lnSpc>
              <a:spcAft>
                <a:spcPts val="400"/>
              </a:spcAft>
              <a:buClr>
                <a:schemeClr val="accent2"/>
              </a:buClr>
              <a:buSzPct val="70000"/>
            </a:pPr>
            <a:r>
              <a:rPr lang="en-US" sz="1600" b="1">
                <a:latin typeface="Calibri" panose="020F0502020204030204" pitchFamily="34" charset="0"/>
                <a:cs typeface="Calibri" panose="020F0502020204030204" pitchFamily="34" charset="0"/>
              </a:rPr>
              <a:t>Business Need</a:t>
            </a:r>
          </a:p>
          <a:p>
            <a:pPr marL="290512" indent="-171450" defTabSz="91440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Global top 10 Pharmaceutical company was looking for a Marketing Excellence program across brands and countries to build the capabilities of the future </a:t>
            </a:r>
          </a:p>
          <a:p>
            <a:pPr marL="290512" indent="-171450" defTabSz="91440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Since maturity and priorities vary per market and brand, the Marketing Excellence Curriculum needs to be flexible and easy to customize to specific needs</a:t>
            </a:r>
          </a:p>
          <a:p>
            <a:pPr marL="290512" indent="-171450" defTabSz="91440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US" sz="1200" kern="0">
                <a:latin typeface="Calibri" panose="020F0502020204030204" pitchFamily="34" charset="0"/>
                <a:cs typeface="Calibri" panose="020F0502020204030204" pitchFamily="34" charset="0"/>
              </a:rPr>
              <a:t>To drive the right behaviors, the new curriculum had to cover a mix of technical and adaptive skills, also considering the roles and responsibilities per role and level</a:t>
            </a:r>
            <a:endParaRPr lang="en-US" sz="1200" b="1" kern="0">
              <a:latin typeface="Calibri" panose="020F0502020204030204" pitchFamily="34" charset="0"/>
              <a:cs typeface="Calibri" panose="020F0502020204030204" pitchFamily="34" charset="0"/>
            </a:endParaRPr>
          </a:p>
          <a:p>
            <a:pPr marL="290512" indent="-171450" defTabSz="914400" fontAlgn="base">
              <a:spcBef>
                <a:spcPct val="0"/>
              </a:spcBef>
              <a:spcAft>
                <a:spcPct val="0"/>
              </a:spcAft>
              <a:buClr>
                <a:schemeClr val="tx2"/>
              </a:buClr>
              <a:buSzPct val="100000"/>
              <a:buFont typeface="Courier New" panose="02070309020205020404" pitchFamily="49" charset="0"/>
              <a:buChar char="o"/>
              <a:tabLst>
                <a:tab pos="173038" algn="l"/>
              </a:tabLst>
              <a:defRPr/>
            </a:pPr>
            <a:endParaRPr lang="en-US" sz="1200" b="1" kern="0">
              <a:latin typeface="Calibri" panose="020F0502020204030204" pitchFamily="34" charset="0"/>
              <a:cs typeface="Calibri" panose="020F0502020204030204" pitchFamily="34" charset="0"/>
            </a:endParaRPr>
          </a:p>
          <a:p>
            <a:pPr marL="119062" defTabSz="914400" fontAlgn="base">
              <a:spcBef>
                <a:spcPct val="0"/>
              </a:spcBef>
              <a:spcAft>
                <a:spcPct val="0"/>
              </a:spcAft>
              <a:buClr>
                <a:schemeClr val="tx2"/>
              </a:buClr>
              <a:buSzPct val="100000"/>
              <a:tabLst>
                <a:tab pos="173038" algn="l"/>
              </a:tabLst>
              <a:defRPr/>
            </a:pPr>
            <a:endParaRPr lang="en-US" sz="1200" b="1" kern="0">
              <a:latin typeface="Calibri" panose="020F0502020204030204" pitchFamily="34" charset="0"/>
              <a:cs typeface="Calibri" panose="020F0502020204030204" pitchFamily="34" charset="0"/>
            </a:endParaRPr>
          </a:p>
          <a:p>
            <a:pPr marL="119062" defTabSz="914400" fontAlgn="base">
              <a:spcBef>
                <a:spcPct val="0"/>
              </a:spcBef>
              <a:spcAft>
                <a:spcPct val="0"/>
              </a:spcAft>
              <a:buClr>
                <a:schemeClr val="tx2"/>
              </a:buClr>
              <a:buSzPct val="100000"/>
              <a:tabLst>
                <a:tab pos="173038" algn="l"/>
              </a:tabLst>
              <a:defRPr/>
            </a:pPr>
            <a:r>
              <a:rPr lang="en-US" sz="1600" b="1">
                <a:latin typeface="Calibri" panose="020F0502020204030204" pitchFamily="34" charset="0"/>
                <a:cs typeface="Calibri" panose="020F0502020204030204" pitchFamily="34" charset="0"/>
              </a:rPr>
              <a:t>Value Delivered</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Case for change to drive the right sponsorship and commitment at Global, Regional and Local level</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195 future-proofed training modules rolled out to over 3000 marketers globally</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Comprehensive curriculum tailored to the different marketing roles</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panose="020F0502020204030204" pitchFamily="34" charset="0"/>
                <a:cs typeface="Calibri" panose="020F0502020204030204" pitchFamily="34" charset="0"/>
                <a:sym typeface="EYInterstate" pitchFamily="2" charset="0"/>
              </a:rPr>
              <a:t>Train-the-trainer for selected modules identified as critical to drive buy-in and change in the organisation </a:t>
            </a:r>
          </a:p>
          <a:p>
            <a:pPr marL="290512" lvl="0" indent="-171450" fontAlgn="base">
              <a:spcBef>
                <a:spcPct val="0"/>
              </a:spcBef>
              <a:spcAft>
                <a:spcPct val="0"/>
              </a:spcAft>
              <a:buClr>
                <a:schemeClr val="tx2"/>
              </a:buClr>
              <a:buSzPct val="100000"/>
              <a:buFont typeface="Courier New" panose="02070309020205020404" pitchFamily="49" charset="0"/>
              <a:buChar char="o"/>
              <a:tabLst>
                <a:tab pos="173038" algn="l"/>
              </a:tabLst>
              <a:defRPr/>
            </a:pPr>
            <a:endParaRPr lang="en-IN" sz="1200" kern="0">
              <a:latin typeface="Calibri" panose="020F0502020204030204" pitchFamily="34" charset="0"/>
              <a:cs typeface="Calibri" panose="020F0502020204030204" pitchFamily="34" charset="0"/>
              <a:sym typeface="EYInterstate" pitchFamily="2" charset="0"/>
            </a:endParaRPr>
          </a:p>
        </p:txBody>
      </p:sp>
      <p:sp>
        <p:nvSpPr>
          <p:cNvPr id="25" name="TextBox 24">
            <a:extLst>
              <a:ext uri="{FF2B5EF4-FFF2-40B4-BE49-F238E27FC236}">
                <a16:creationId xmlns:a16="http://schemas.microsoft.com/office/drawing/2014/main" id="{448FD9EE-0562-0845-A108-FAEB19410E14}"/>
              </a:ext>
            </a:extLst>
          </p:cNvPr>
          <p:cNvSpPr txBox="1"/>
          <p:nvPr/>
        </p:nvSpPr>
        <p:spPr>
          <a:xfrm>
            <a:off x="5557906" y="2740109"/>
            <a:ext cx="2654620" cy="1631012"/>
          </a:xfrm>
          <a:prstGeom prst="rect">
            <a:avLst/>
          </a:prstGeom>
          <a:noFill/>
        </p:spPr>
        <p:txBody>
          <a:bodyPr wrap="square" lIns="91356" tIns="45678" rIns="91356" bIns="45678" rtlCol="0">
            <a:noAutofit/>
          </a:bodyPr>
          <a:lstStyle/>
          <a:p>
            <a:pPr defTabSz="913545" fontAlgn="auto">
              <a:spcBef>
                <a:spcPts val="300"/>
              </a:spcBef>
              <a:spcAft>
                <a:spcPct val="0"/>
              </a:spcAft>
              <a:buClrTx/>
              <a:buSzTx/>
              <a:defRPr/>
            </a:pPr>
            <a:r>
              <a:rPr lang="en-US" sz="1000" i="1">
                <a:latin typeface="Calibri" panose="020F0502020204030204" pitchFamily="34" charset="0"/>
                <a:cs typeface="Calibri" panose="020F0502020204030204" pitchFamily="34" charset="0"/>
              </a:rPr>
              <a:t>Shaping and testing Case for Change with a variety of roles at Global, Regional and Local level to get buy-in and endorsement </a:t>
            </a:r>
          </a:p>
        </p:txBody>
      </p:sp>
      <p:sp>
        <p:nvSpPr>
          <p:cNvPr id="26" name="TextBox 25">
            <a:extLst>
              <a:ext uri="{FF2B5EF4-FFF2-40B4-BE49-F238E27FC236}">
                <a16:creationId xmlns:a16="http://schemas.microsoft.com/office/drawing/2014/main" id="{DDFCDC21-DFB7-5748-8249-4ABB79501F31}"/>
              </a:ext>
            </a:extLst>
          </p:cNvPr>
          <p:cNvSpPr txBox="1"/>
          <p:nvPr/>
        </p:nvSpPr>
        <p:spPr>
          <a:xfrm>
            <a:off x="5541291" y="2524727"/>
            <a:ext cx="2654620" cy="276914"/>
          </a:xfrm>
          <a:prstGeom prst="rect">
            <a:avLst/>
          </a:prstGeom>
          <a:noFill/>
        </p:spPr>
        <p:txBody>
          <a:bodyPr wrap="square" lIns="91356" tIns="45678" rIns="91356" bIns="45678" rtlCol="0">
            <a:spAutoFit/>
          </a:bodyPr>
          <a:lstStyle/>
          <a:p>
            <a:pPr fontAlgn="base">
              <a:lnSpc>
                <a:spcPct val="85000"/>
              </a:lnSpc>
              <a:spcBef>
                <a:spcPct val="0"/>
              </a:spcBef>
              <a:spcAft>
                <a:spcPts val="400"/>
              </a:spcAft>
              <a:buClr>
                <a:schemeClr val="accent2"/>
              </a:buClr>
              <a:buSzPct val="70000"/>
              <a:tabLst>
                <a:tab pos="173038" algn="l"/>
              </a:tabLst>
              <a:defRPr/>
            </a:pPr>
            <a:r>
              <a:rPr lang="en-US" sz="1400" b="1" i="1">
                <a:latin typeface="Calibri" panose="020F0502020204030204" pitchFamily="34" charset="0"/>
                <a:cs typeface="Calibri" panose="020F0502020204030204" pitchFamily="34" charset="0"/>
              </a:rPr>
              <a:t>Case for change</a:t>
            </a:r>
          </a:p>
        </p:txBody>
      </p:sp>
      <p:sp>
        <p:nvSpPr>
          <p:cNvPr id="27" name="TextBox 26">
            <a:extLst>
              <a:ext uri="{FF2B5EF4-FFF2-40B4-BE49-F238E27FC236}">
                <a16:creationId xmlns:a16="http://schemas.microsoft.com/office/drawing/2014/main" id="{36A97340-AAFD-A642-A4B8-C75FA630805B}"/>
              </a:ext>
            </a:extLst>
          </p:cNvPr>
          <p:cNvSpPr txBox="1"/>
          <p:nvPr/>
        </p:nvSpPr>
        <p:spPr>
          <a:xfrm>
            <a:off x="8826642" y="3557254"/>
            <a:ext cx="2771321" cy="1389311"/>
          </a:xfrm>
          <a:prstGeom prst="rect">
            <a:avLst/>
          </a:prstGeom>
          <a:noFill/>
        </p:spPr>
        <p:txBody>
          <a:bodyPr wrap="square" lIns="91356" tIns="45678" rIns="91356" bIns="45678" rtlCol="0" anchor="t">
            <a:noAutofit/>
          </a:bodyPr>
          <a:lstStyle/>
          <a:p>
            <a:pPr>
              <a:spcBef>
                <a:spcPts val="300"/>
              </a:spcBef>
              <a:spcAft>
                <a:spcPct val="0"/>
              </a:spcAft>
              <a:buClrTx/>
              <a:buSzTx/>
            </a:pPr>
            <a:r>
              <a:rPr lang="en-US" sz="1000" i="1">
                <a:latin typeface="Calibri" panose="020F0502020204030204" pitchFamily="34" charset="0"/>
                <a:cs typeface="Calibri" panose="020F0502020204030204" pitchFamily="34" charset="0"/>
              </a:rPr>
              <a:t>A wide range of different bite-sized content modules covering:</a:t>
            </a:r>
          </a:p>
          <a:p>
            <a:pPr marL="228600" indent="-228600">
              <a:spcBef>
                <a:spcPts val="300"/>
              </a:spcBef>
              <a:spcAft>
                <a:spcPct val="0"/>
              </a:spcAft>
              <a:buClrTx/>
              <a:buSzTx/>
              <a:buFont typeface="+mj-lt"/>
              <a:buAutoNum type="arabicPeriod"/>
            </a:pPr>
            <a:r>
              <a:rPr lang="en-US" sz="1000" i="1">
                <a:latin typeface="Calibri" panose="020F0502020204030204" pitchFamily="34" charset="0"/>
                <a:cs typeface="Calibri" panose="020F0502020204030204" pitchFamily="34" charset="0"/>
              </a:rPr>
              <a:t>Analytics &amp; Insights for customer, market and performance understanding</a:t>
            </a:r>
          </a:p>
          <a:p>
            <a:pPr marL="228600" indent="-228600">
              <a:spcBef>
                <a:spcPts val="300"/>
              </a:spcBef>
              <a:spcAft>
                <a:spcPct val="0"/>
              </a:spcAft>
              <a:buClrTx/>
              <a:buSzTx/>
              <a:buFont typeface="+mj-lt"/>
              <a:buAutoNum type="arabicPeriod"/>
            </a:pPr>
            <a:r>
              <a:rPr lang="en-US" sz="1000" i="1">
                <a:latin typeface="Calibri" panose="020F0502020204030204" pitchFamily="34" charset="0"/>
                <a:cs typeface="Calibri" panose="020F0502020204030204" pitchFamily="34" charset="0"/>
              </a:rPr>
              <a:t>Brand and Cross-brand strategy </a:t>
            </a:r>
          </a:p>
          <a:p>
            <a:pPr marL="228600" indent="-228600">
              <a:spcBef>
                <a:spcPts val="300"/>
              </a:spcBef>
              <a:spcAft>
                <a:spcPct val="0"/>
              </a:spcAft>
              <a:buClrTx/>
              <a:buSzTx/>
              <a:buFont typeface="+mj-lt"/>
              <a:buAutoNum type="arabicPeriod"/>
            </a:pPr>
            <a:r>
              <a:rPr lang="en-US" sz="1000" i="1">
                <a:latin typeface="Calibri" panose="020F0502020204030204" pitchFamily="34" charset="0"/>
                <a:cs typeface="Calibri" panose="020F0502020204030204" pitchFamily="34" charset="0"/>
              </a:rPr>
              <a:t>Content management – from strategy and production to performance assessment </a:t>
            </a:r>
          </a:p>
          <a:p>
            <a:pPr marL="228600" indent="-228600">
              <a:spcBef>
                <a:spcPts val="300"/>
              </a:spcBef>
              <a:spcAft>
                <a:spcPct val="0"/>
              </a:spcAft>
              <a:buClrTx/>
              <a:buSzTx/>
              <a:buFont typeface="+mj-lt"/>
              <a:buAutoNum type="arabicPeriod"/>
            </a:pPr>
            <a:r>
              <a:rPr lang="en-US" sz="1000" i="1">
                <a:latin typeface="Calibri" panose="020F0502020204030204" pitchFamily="34" charset="0"/>
                <a:cs typeface="Calibri" panose="020F0502020204030204" pitchFamily="34" charset="0"/>
              </a:rPr>
              <a:t>Omnichannel to support identification, combination and deployment of digital strategies in sync with traditional channels</a:t>
            </a:r>
          </a:p>
          <a:p>
            <a:pPr marL="228600" indent="-228600">
              <a:spcBef>
                <a:spcPts val="300"/>
              </a:spcBef>
              <a:spcAft>
                <a:spcPct val="0"/>
              </a:spcAft>
              <a:buClrTx/>
              <a:buSzTx/>
              <a:buFont typeface="+mj-lt"/>
              <a:buAutoNum type="arabicPeriod"/>
            </a:pPr>
            <a:r>
              <a:rPr lang="en-US" sz="1000" i="1">
                <a:latin typeface="Calibri" panose="020F0502020204030204" pitchFamily="34" charset="0"/>
                <a:cs typeface="Calibri" panose="020F0502020204030204" pitchFamily="34" charset="0"/>
              </a:rPr>
              <a:t>Experience Design for hands-on guidance from design to deployment of services </a:t>
            </a:r>
          </a:p>
        </p:txBody>
      </p:sp>
      <p:sp>
        <p:nvSpPr>
          <p:cNvPr id="28" name="TextBox 27">
            <a:extLst>
              <a:ext uri="{FF2B5EF4-FFF2-40B4-BE49-F238E27FC236}">
                <a16:creationId xmlns:a16="http://schemas.microsoft.com/office/drawing/2014/main" id="{07378273-0858-1D41-AF48-41B139AEFD7F}"/>
              </a:ext>
            </a:extLst>
          </p:cNvPr>
          <p:cNvSpPr txBox="1"/>
          <p:nvPr/>
        </p:nvSpPr>
        <p:spPr>
          <a:xfrm>
            <a:off x="8963105" y="3247923"/>
            <a:ext cx="2572818" cy="307692"/>
          </a:xfrm>
          <a:prstGeom prst="rect">
            <a:avLst/>
          </a:prstGeom>
          <a:noFill/>
        </p:spPr>
        <p:txBody>
          <a:bodyPr wrap="square" lIns="91356" tIns="45678" rIns="91356" bIns="45678" rtlCol="0">
            <a:spAutoFit/>
          </a:bodyPr>
          <a:lstStyle/>
          <a:p>
            <a:pPr defTabSz="913545" fontAlgn="auto">
              <a:spcBef>
                <a:spcPts val="0"/>
              </a:spcBef>
              <a:spcAft>
                <a:spcPct val="0"/>
              </a:spcAft>
              <a:buClrTx/>
              <a:buSzTx/>
              <a:defRPr/>
            </a:pPr>
            <a:r>
              <a:rPr lang="en-US" sz="1400" b="1" i="1">
                <a:latin typeface="Calibri" panose="020F0502020204030204" pitchFamily="34" charset="0"/>
                <a:cs typeface="Calibri" panose="020F0502020204030204" pitchFamily="34" charset="0"/>
              </a:rPr>
              <a:t>195 + training modules </a:t>
            </a:r>
          </a:p>
        </p:txBody>
      </p:sp>
      <p:sp>
        <p:nvSpPr>
          <p:cNvPr id="29" name="TextBox 28">
            <a:extLst>
              <a:ext uri="{FF2B5EF4-FFF2-40B4-BE49-F238E27FC236}">
                <a16:creationId xmlns:a16="http://schemas.microsoft.com/office/drawing/2014/main" id="{55837176-E87A-A846-B1F7-116EDE35866D}"/>
              </a:ext>
            </a:extLst>
          </p:cNvPr>
          <p:cNvSpPr txBox="1"/>
          <p:nvPr/>
        </p:nvSpPr>
        <p:spPr>
          <a:xfrm>
            <a:off x="5779909" y="5860869"/>
            <a:ext cx="2583159" cy="532945"/>
          </a:xfrm>
          <a:prstGeom prst="rect">
            <a:avLst/>
          </a:prstGeom>
          <a:noFill/>
        </p:spPr>
        <p:txBody>
          <a:bodyPr wrap="square" lIns="91356" tIns="45678" rIns="91356" bIns="45678" rtlCol="0" anchor="t">
            <a:noAutofit/>
          </a:bodyPr>
          <a:lstStyle/>
          <a:p>
            <a:pPr>
              <a:spcBef>
                <a:spcPts val="300"/>
              </a:spcBef>
              <a:spcAft>
                <a:spcPct val="0"/>
              </a:spcAft>
              <a:buClrTx/>
              <a:buSzTx/>
            </a:pPr>
            <a:r>
              <a:rPr lang="en-US" sz="1000" i="1">
                <a:latin typeface="Calibri" panose="020F0502020204030204" pitchFamily="34" charset="0"/>
                <a:cs typeface="Calibri" panose="020F0502020204030204" pitchFamily="34" charset="0"/>
              </a:rPr>
              <a:t>Of the available modules, specific technical and adaptive modules were combined into a curriculum specific to each marketing role</a:t>
            </a:r>
          </a:p>
        </p:txBody>
      </p:sp>
      <p:sp>
        <p:nvSpPr>
          <p:cNvPr id="30" name="TextBox 29">
            <a:extLst>
              <a:ext uri="{FF2B5EF4-FFF2-40B4-BE49-F238E27FC236}">
                <a16:creationId xmlns:a16="http://schemas.microsoft.com/office/drawing/2014/main" id="{62642F24-D666-CC40-B7CB-672C4E98725F}"/>
              </a:ext>
            </a:extLst>
          </p:cNvPr>
          <p:cNvSpPr txBox="1"/>
          <p:nvPr/>
        </p:nvSpPr>
        <p:spPr>
          <a:xfrm>
            <a:off x="5804619" y="5630907"/>
            <a:ext cx="2607333" cy="276914"/>
          </a:xfrm>
          <a:prstGeom prst="rect">
            <a:avLst/>
          </a:prstGeom>
          <a:noFill/>
        </p:spPr>
        <p:txBody>
          <a:bodyPr wrap="square" lIns="91356" tIns="45678" rIns="91356" bIns="45678" rtlCol="0">
            <a:spAutoFit/>
          </a:bodyPr>
          <a:lstStyle/>
          <a:p>
            <a:pPr fontAlgn="base">
              <a:lnSpc>
                <a:spcPct val="85000"/>
              </a:lnSpc>
              <a:spcBef>
                <a:spcPct val="0"/>
              </a:spcBef>
              <a:spcAft>
                <a:spcPts val="400"/>
              </a:spcAft>
              <a:buClr>
                <a:schemeClr val="accent2"/>
              </a:buClr>
              <a:buSzPct val="70000"/>
              <a:tabLst>
                <a:tab pos="173038" algn="l"/>
              </a:tabLst>
              <a:defRPr/>
            </a:pPr>
            <a:r>
              <a:rPr lang="en-US" sz="1400" b="1" i="1">
                <a:latin typeface="Calibri" panose="020F0502020204030204" pitchFamily="34" charset="0"/>
                <a:cs typeface="Calibri" panose="020F0502020204030204" pitchFamily="34" charset="0"/>
              </a:rPr>
              <a:t>Curriculum per role  </a:t>
            </a:r>
          </a:p>
        </p:txBody>
      </p:sp>
      <p:pic>
        <p:nvPicPr>
          <p:cNvPr id="2" name="Picture 1">
            <a:extLst>
              <a:ext uri="{FF2B5EF4-FFF2-40B4-BE49-F238E27FC236}">
                <a16:creationId xmlns:a16="http://schemas.microsoft.com/office/drawing/2014/main" id="{ED222ABF-CA6E-7147-96B7-E46AF1085E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57414" y="3768180"/>
            <a:ext cx="2583160" cy="1805925"/>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4BA9E544-28DF-3642-8D8E-9C71D6A8F83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93413" y="1632426"/>
            <a:ext cx="2804551" cy="1519725"/>
          </a:xfrm>
          <a:prstGeom prst="rect">
            <a:avLst/>
          </a:prstGeom>
          <a:effectLst>
            <a:outerShdw blurRad="50800" dist="38100" dir="2700000" algn="tl" rotWithShape="0">
              <a:prstClr val="black">
                <a:alpha val="40000"/>
              </a:prstClr>
            </a:outerShdw>
          </a:effectLst>
        </p:spPr>
      </p:pic>
      <p:pic>
        <p:nvPicPr>
          <p:cNvPr id="34" name="Picture 33">
            <a:extLst>
              <a:ext uri="{FF2B5EF4-FFF2-40B4-BE49-F238E27FC236}">
                <a16:creationId xmlns:a16="http://schemas.microsoft.com/office/drawing/2014/main" id="{BDE54C92-87A2-C445-9E57-1D97E13C138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753113" y="1283895"/>
            <a:ext cx="1509327" cy="10617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5" name="Picture 34">
            <a:extLst>
              <a:ext uri="{FF2B5EF4-FFF2-40B4-BE49-F238E27FC236}">
                <a16:creationId xmlns:a16="http://schemas.microsoft.com/office/drawing/2014/main" id="{8B845404-666B-9241-9409-4C89F52F22B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86584" y="1384438"/>
            <a:ext cx="1509327" cy="10617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Rectangle 14">
            <a:extLst>
              <a:ext uri="{FF2B5EF4-FFF2-40B4-BE49-F238E27FC236}">
                <a16:creationId xmlns:a16="http://schemas.microsoft.com/office/drawing/2014/main" id="{DD115BF3-A115-7E44-AFA4-E5181AAA7481}"/>
              </a:ext>
            </a:extLst>
          </p:cNvPr>
          <p:cNvSpPr/>
          <p:nvPr/>
        </p:nvSpPr>
        <p:spPr>
          <a:xfrm>
            <a:off x="0" y="-33383"/>
            <a:ext cx="12192000" cy="2740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ur selected credentials </a:t>
            </a:r>
          </a:p>
        </p:txBody>
      </p:sp>
    </p:spTree>
    <p:extLst>
      <p:ext uri="{BB962C8B-B14F-4D97-AF65-F5344CB8AC3E}">
        <p14:creationId xmlns:p14="http://schemas.microsoft.com/office/powerpoint/2010/main" val="348462790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2AB288-BB60-4BB2-8A36-53AA5EAB0758}"/>
              </a:ext>
            </a:extLst>
          </p:cNvPr>
          <p:cNvSpPr>
            <a:spLocks noGrp="1"/>
          </p:cNvSpPr>
          <p:nvPr>
            <p:ph type="title"/>
          </p:nvPr>
        </p:nvSpPr>
        <p:spPr/>
        <p:txBody>
          <a:bodyPr anchor="ctr"/>
          <a:lstStyle/>
          <a:p>
            <a:r>
              <a:rPr lang="en-US" sz="2800">
                <a:latin typeface="Calibri" panose="020F0502020204030204" pitchFamily="34" charset="0"/>
                <a:cs typeface="Calibri" panose="020F0502020204030204" pitchFamily="34" charset="0"/>
              </a:rPr>
              <a:t>5. Trainings to get the most out of our Veeva solutions</a:t>
            </a:r>
            <a:endParaRPr lang="en-US" sz="2800">
              <a:ea typeface="+mj-lt"/>
              <a:cs typeface="+mj-lt"/>
            </a:endParaRPr>
          </a:p>
        </p:txBody>
      </p:sp>
      <p:sp>
        <p:nvSpPr>
          <p:cNvPr id="5" name="TextBox 4">
            <a:extLst>
              <a:ext uri="{FF2B5EF4-FFF2-40B4-BE49-F238E27FC236}">
                <a16:creationId xmlns:a16="http://schemas.microsoft.com/office/drawing/2014/main" id="{5F5EFFFF-F5EF-4929-85EC-F3F05B59ECF6}"/>
              </a:ext>
            </a:extLst>
          </p:cNvPr>
          <p:cNvSpPr txBox="1"/>
          <p:nvPr/>
        </p:nvSpPr>
        <p:spPr>
          <a:xfrm>
            <a:off x="276303" y="1023916"/>
            <a:ext cx="4105355" cy="344710"/>
          </a:xfrm>
          <a:prstGeom prst="rect">
            <a:avLst/>
          </a:prstGeom>
          <a:noFill/>
        </p:spPr>
        <p:txBody>
          <a:bodyPr wrap="none" lIns="91440" tIns="45720" rIns="91440" bIns="45720" rtlCol="0" anchor="t">
            <a:spAutoFit/>
          </a:bodyPr>
          <a:lstStyle/>
          <a:p>
            <a:pPr>
              <a:lnSpc>
                <a:spcPct val="80000"/>
              </a:lnSpc>
              <a:spcBef>
                <a:spcPts val="1200"/>
              </a:spcBef>
              <a:buClr>
                <a:schemeClr val="tx2"/>
              </a:buClr>
            </a:pPr>
            <a:r>
              <a:rPr lang="en-US" sz="2000" b="1">
                <a:latin typeface="Calibri"/>
                <a:cs typeface="Calibri"/>
              </a:rPr>
              <a:t>Delivering a Global Training Initiative</a:t>
            </a:r>
            <a:endParaRPr lang="en-US" sz="2000" b="1">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5915A355-5E02-463E-8283-BCCEA1A617EB}"/>
              </a:ext>
            </a:extLst>
          </p:cNvPr>
          <p:cNvSpPr txBox="1"/>
          <p:nvPr/>
        </p:nvSpPr>
        <p:spPr>
          <a:xfrm>
            <a:off x="656077" y="2039953"/>
            <a:ext cx="4287712" cy="3867725"/>
          </a:xfrm>
          <a:prstGeom prst="rect">
            <a:avLst/>
          </a:prstGeom>
          <a:noFill/>
        </p:spPr>
        <p:txBody>
          <a:bodyPr wrap="square" lIns="0" tIns="36576" rIns="0" bIns="0" rtlCol="0" anchor="t">
            <a:spAutoFit/>
          </a:bodyPr>
          <a:lstStyle/>
          <a:p>
            <a:pPr>
              <a:lnSpc>
                <a:spcPct val="85000"/>
              </a:lnSpc>
              <a:spcAft>
                <a:spcPts val="400"/>
              </a:spcAft>
              <a:buClr>
                <a:schemeClr val="accent2"/>
              </a:buClr>
              <a:buSzPct val="70000"/>
            </a:pPr>
            <a:r>
              <a:rPr lang="en-US" sz="1600" b="1">
                <a:latin typeface="Calibri"/>
                <a:cs typeface="Calibri"/>
              </a:rPr>
              <a:t>Business Need</a:t>
            </a:r>
          </a:p>
          <a:p>
            <a:pPr marL="290195" indent="-171450" fontAlgn="base">
              <a:spcBef>
                <a:spcPct val="0"/>
              </a:spcBef>
              <a:spcAft>
                <a:spcPct val="0"/>
              </a:spcAft>
              <a:buClr>
                <a:schemeClr val="tx2"/>
              </a:buClr>
              <a:buSzPct val="100000"/>
              <a:buFont typeface="Arial" panose="02070309020205020404" pitchFamily="49" charset="0"/>
              <a:buChar char="•"/>
              <a:tabLst>
                <a:tab pos="173038" algn="l"/>
              </a:tabLst>
              <a:defRPr/>
            </a:pPr>
            <a:r>
              <a:rPr lang="en-US" sz="1200" kern="0">
                <a:ea typeface="+mn-lt"/>
                <a:cs typeface="+mn-lt"/>
              </a:rPr>
              <a:t>Develop a sustainable approach for building adoption, maintaining quality and compliance, positive user satisfaction</a:t>
            </a:r>
          </a:p>
          <a:p>
            <a:pPr marL="290195" indent="-171450">
              <a:spcBef>
                <a:spcPct val="0"/>
              </a:spcBef>
              <a:spcAft>
                <a:spcPct val="0"/>
              </a:spcAft>
              <a:buClr>
                <a:schemeClr val="tx2"/>
              </a:buClr>
              <a:buSzPct val="100000"/>
              <a:buFont typeface="Arial" panose="02070309020205020404" pitchFamily="49" charset="0"/>
              <a:buChar char="•"/>
              <a:tabLst>
                <a:tab pos="173038" algn="l"/>
              </a:tabLst>
              <a:defRPr/>
            </a:pPr>
            <a:r>
              <a:rPr lang="en-US" sz="1200" kern="0">
                <a:ea typeface="+mn-lt"/>
                <a:cs typeface="+mn-lt"/>
              </a:rPr>
              <a:t>Comprehensive end-user training needed for successful deployment of Veeva Vault </a:t>
            </a:r>
            <a:r>
              <a:rPr lang="en-US" sz="1200" kern="0" err="1">
                <a:ea typeface="+mn-lt"/>
                <a:cs typeface="+mn-lt"/>
              </a:rPr>
              <a:t>PromoMats</a:t>
            </a:r>
            <a:r>
              <a:rPr lang="en-US" sz="1200" kern="0">
                <a:ea typeface="+mn-lt"/>
                <a:cs typeface="+mn-lt"/>
              </a:rPr>
              <a:t> to Europe, Canada, US, Germany, France, LATAM</a:t>
            </a:r>
          </a:p>
          <a:p>
            <a:pPr marL="290195" indent="-171450">
              <a:spcBef>
                <a:spcPct val="0"/>
              </a:spcBef>
              <a:spcAft>
                <a:spcPct val="0"/>
              </a:spcAft>
              <a:buClr>
                <a:schemeClr val="tx2"/>
              </a:buClr>
              <a:buSzPct val="100000"/>
              <a:buFont typeface="Arial" panose="02070309020205020404" pitchFamily="49" charset="0"/>
              <a:buChar char="•"/>
              <a:tabLst>
                <a:tab pos="173038" algn="l"/>
              </a:tabLst>
              <a:defRPr/>
            </a:pPr>
            <a:r>
              <a:rPr lang="en-US" sz="1200" kern="0">
                <a:ea typeface="+mn-lt"/>
                <a:cs typeface="+mn-lt"/>
              </a:rPr>
              <a:t>Address the need to overcome the inherent difficulty in coordinating the transition to a new solution for such a large and diverse group of users across multiple affiliates, as well as adapting to the new remote working environment</a:t>
            </a:r>
            <a:endParaRPr lang="en-US" sz="1200" b="1" kern="0">
              <a:latin typeface="Calibri" panose="020F0502020204030204" pitchFamily="34" charset="0"/>
              <a:cs typeface="Calibri" panose="020F0502020204030204" pitchFamily="34" charset="0"/>
            </a:endParaRPr>
          </a:p>
          <a:p>
            <a:pPr marL="290195" indent="-171450" defTabSz="914400">
              <a:spcBef>
                <a:spcPct val="0"/>
              </a:spcBef>
              <a:spcAft>
                <a:spcPct val="0"/>
              </a:spcAft>
              <a:buClr>
                <a:schemeClr val="tx2"/>
              </a:buClr>
              <a:buSzPct val="100000"/>
              <a:buFont typeface="Courier New" panose="02070309020205020404" pitchFamily="49" charset="0"/>
              <a:buChar char="o"/>
              <a:tabLst>
                <a:tab pos="173038" algn="l"/>
              </a:tabLst>
              <a:defRPr/>
            </a:pPr>
            <a:endParaRPr lang="en-US" sz="1200" b="1" kern="0">
              <a:latin typeface="Calibri" panose="020F0502020204030204" pitchFamily="34" charset="0"/>
              <a:cs typeface="Calibri" panose="020F0502020204030204" pitchFamily="34" charset="0"/>
            </a:endParaRPr>
          </a:p>
          <a:p>
            <a:pPr marL="118745" defTabSz="914400" fontAlgn="base">
              <a:spcBef>
                <a:spcPct val="0"/>
              </a:spcBef>
              <a:spcAft>
                <a:spcPct val="0"/>
              </a:spcAft>
              <a:buClr>
                <a:schemeClr val="tx2"/>
              </a:buClr>
              <a:buSzPct val="100000"/>
              <a:tabLst>
                <a:tab pos="173038" algn="l"/>
              </a:tabLst>
              <a:defRPr/>
            </a:pPr>
            <a:endParaRPr lang="en-US" sz="1200" b="1" kern="0">
              <a:latin typeface="Calibri" panose="020F0502020204030204" pitchFamily="34" charset="0"/>
              <a:cs typeface="Calibri" panose="020F0502020204030204" pitchFamily="34" charset="0"/>
            </a:endParaRPr>
          </a:p>
          <a:p>
            <a:pPr marL="118745" fontAlgn="base">
              <a:spcBef>
                <a:spcPct val="0"/>
              </a:spcBef>
              <a:spcAft>
                <a:spcPct val="0"/>
              </a:spcAft>
              <a:buClr>
                <a:schemeClr val="tx2"/>
              </a:buClr>
              <a:buSzPct val="100000"/>
              <a:tabLst>
                <a:tab pos="173038" algn="l"/>
              </a:tabLst>
              <a:defRPr/>
            </a:pPr>
            <a:r>
              <a:rPr lang="en-US" sz="1600" b="1">
                <a:latin typeface="Calibri"/>
                <a:cs typeface="Calibri"/>
              </a:rPr>
              <a:t>Value Delivered (Roche as standard example)</a:t>
            </a:r>
          </a:p>
          <a:p>
            <a:pPr marL="290195" indent="-171450" fontAlgn="base">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a:cs typeface="Calibri"/>
                <a:sym typeface="EYInterstate" pitchFamily="2" charset="0"/>
              </a:rPr>
              <a:t>124 affiliates onboarded, 1.3k users trained</a:t>
            </a:r>
            <a:endParaRPr lang="en-IN" sz="1200" kern="0">
              <a:latin typeface="Calibri" panose="020F0502020204030204" pitchFamily="34" charset="0"/>
              <a:cs typeface="Calibri" panose="020F0502020204030204" pitchFamily="34" charset="0"/>
              <a:sym typeface="EYInterstate" pitchFamily="2" charset="0"/>
            </a:endParaRPr>
          </a:p>
          <a:p>
            <a:pPr marL="290195" indent="-171450">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a:cs typeface="Calibri"/>
                <a:sym typeface="EYInterstate" pitchFamily="2" charset="0"/>
              </a:rPr>
              <a:t>124 face to face training sessions (train the trainer) in Europe, LATAM, US and Canada. E-Learning for all user groups and supporting materials</a:t>
            </a:r>
            <a:endParaRPr lang="en-IN" sz="1200" kern="0">
              <a:latin typeface="Calibri" panose="020F0502020204030204" pitchFamily="34" charset="0"/>
              <a:cs typeface="Calibri" panose="020F0502020204030204" pitchFamily="34" charset="0"/>
              <a:sym typeface="EYInterstate" pitchFamily="2" charset="0"/>
            </a:endParaRPr>
          </a:p>
          <a:p>
            <a:pPr marL="290195" indent="-171450">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a:cs typeface="Calibri"/>
              </a:rPr>
              <a:t>Successful change management communications</a:t>
            </a:r>
            <a:endParaRPr lang="en-IN" sz="1200" kern="0">
              <a:latin typeface="Calibri" panose="020F0502020204030204" pitchFamily="34" charset="0"/>
              <a:cs typeface="Calibri" panose="020F0502020204030204" pitchFamily="34" charset="0"/>
            </a:endParaRPr>
          </a:p>
          <a:p>
            <a:pPr marL="290195" indent="-171450">
              <a:spcBef>
                <a:spcPct val="0"/>
              </a:spcBef>
              <a:spcAft>
                <a:spcPct val="0"/>
              </a:spcAft>
              <a:buClr>
                <a:schemeClr val="tx2"/>
              </a:buClr>
              <a:buSzPct val="100000"/>
              <a:buFont typeface="Courier New" panose="02070309020205020404" pitchFamily="49" charset="0"/>
              <a:buChar char="o"/>
              <a:tabLst>
                <a:tab pos="173038" algn="l"/>
              </a:tabLst>
              <a:defRPr/>
            </a:pPr>
            <a:r>
              <a:rPr lang="en-IN" sz="1200" kern="0">
                <a:latin typeface="Calibri"/>
                <a:cs typeface="Calibri"/>
              </a:rPr>
              <a:t>Average Customer investment ~$150k - $200K</a:t>
            </a:r>
            <a:endParaRPr lang="en-IN" sz="1200" kern="0">
              <a:latin typeface="Calibri" panose="020F0502020204030204" pitchFamily="34" charset="0"/>
              <a:cs typeface="Calibri" panose="020F0502020204030204" pitchFamily="34" charset="0"/>
            </a:endParaRPr>
          </a:p>
          <a:p>
            <a:pPr marL="290195" indent="-171450" fontAlgn="base">
              <a:spcBef>
                <a:spcPct val="0"/>
              </a:spcBef>
              <a:spcAft>
                <a:spcPct val="0"/>
              </a:spcAft>
              <a:buClr>
                <a:schemeClr val="tx2"/>
              </a:buClr>
              <a:buSzPct val="100000"/>
              <a:buFont typeface="Courier New" panose="02070309020205020404" pitchFamily="49" charset="0"/>
              <a:buChar char="o"/>
              <a:tabLst>
                <a:tab pos="173038" algn="l"/>
              </a:tabLst>
              <a:defRPr/>
            </a:pPr>
            <a:endParaRPr lang="en-IN" sz="1200" kern="0">
              <a:latin typeface="Calibri" panose="020F0502020204030204" pitchFamily="34" charset="0"/>
              <a:cs typeface="Calibri" panose="020F0502020204030204" pitchFamily="34" charset="0"/>
            </a:endParaRPr>
          </a:p>
        </p:txBody>
      </p:sp>
      <p:pic>
        <p:nvPicPr>
          <p:cNvPr id="2" name="Picture 3" descr="Graphical user interface, application&#10;&#10;Description automatically generated">
            <a:extLst>
              <a:ext uri="{FF2B5EF4-FFF2-40B4-BE49-F238E27FC236}">
                <a16:creationId xmlns:a16="http://schemas.microsoft.com/office/drawing/2014/main" id="{8271E177-F210-4E5B-97DD-6E676785E09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12284" y="1236798"/>
            <a:ext cx="3167778" cy="4016584"/>
          </a:xfrm>
          <a:prstGeom prst="rect">
            <a:avLst/>
          </a:prstGeom>
          <a:effectLst>
            <a:outerShdw blurRad="50800" dist="38100" dir="2700000" algn="tl" rotWithShape="0">
              <a:prstClr val="black">
                <a:alpha val="40000"/>
              </a:prstClr>
            </a:outerShdw>
          </a:effectLst>
        </p:spPr>
      </p:pic>
      <p:pic>
        <p:nvPicPr>
          <p:cNvPr id="4" name="Picture 11" descr="Graphical user interface, text, application&#10;&#10;Description automatically generated">
            <a:extLst>
              <a:ext uri="{FF2B5EF4-FFF2-40B4-BE49-F238E27FC236}">
                <a16:creationId xmlns:a16="http://schemas.microsoft.com/office/drawing/2014/main" id="{ED2D1B81-1309-4D19-B315-7E32EA930DC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19841" y="2374427"/>
            <a:ext cx="2418785" cy="3403943"/>
          </a:xfrm>
          <a:prstGeom prst="rect">
            <a:avLst/>
          </a:prstGeom>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0E6E5C97-75AE-9E46-99DD-52566EC5F672}"/>
              </a:ext>
            </a:extLst>
          </p:cNvPr>
          <p:cNvSpPr txBox="1"/>
          <p:nvPr/>
        </p:nvSpPr>
        <p:spPr>
          <a:xfrm>
            <a:off x="5553745" y="1598588"/>
            <a:ext cx="2583159" cy="532945"/>
          </a:xfrm>
          <a:prstGeom prst="rect">
            <a:avLst/>
          </a:prstGeom>
          <a:noFill/>
        </p:spPr>
        <p:txBody>
          <a:bodyPr wrap="square" lIns="91356" tIns="45678" rIns="91356" bIns="45678" rtlCol="0" anchor="t">
            <a:noAutofit/>
          </a:bodyPr>
          <a:lstStyle/>
          <a:p>
            <a:pPr>
              <a:spcBef>
                <a:spcPts val="300"/>
              </a:spcBef>
              <a:spcAft>
                <a:spcPct val="0"/>
              </a:spcAft>
              <a:buClrTx/>
              <a:buSzTx/>
            </a:pPr>
            <a:r>
              <a:rPr lang="en-US" sz="1000" i="1">
                <a:latin typeface="Calibri" panose="020F0502020204030204" pitchFamily="34" charset="0"/>
                <a:cs typeface="Calibri" panose="020F0502020204030204" pitchFamily="34" charset="0"/>
              </a:rPr>
              <a:t>Step-by-step guide for users on how to make the most out of Veeva </a:t>
            </a:r>
            <a:r>
              <a:rPr lang="en-US" sz="1000" i="1" err="1">
                <a:latin typeface="Calibri" panose="020F0502020204030204" pitchFamily="34" charset="0"/>
                <a:cs typeface="Calibri" panose="020F0502020204030204" pitchFamily="34" charset="0"/>
              </a:rPr>
              <a:t>Promomats</a:t>
            </a:r>
            <a:r>
              <a:rPr lang="en-US" sz="1000" i="1">
                <a:latin typeface="Calibri" panose="020F0502020204030204" pitchFamily="34" charset="0"/>
                <a:cs typeface="Calibri" panose="020F0502020204030204" pitchFamily="34" charset="0"/>
              </a:rPr>
              <a:t> tailored to the context of the pharmaceutical company and the country it is deployed in</a:t>
            </a:r>
          </a:p>
        </p:txBody>
      </p:sp>
      <p:sp>
        <p:nvSpPr>
          <p:cNvPr id="13" name="TextBox 12">
            <a:extLst>
              <a:ext uri="{FF2B5EF4-FFF2-40B4-BE49-F238E27FC236}">
                <a16:creationId xmlns:a16="http://schemas.microsoft.com/office/drawing/2014/main" id="{C5B9C70D-074D-D144-BCFE-6D846DD4F72F}"/>
              </a:ext>
            </a:extLst>
          </p:cNvPr>
          <p:cNvSpPr txBox="1"/>
          <p:nvPr/>
        </p:nvSpPr>
        <p:spPr>
          <a:xfrm>
            <a:off x="5578455" y="1368626"/>
            <a:ext cx="2607333" cy="276914"/>
          </a:xfrm>
          <a:prstGeom prst="rect">
            <a:avLst/>
          </a:prstGeom>
          <a:noFill/>
        </p:spPr>
        <p:txBody>
          <a:bodyPr wrap="square" lIns="91356" tIns="45678" rIns="91356" bIns="45678" rtlCol="0">
            <a:spAutoFit/>
          </a:bodyPr>
          <a:lstStyle/>
          <a:p>
            <a:pPr fontAlgn="base">
              <a:lnSpc>
                <a:spcPct val="85000"/>
              </a:lnSpc>
              <a:spcBef>
                <a:spcPct val="0"/>
              </a:spcBef>
              <a:spcAft>
                <a:spcPts val="400"/>
              </a:spcAft>
              <a:buClr>
                <a:schemeClr val="accent2"/>
              </a:buClr>
              <a:buSzPct val="70000"/>
              <a:tabLst>
                <a:tab pos="173038" algn="l"/>
              </a:tabLst>
              <a:defRPr/>
            </a:pPr>
            <a:r>
              <a:rPr lang="en-US" sz="1400" b="1" i="1">
                <a:latin typeface="Calibri" panose="020F0502020204030204" pitchFamily="34" charset="0"/>
                <a:cs typeface="Calibri" panose="020F0502020204030204" pitchFamily="34" charset="0"/>
              </a:rPr>
              <a:t>Super user guide </a:t>
            </a:r>
          </a:p>
        </p:txBody>
      </p:sp>
      <p:sp>
        <p:nvSpPr>
          <p:cNvPr id="14" name="TextBox 13">
            <a:extLst>
              <a:ext uri="{FF2B5EF4-FFF2-40B4-BE49-F238E27FC236}">
                <a16:creationId xmlns:a16="http://schemas.microsoft.com/office/drawing/2014/main" id="{FBA3573B-C2CD-C04C-B8C0-DF8DFD9A1B4C}"/>
              </a:ext>
            </a:extLst>
          </p:cNvPr>
          <p:cNvSpPr txBox="1"/>
          <p:nvPr/>
        </p:nvSpPr>
        <p:spPr>
          <a:xfrm>
            <a:off x="8944319" y="5344887"/>
            <a:ext cx="2583159" cy="532945"/>
          </a:xfrm>
          <a:prstGeom prst="rect">
            <a:avLst/>
          </a:prstGeom>
          <a:noFill/>
        </p:spPr>
        <p:txBody>
          <a:bodyPr wrap="square" lIns="91356" tIns="45678" rIns="91356" bIns="45678" rtlCol="0" anchor="t">
            <a:noAutofit/>
          </a:bodyPr>
          <a:lstStyle/>
          <a:p>
            <a:pPr>
              <a:spcBef>
                <a:spcPts val="300"/>
              </a:spcBef>
              <a:spcAft>
                <a:spcPct val="0"/>
              </a:spcAft>
              <a:buClrTx/>
              <a:buSzTx/>
            </a:pPr>
            <a:r>
              <a:rPr lang="en-US" sz="1000" i="1">
                <a:latin typeface="Calibri" panose="020F0502020204030204" pitchFamily="34" charset="0"/>
                <a:cs typeface="Calibri" panose="020F0502020204030204" pitchFamily="34" charset="0"/>
              </a:rPr>
              <a:t>Rolled out the training across the globe through a mix of train-the-trainer and ILT sessions</a:t>
            </a:r>
          </a:p>
        </p:txBody>
      </p:sp>
      <p:sp>
        <p:nvSpPr>
          <p:cNvPr id="15" name="TextBox 14">
            <a:extLst>
              <a:ext uri="{FF2B5EF4-FFF2-40B4-BE49-F238E27FC236}">
                <a16:creationId xmlns:a16="http://schemas.microsoft.com/office/drawing/2014/main" id="{DD5552AF-03BB-BF40-A4AC-E2D6A9507017}"/>
              </a:ext>
            </a:extLst>
          </p:cNvPr>
          <p:cNvSpPr txBox="1"/>
          <p:nvPr/>
        </p:nvSpPr>
        <p:spPr>
          <a:xfrm>
            <a:off x="8969029" y="5114925"/>
            <a:ext cx="2607333" cy="276914"/>
          </a:xfrm>
          <a:prstGeom prst="rect">
            <a:avLst/>
          </a:prstGeom>
          <a:noFill/>
        </p:spPr>
        <p:txBody>
          <a:bodyPr wrap="square" lIns="91356" tIns="45678" rIns="91356" bIns="45678" rtlCol="0">
            <a:spAutoFit/>
          </a:bodyPr>
          <a:lstStyle/>
          <a:p>
            <a:pPr fontAlgn="base">
              <a:lnSpc>
                <a:spcPct val="85000"/>
              </a:lnSpc>
              <a:spcBef>
                <a:spcPct val="0"/>
              </a:spcBef>
              <a:spcAft>
                <a:spcPts val="400"/>
              </a:spcAft>
              <a:buClr>
                <a:schemeClr val="accent2"/>
              </a:buClr>
              <a:buSzPct val="70000"/>
              <a:tabLst>
                <a:tab pos="173038" algn="l"/>
              </a:tabLst>
              <a:defRPr/>
            </a:pPr>
            <a:r>
              <a:rPr lang="en-US" sz="1400" b="1" i="1">
                <a:latin typeface="Calibri" panose="020F0502020204030204" pitchFamily="34" charset="0"/>
                <a:cs typeface="Calibri" panose="020F0502020204030204" pitchFamily="34" charset="0"/>
              </a:rPr>
              <a:t>End user Training</a:t>
            </a:r>
          </a:p>
        </p:txBody>
      </p:sp>
      <p:pic>
        <p:nvPicPr>
          <p:cNvPr id="1026" name="Picture 2">
            <a:extLst>
              <a:ext uri="{FF2B5EF4-FFF2-40B4-BE49-F238E27FC236}">
                <a16:creationId xmlns:a16="http://schemas.microsoft.com/office/drawing/2014/main" id="{F555E956-183C-124C-8D2B-DDDA70D7A2E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51721" y="6004481"/>
            <a:ext cx="781426" cy="40704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sk Logos">
            <a:extLst>
              <a:ext uri="{FF2B5EF4-FFF2-40B4-BE49-F238E27FC236}">
                <a16:creationId xmlns:a16="http://schemas.microsoft.com/office/drawing/2014/main" id="{85ABF746-9A69-7049-90A3-6B220F0ABA82}"/>
              </a:ext>
            </a:extLst>
          </p:cNvPr>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33271" y="5710913"/>
            <a:ext cx="1235634" cy="9267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straZeneca – Logos Download">
            <a:extLst>
              <a:ext uri="{FF2B5EF4-FFF2-40B4-BE49-F238E27FC236}">
                <a16:creationId xmlns:a16="http://schemas.microsoft.com/office/drawing/2014/main" id="{5B443785-79F4-7C40-AF69-9FE1EEE4E74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938358" y="5907678"/>
            <a:ext cx="1361581" cy="33188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C56EEF46-9050-8746-844D-B69DEC7E35BC}"/>
              </a:ext>
            </a:extLst>
          </p:cNvPr>
          <p:cNvSpPr txBox="1"/>
          <p:nvPr/>
        </p:nvSpPr>
        <p:spPr>
          <a:xfrm>
            <a:off x="5750277" y="6094634"/>
            <a:ext cx="1015984" cy="243721"/>
          </a:xfrm>
          <a:prstGeom prst="rect">
            <a:avLst/>
          </a:prstGeom>
          <a:noFill/>
        </p:spPr>
        <p:txBody>
          <a:bodyPr wrap="non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1200" b="1"/>
              <a:t>Delivered for</a:t>
            </a:r>
          </a:p>
        </p:txBody>
      </p:sp>
      <p:sp>
        <p:nvSpPr>
          <p:cNvPr id="21" name="TextBox 20">
            <a:extLst>
              <a:ext uri="{FF2B5EF4-FFF2-40B4-BE49-F238E27FC236}">
                <a16:creationId xmlns:a16="http://schemas.microsoft.com/office/drawing/2014/main" id="{1E4BC452-B3BF-A74E-B376-B81E9DBFE538}"/>
              </a:ext>
            </a:extLst>
          </p:cNvPr>
          <p:cNvSpPr txBox="1"/>
          <p:nvPr/>
        </p:nvSpPr>
        <p:spPr>
          <a:xfrm>
            <a:off x="10377453" y="6092424"/>
            <a:ext cx="1454437" cy="243721"/>
          </a:xfrm>
          <a:prstGeom prst="rect">
            <a:avLst/>
          </a:prstGeom>
          <a:noFill/>
        </p:spPr>
        <p:txBody>
          <a:bodyPr wrap="none" rtlCol="0">
            <a:spAutoFit/>
          </a:bodyPr>
          <a:lstStyle/>
          <a:p>
            <a:pPr marR="0" algn="l" defTabSz="914400" rtl="0" eaLnBrk="1" fontAlgn="auto" latinLnBrk="0" hangingPunct="1">
              <a:lnSpc>
                <a:spcPct val="80000"/>
              </a:lnSpc>
              <a:spcBef>
                <a:spcPts val="1200"/>
              </a:spcBef>
              <a:spcAft>
                <a:spcPts val="0"/>
              </a:spcAft>
              <a:buClr>
                <a:schemeClr val="tx2"/>
              </a:buClr>
              <a:buSzTx/>
              <a:tabLst/>
            </a:pPr>
            <a:r>
              <a:rPr lang="en-US" sz="1200"/>
              <a:t>… and many others!</a:t>
            </a:r>
          </a:p>
        </p:txBody>
      </p:sp>
      <p:sp>
        <p:nvSpPr>
          <p:cNvPr id="16" name="Rectangle 15">
            <a:extLst>
              <a:ext uri="{FF2B5EF4-FFF2-40B4-BE49-F238E27FC236}">
                <a16:creationId xmlns:a16="http://schemas.microsoft.com/office/drawing/2014/main" id="{C6B7C889-73AC-2A45-8211-94D036E29AED}"/>
              </a:ext>
            </a:extLst>
          </p:cNvPr>
          <p:cNvSpPr/>
          <p:nvPr/>
        </p:nvSpPr>
        <p:spPr>
          <a:xfrm>
            <a:off x="0" y="-33383"/>
            <a:ext cx="12192000" cy="2740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ur selected credentials </a:t>
            </a:r>
          </a:p>
        </p:txBody>
      </p:sp>
    </p:spTree>
    <p:extLst>
      <p:ext uri="{BB962C8B-B14F-4D97-AF65-F5344CB8AC3E}">
        <p14:creationId xmlns:p14="http://schemas.microsoft.com/office/powerpoint/2010/main" val="388069175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39279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625C028-5608-6543-AF95-BAC06D317619}"/>
              </a:ext>
            </a:extLst>
          </p:cNvPr>
          <p:cNvSpPr/>
          <p:nvPr/>
        </p:nvSpPr>
        <p:spPr>
          <a:xfrm>
            <a:off x="2882977" y="1351499"/>
            <a:ext cx="7750346" cy="85534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a:defRPr/>
            </a:pPr>
            <a:r>
              <a:rPr lang="en-US">
                <a:solidFill>
                  <a:schemeClr val="bg2">
                    <a:lumMod val="90000"/>
                  </a:schemeClr>
                </a:solidFill>
                <a:cs typeface="Calibri"/>
              </a:rPr>
              <a:t>Galapagos Context &amp; Customer Engagement Challenge</a:t>
            </a:r>
          </a:p>
        </p:txBody>
      </p:sp>
      <p:sp>
        <p:nvSpPr>
          <p:cNvPr id="23" name="Rectangle 22">
            <a:extLst>
              <a:ext uri="{FF2B5EF4-FFF2-40B4-BE49-F238E27FC236}">
                <a16:creationId xmlns:a16="http://schemas.microsoft.com/office/drawing/2014/main" id="{65F81F2F-C557-B147-9627-D4DBFA412FC5}"/>
              </a:ext>
            </a:extLst>
          </p:cNvPr>
          <p:cNvSpPr/>
          <p:nvPr/>
        </p:nvSpPr>
        <p:spPr>
          <a:xfrm>
            <a:off x="2882977" y="2290546"/>
            <a:ext cx="7750344" cy="86439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a:defRPr/>
            </a:pPr>
            <a:r>
              <a:rPr lang="en-US">
                <a:solidFill>
                  <a:srgbClr val="646569"/>
                </a:solidFill>
                <a:cs typeface="Calibri"/>
              </a:rPr>
              <a:t>Our Point of View </a:t>
            </a:r>
          </a:p>
        </p:txBody>
      </p:sp>
      <p:sp>
        <p:nvSpPr>
          <p:cNvPr id="24" name="Rectangle 23">
            <a:extLst>
              <a:ext uri="{FF2B5EF4-FFF2-40B4-BE49-F238E27FC236}">
                <a16:creationId xmlns:a16="http://schemas.microsoft.com/office/drawing/2014/main" id="{3AA5F515-1378-D641-8359-A0B133EC05B5}"/>
              </a:ext>
            </a:extLst>
          </p:cNvPr>
          <p:cNvSpPr/>
          <p:nvPr/>
        </p:nvSpPr>
        <p:spPr>
          <a:xfrm>
            <a:off x="2882977" y="3217210"/>
            <a:ext cx="7750344" cy="864399"/>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2">
                    <a:lumMod val="90000"/>
                  </a:schemeClr>
                </a:solidFill>
                <a:effectLst/>
                <a:uLnTx/>
                <a:uFillTx/>
                <a:latin typeface="Calibri" panose="020F0502020204030204" pitchFamily="34" charset="0"/>
                <a:cs typeface="Calibri" panose="020F0502020204030204" pitchFamily="34" charset="0"/>
              </a:rPr>
              <a:t>Proposed Solution &amp; Approach</a:t>
            </a:r>
          </a:p>
        </p:txBody>
      </p:sp>
      <p:sp>
        <p:nvSpPr>
          <p:cNvPr id="25" name="Rectangle 24">
            <a:extLst>
              <a:ext uri="{FF2B5EF4-FFF2-40B4-BE49-F238E27FC236}">
                <a16:creationId xmlns:a16="http://schemas.microsoft.com/office/drawing/2014/main" id="{5029AD69-2467-3A46-AABE-702F33533DF8}"/>
              </a:ext>
            </a:extLst>
          </p:cNvPr>
          <p:cNvSpPr/>
          <p:nvPr/>
        </p:nvSpPr>
        <p:spPr>
          <a:xfrm>
            <a:off x="2882977" y="4181556"/>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lvl="0">
              <a:defRPr/>
            </a:pPr>
            <a:r>
              <a:rPr lang="en-US">
                <a:solidFill>
                  <a:schemeClr val="bg2">
                    <a:lumMod val="90000"/>
                  </a:schemeClr>
                </a:solidFill>
                <a:latin typeface="Calibri" panose="020F0502020204030204" pitchFamily="34" charset="0"/>
                <a:cs typeface="Calibri" panose="020F0502020204030204" pitchFamily="34" charset="0"/>
              </a:rPr>
              <a:t>Team, Price and Why Veeva</a:t>
            </a:r>
          </a:p>
        </p:txBody>
      </p:sp>
      <p:sp>
        <p:nvSpPr>
          <p:cNvPr id="26" name="AutoShape 22">
            <a:extLst>
              <a:ext uri="{FF2B5EF4-FFF2-40B4-BE49-F238E27FC236}">
                <a16:creationId xmlns:a16="http://schemas.microsoft.com/office/drawing/2014/main" id="{0F2E2DEF-5425-DD41-87AC-9463C278A84E}"/>
              </a:ext>
            </a:extLst>
          </p:cNvPr>
          <p:cNvSpPr>
            <a:spLocks noChangeAspect="1" noChangeArrowheads="1" noTextEdit="1"/>
          </p:cNvSpPr>
          <p:nvPr/>
        </p:nvSpPr>
        <p:spPr bwMode="auto">
          <a:xfrm>
            <a:off x="1739333" y="1254162"/>
            <a:ext cx="1980550" cy="3636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7" name="Freeform 24">
            <a:extLst>
              <a:ext uri="{FF2B5EF4-FFF2-40B4-BE49-F238E27FC236}">
                <a16:creationId xmlns:a16="http://schemas.microsoft.com/office/drawing/2014/main" id="{3E3B995D-418B-224E-BA33-7E918CBB9CCD}"/>
              </a:ext>
            </a:extLst>
          </p:cNvPr>
          <p:cNvSpPr>
            <a:spLocks/>
          </p:cNvSpPr>
          <p:nvPr/>
        </p:nvSpPr>
        <p:spPr bwMode="auto">
          <a:xfrm>
            <a:off x="1957054" y="1350735"/>
            <a:ext cx="1172040" cy="863153"/>
          </a:xfrm>
          <a:custGeom>
            <a:avLst/>
            <a:gdLst>
              <a:gd name="T0" fmla="*/ 4210 w 4210"/>
              <a:gd name="T1" fmla="*/ 414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2 h 831"/>
              <a:gd name="T24" fmla="*/ 4210 w 4210"/>
              <a:gd name="T25" fmla="*/ 414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4"/>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2"/>
                </a:lnTo>
                <a:lnTo>
                  <a:pt x="4210" y="41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8" name="Freeform 25">
            <a:extLst>
              <a:ext uri="{FF2B5EF4-FFF2-40B4-BE49-F238E27FC236}">
                <a16:creationId xmlns:a16="http://schemas.microsoft.com/office/drawing/2014/main" id="{EC1C807B-ECEB-2A42-84B2-6F34E25B7461}"/>
              </a:ext>
            </a:extLst>
          </p:cNvPr>
          <p:cNvSpPr>
            <a:spLocks/>
          </p:cNvSpPr>
          <p:nvPr/>
        </p:nvSpPr>
        <p:spPr bwMode="auto">
          <a:xfrm>
            <a:off x="1957054" y="2291789"/>
            <a:ext cx="1172040" cy="863153"/>
          </a:xfrm>
          <a:custGeom>
            <a:avLst/>
            <a:gdLst>
              <a:gd name="T0" fmla="*/ 4210 w 4210"/>
              <a:gd name="T1" fmla="*/ 417 h 831"/>
              <a:gd name="T2" fmla="*/ 4039 w 4210"/>
              <a:gd name="T3" fmla="*/ 208 h 831"/>
              <a:gd name="T4" fmla="*/ 3868 w 4210"/>
              <a:gd name="T5" fmla="*/ 0 h 831"/>
              <a:gd name="T6" fmla="*/ 3868 w 4210"/>
              <a:gd name="T7" fmla="*/ 0 h 831"/>
              <a:gd name="T8" fmla="*/ 3868 w 4210"/>
              <a:gd name="T9" fmla="*/ 0 h 831"/>
              <a:gd name="T10" fmla="*/ 3868 w 4210"/>
              <a:gd name="T11" fmla="*/ 0 h 831"/>
              <a:gd name="T12" fmla="*/ 3868 w 4210"/>
              <a:gd name="T13" fmla="*/ 0 h 831"/>
              <a:gd name="T14" fmla="*/ 0 w 4210"/>
              <a:gd name="T15" fmla="*/ 0 h 831"/>
              <a:gd name="T16" fmla="*/ 0 w 4210"/>
              <a:gd name="T17" fmla="*/ 831 h 831"/>
              <a:gd name="T18" fmla="*/ 3868 w 4210"/>
              <a:gd name="T19" fmla="*/ 831 h 831"/>
              <a:gd name="T20" fmla="*/ 3868 w 4210"/>
              <a:gd name="T21" fmla="*/ 831 h 831"/>
              <a:gd name="T22" fmla="*/ 4039 w 4210"/>
              <a:gd name="T23" fmla="*/ 623 h 831"/>
              <a:gd name="T24" fmla="*/ 4210 w 4210"/>
              <a:gd name="T25" fmla="*/ 4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1">
                <a:moveTo>
                  <a:pt x="4210" y="417"/>
                </a:moveTo>
                <a:lnTo>
                  <a:pt x="4039" y="208"/>
                </a:lnTo>
                <a:lnTo>
                  <a:pt x="3868" y="0"/>
                </a:lnTo>
                <a:lnTo>
                  <a:pt x="3868" y="0"/>
                </a:lnTo>
                <a:lnTo>
                  <a:pt x="3868" y="0"/>
                </a:lnTo>
                <a:lnTo>
                  <a:pt x="3868" y="0"/>
                </a:lnTo>
                <a:lnTo>
                  <a:pt x="3868" y="0"/>
                </a:lnTo>
                <a:lnTo>
                  <a:pt x="0" y="0"/>
                </a:lnTo>
                <a:lnTo>
                  <a:pt x="0" y="831"/>
                </a:lnTo>
                <a:lnTo>
                  <a:pt x="3868" y="831"/>
                </a:lnTo>
                <a:lnTo>
                  <a:pt x="3868" y="831"/>
                </a:lnTo>
                <a:lnTo>
                  <a:pt x="4039" y="623"/>
                </a:lnTo>
                <a:lnTo>
                  <a:pt x="4210" y="417"/>
                </a:lnTo>
                <a:close/>
              </a:path>
            </a:pathLst>
          </a:custGeom>
          <a:solidFill>
            <a:srgbClr val="FF9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29" name="Freeform 26">
            <a:extLst>
              <a:ext uri="{FF2B5EF4-FFF2-40B4-BE49-F238E27FC236}">
                <a16:creationId xmlns:a16="http://schemas.microsoft.com/office/drawing/2014/main" id="{7D565611-A221-D74A-BFE1-05143F7BADB6}"/>
              </a:ext>
            </a:extLst>
          </p:cNvPr>
          <p:cNvSpPr>
            <a:spLocks/>
          </p:cNvSpPr>
          <p:nvPr/>
        </p:nvSpPr>
        <p:spPr bwMode="auto">
          <a:xfrm>
            <a:off x="1957054" y="3220326"/>
            <a:ext cx="1172040" cy="866270"/>
          </a:xfrm>
          <a:custGeom>
            <a:avLst/>
            <a:gdLst>
              <a:gd name="T0" fmla="*/ 4210 w 4210"/>
              <a:gd name="T1" fmla="*/ 417 h 834"/>
              <a:gd name="T2" fmla="*/ 4039 w 4210"/>
              <a:gd name="T3" fmla="*/ 209 h 834"/>
              <a:gd name="T4" fmla="*/ 3868 w 4210"/>
              <a:gd name="T5" fmla="*/ 0 h 834"/>
              <a:gd name="T6" fmla="*/ 3868 w 4210"/>
              <a:gd name="T7" fmla="*/ 0 h 834"/>
              <a:gd name="T8" fmla="*/ 0 w 4210"/>
              <a:gd name="T9" fmla="*/ 0 h 834"/>
              <a:gd name="T10" fmla="*/ 0 w 4210"/>
              <a:gd name="T11" fmla="*/ 834 h 834"/>
              <a:gd name="T12" fmla="*/ 3868 w 4210"/>
              <a:gd name="T13" fmla="*/ 834 h 834"/>
              <a:gd name="T14" fmla="*/ 3868 w 4210"/>
              <a:gd name="T15" fmla="*/ 834 h 834"/>
              <a:gd name="T16" fmla="*/ 3868 w 4210"/>
              <a:gd name="T17" fmla="*/ 834 h 834"/>
              <a:gd name="T18" fmla="*/ 3868 w 4210"/>
              <a:gd name="T19" fmla="*/ 834 h 834"/>
              <a:gd name="T20" fmla="*/ 3868 w 4210"/>
              <a:gd name="T21" fmla="*/ 834 h 834"/>
              <a:gd name="T22" fmla="*/ 4039 w 4210"/>
              <a:gd name="T23" fmla="*/ 626 h 834"/>
              <a:gd name="T24" fmla="*/ 4210 w 4210"/>
              <a:gd name="T25" fmla="*/ 417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0" h="834">
                <a:moveTo>
                  <a:pt x="4210" y="417"/>
                </a:moveTo>
                <a:lnTo>
                  <a:pt x="4039" y="209"/>
                </a:lnTo>
                <a:lnTo>
                  <a:pt x="3868" y="0"/>
                </a:lnTo>
                <a:lnTo>
                  <a:pt x="3868" y="0"/>
                </a:lnTo>
                <a:lnTo>
                  <a:pt x="0" y="0"/>
                </a:lnTo>
                <a:lnTo>
                  <a:pt x="0" y="834"/>
                </a:lnTo>
                <a:lnTo>
                  <a:pt x="3868" y="834"/>
                </a:lnTo>
                <a:lnTo>
                  <a:pt x="3868" y="834"/>
                </a:lnTo>
                <a:lnTo>
                  <a:pt x="3868" y="834"/>
                </a:lnTo>
                <a:lnTo>
                  <a:pt x="3868" y="834"/>
                </a:lnTo>
                <a:lnTo>
                  <a:pt x="3868" y="834"/>
                </a:lnTo>
                <a:lnTo>
                  <a:pt x="4039" y="626"/>
                </a:lnTo>
                <a:lnTo>
                  <a:pt x="4210" y="41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0" name="Freeform 27">
            <a:extLst>
              <a:ext uri="{FF2B5EF4-FFF2-40B4-BE49-F238E27FC236}">
                <a16:creationId xmlns:a16="http://schemas.microsoft.com/office/drawing/2014/main" id="{033489C5-1101-1E46-A602-A5EA3A1E3B21}"/>
              </a:ext>
            </a:extLst>
          </p:cNvPr>
          <p:cNvSpPr>
            <a:spLocks/>
          </p:cNvSpPr>
          <p:nvPr/>
        </p:nvSpPr>
        <p:spPr bwMode="auto">
          <a:xfrm>
            <a:off x="1957054" y="4184671"/>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1" name="Freeform 28">
            <a:extLst>
              <a:ext uri="{FF2B5EF4-FFF2-40B4-BE49-F238E27FC236}">
                <a16:creationId xmlns:a16="http://schemas.microsoft.com/office/drawing/2014/main" id="{8E8599C6-1B43-8442-ABAC-2037B4BD1A07}"/>
              </a:ext>
            </a:extLst>
          </p:cNvPr>
          <p:cNvSpPr>
            <a:spLocks/>
          </p:cNvSpPr>
          <p:nvPr/>
        </p:nvSpPr>
        <p:spPr bwMode="auto">
          <a:xfrm>
            <a:off x="1558676" y="1350735"/>
            <a:ext cx="398378" cy="1107246"/>
          </a:xfrm>
          <a:custGeom>
            <a:avLst/>
            <a:gdLst>
              <a:gd name="T0" fmla="*/ 372 w 372"/>
              <a:gd name="T1" fmla="*/ 0 h 1066"/>
              <a:gd name="T2" fmla="*/ 0 w 372"/>
              <a:gd name="T3" fmla="*/ 467 h 1066"/>
              <a:gd name="T4" fmla="*/ 0 w 372"/>
              <a:gd name="T5" fmla="*/ 1066 h 1066"/>
              <a:gd name="T6" fmla="*/ 372 w 372"/>
              <a:gd name="T7" fmla="*/ 831 h 1066"/>
              <a:gd name="T8" fmla="*/ 372 w 372"/>
              <a:gd name="T9" fmla="*/ 0 h 1066"/>
            </a:gdLst>
            <a:ahLst/>
            <a:cxnLst>
              <a:cxn ang="0">
                <a:pos x="T0" y="T1"/>
              </a:cxn>
              <a:cxn ang="0">
                <a:pos x="T2" y="T3"/>
              </a:cxn>
              <a:cxn ang="0">
                <a:pos x="T4" y="T5"/>
              </a:cxn>
              <a:cxn ang="0">
                <a:pos x="T6" y="T7"/>
              </a:cxn>
              <a:cxn ang="0">
                <a:pos x="T8" y="T9"/>
              </a:cxn>
            </a:cxnLst>
            <a:rect l="0" t="0" r="r" b="b"/>
            <a:pathLst>
              <a:path w="372" h="1066">
                <a:moveTo>
                  <a:pt x="372" y="0"/>
                </a:moveTo>
                <a:lnTo>
                  <a:pt x="0" y="467"/>
                </a:lnTo>
                <a:lnTo>
                  <a:pt x="0" y="1066"/>
                </a:lnTo>
                <a:lnTo>
                  <a:pt x="372" y="831"/>
                </a:lnTo>
                <a:lnTo>
                  <a:pt x="372"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2" name="Freeform 29">
            <a:extLst>
              <a:ext uri="{FF2B5EF4-FFF2-40B4-BE49-F238E27FC236}">
                <a16:creationId xmlns:a16="http://schemas.microsoft.com/office/drawing/2014/main" id="{46711A0E-673F-7849-8177-5CC248634941}"/>
              </a:ext>
            </a:extLst>
          </p:cNvPr>
          <p:cNvSpPr>
            <a:spLocks/>
          </p:cNvSpPr>
          <p:nvPr/>
        </p:nvSpPr>
        <p:spPr bwMode="auto">
          <a:xfrm>
            <a:off x="1558676" y="2291789"/>
            <a:ext cx="398378" cy="863153"/>
          </a:xfrm>
          <a:custGeom>
            <a:avLst/>
            <a:gdLst>
              <a:gd name="T0" fmla="*/ 372 w 372"/>
              <a:gd name="T1" fmla="*/ 831 h 831"/>
              <a:gd name="T2" fmla="*/ 0 w 372"/>
              <a:gd name="T3" fmla="*/ 831 h 831"/>
              <a:gd name="T4" fmla="*/ 0 w 372"/>
              <a:gd name="T5" fmla="*/ 235 h 831"/>
              <a:gd name="T6" fmla="*/ 372 w 372"/>
              <a:gd name="T7" fmla="*/ 0 h 831"/>
              <a:gd name="T8" fmla="*/ 372 w 372"/>
              <a:gd name="T9" fmla="*/ 831 h 831"/>
            </a:gdLst>
            <a:ahLst/>
            <a:cxnLst>
              <a:cxn ang="0">
                <a:pos x="T0" y="T1"/>
              </a:cxn>
              <a:cxn ang="0">
                <a:pos x="T2" y="T3"/>
              </a:cxn>
              <a:cxn ang="0">
                <a:pos x="T4" y="T5"/>
              </a:cxn>
              <a:cxn ang="0">
                <a:pos x="T6" y="T7"/>
              </a:cxn>
              <a:cxn ang="0">
                <a:pos x="T8" y="T9"/>
              </a:cxn>
            </a:cxnLst>
            <a:rect l="0" t="0" r="r" b="b"/>
            <a:pathLst>
              <a:path w="372" h="831">
                <a:moveTo>
                  <a:pt x="372" y="831"/>
                </a:moveTo>
                <a:lnTo>
                  <a:pt x="0" y="831"/>
                </a:lnTo>
                <a:lnTo>
                  <a:pt x="0" y="235"/>
                </a:lnTo>
                <a:lnTo>
                  <a:pt x="372" y="0"/>
                </a:lnTo>
                <a:lnTo>
                  <a:pt x="372" y="831"/>
                </a:lnTo>
                <a:close/>
              </a:path>
            </a:pathLst>
          </a:custGeom>
          <a:solidFill>
            <a:srgbClr val="D66E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3" name="Freeform 30">
            <a:extLst>
              <a:ext uri="{FF2B5EF4-FFF2-40B4-BE49-F238E27FC236}">
                <a16:creationId xmlns:a16="http://schemas.microsoft.com/office/drawing/2014/main" id="{3D0A3133-2DE4-F84D-942E-D67CD897C4DC}"/>
              </a:ext>
            </a:extLst>
          </p:cNvPr>
          <p:cNvSpPr>
            <a:spLocks/>
          </p:cNvSpPr>
          <p:nvPr/>
        </p:nvSpPr>
        <p:spPr bwMode="auto">
          <a:xfrm>
            <a:off x="1558676" y="3943695"/>
            <a:ext cx="398378" cy="1107246"/>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Lst>
            <a:ahLst/>
            <a:cxnLst>
              <a:cxn ang="0">
                <a:pos x="T0" y="T1"/>
              </a:cxn>
              <a:cxn ang="0">
                <a:pos x="T2" y="T3"/>
              </a:cxn>
              <a:cxn ang="0">
                <a:pos x="T4" y="T5"/>
              </a:cxn>
              <a:cxn ang="0">
                <a:pos x="T6" y="T7"/>
              </a:cxn>
              <a:cxn ang="0">
                <a:pos x="T8" y="T9"/>
              </a:cxn>
            </a:cxnLst>
            <a:rect l="0" t="0" r="r" b="b"/>
            <a:pathLst>
              <a:path w="372" h="1066">
                <a:moveTo>
                  <a:pt x="372" y="1066"/>
                </a:moveTo>
                <a:lnTo>
                  <a:pt x="0" y="599"/>
                </a:lnTo>
                <a:lnTo>
                  <a:pt x="0" y="0"/>
                </a:lnTo>
                <a:lnTo>
                  <a:pt x="372" y="235"/>
                </a:lnTo>
                <a:lnTo>
                  <a:pt x="372" y="106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4" name="Freeform 31">
            <a:extLst>
              <a:ext uri="{FF2B5EF4-FFF2-40B4-BE49-F238E27FC236}">
                <a16:creationId xmlns:a16="http://schemas.microsoft.com/office/drawing/2014/main" id="{3EE150EE-8018-064E-86EC-239D0FE8D3D1}"/>
              </a:ext>
            </a:extLst>
          </p:cNvPr>
          <p:cNvSpPr>
            <a:spLocks/>
          </p:cNvSpPr>
          <p:nvPr/>
        </p:nvSpPr>
        <p:spPr bwMode="auto">
          <a:xfrm>
            <a:off x="1558676" y="3220326"/>
            <a:ext cx="398378" cy="869385"/>
          </a:xfrm>
          <a:custGeom>
            <a:avLst/>
            <a:gdLst>
              <a:gd name="T0" fmla="*/ 372 w 372"/>
              <a:gd name="T1" fmla="*/ 0 h 837"/>
              <a:gd name="T2" fmla="*/ 0 w 372"/>
              <a:gd name="T3" fmla="*/ 0 h 837"/>
              <a:gd name="T4" fmla="*/ 0 w 372"/>
              <a:gd name="T5" fmla="*/ 602 h 837"/>
              <a:gd name="T6" fmla="*/ 372 w 372"/>
              <a:gd name="T7" fmla="*/ 837 h 837"/>
              <a:gd name="T8" fmla="*/ 372 w 372"/>
              <a:gd name="T9" fmla="*/ 0 h 837"/>
            </a:gdLst>
            <a:ahLst/>
            <a:cxnLst>
              <a:cxn ang="0">
                <a:pos x="T0" y="T1"/>
              </a:cxn>
              <a:cxn ang="0">
                <a:pos x="T2" y="T3"/>
              </a:cxn>
              <a:cxn ang="0">
                <a:pos x="T4" y="T5"/>
              </a:cxn>
              <a:cxn ang="0">
                <a:pos x="T6" y="T7"/>
              </a:cxn>
              <a:cxn ang="0">
                <a:pos x="T8" y="T9"/>
              </a:cxn>
            </a:cxnLst>
            <a:rect l="0" t="0" r="r" b="b"/>
            <a:pathLst>
              <a:path w="372" h="837">
                <a:moveTo>
                  <a:pt x="372" y="0"/>
                </a:moveTo>
                <a:lnTo>
                  <a:pt x="0" y="0"/>
                </a:lnTo>
                <a:lnTo>
                  <a:pt x="0" y="602"/>
                </a:lnTo>
                <a:lnTo>
                  <a:pt x="372" y="837"/>
                </a:lnTo>
                <a:lnTo>
                  <a:pt x="372"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35" name="Rectangle 23">
            <a:extLst>
              <a:ext uri="{FF2B5EF4-FFF2-40B4-BE49-F238E27FC236}">
                <a16:creationId xmlns:a16="http://schemas.microsoft.com/office/drawing/2014/main" id="{9BF47D7E-15EE-7149-8E21-19B11E23B762}"/>
              </a:ext>
            </a:extLst>
          </p:cNvPr>
          <p:cNvSpPr>
            <a:spLocks noChangeArrowheads="1"/>
          </p:cNvSpPr>
          <p:nvPr/>
        </p:nvSpPr>
        <p:spPr bwMode="auto">
          <a:xfrm>
            <a:off x="2203257" y="1470644"/>
            <a:ext cx="57066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1</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6" name="Rectangle 24">
            <a:extLst>
              <a:ext uri="{FF2B5EF4-FFF2-40B4-BE49-F238E27FC236}">
                <a16:creationId xmlns:a16="http://schemas.microsoft.com/office/drawing/2014/main" id="{2265E8E9-062E-EE43-8947-3063FC432681}"/>
              </a:ext>
            </a:extLst>
          </p:cNvPr>
          <p:cNvSpPr>
            <a:spLocks noChangeArrowheads="1"/>
          </p:cNvSpPr>
          <p:nvPr/>
        </p:nvSpPr>
        <p:spPr bwMode="auto">
          <a:xfrm>
            <a:off x="2203257" y="2419658"/>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2</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7" name="Rectangle 25">
            <a:extLst>
              <a:ext uri="{FF2B5EF4-FFF2-40B4-BE49-F238E27FC236}">
                <a16:creationId xmlns:a16="http://schemas.microsoft.com/office/drawing/2014/main" id="{2B4C24BB-EC60-5442-BA27-5BD8942AEE07}"/>
              </a:ext>
            </a:extLst>
          </p:cNvPr>
          <p:cNvSpPr>
            <a:spLocks noChangeArrowheads="1"/>
          </p:cNvSpPr>
          <p:nvPr/>
        </p:nvSpPr>
        <p:spPr bwMode="auto">
          <a:xfrm>
            <a:off x="2203257" y="3334352"/>
            <a:ext cx="100008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3</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8" name="Rectangle 26">
            <a:extLst>
              <a:ext uri="{FF2B5EF4-FFF2-40B4-BE49-F238E27FC236}">
                <a16:creationId xmlns:a16="http://schemas.microsoft.com/office/drawing/2014/main" id="{0FC6E51B-6E10-6A47-84F6-80FA50FBBA8A}"/>
              </a:ext>
            </a:extLst>
          </p:cNvPr>
          <p:cNvSpPr>
            <a:spLocks noChangeArrowheads="1"/>
          </p:cNvSpPr>
          <p:nvPr/>
        </p:nvSpPr>
        <p:spPr bwMode="auto">
          <a:xfrm>
            <a:off x="2203257" y="4294003"/>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4</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39" name="Rectangle 38">
            <a:extLst>
              <a:ext uri="{FF2B5EF4-FFF2-40B4-BE49-F238E27FC236}">
                <a16:creationId xmlns:a16="http://schemas.microsoft.com/office/drawing/2014/main" id="{5161621C-605E-4F4E-8120-99767F177DE2}"/>
              </a:ext>
            </a:extLst>
          </p:cNvPr>
          <p:cNvSpPr/>
          <p:nvPr/>
        </p:nvSpPr>
        <p:spPr>
          <a:xfrm>
            <a:off x="2882977" y="5180468"/>
            <a:ext cx="7750344" cy="8673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2438" lvl="0">
              <a:defRPr/>
            </a:pPr>
            <a:r>
              <a:rPr lang="en-US">
                <a:solidFill>
                  <a:schemeClr val="bg2">
                    <a:lumMod val="90000"/>
                  </a:schemeClr>
                </a:solidFill>
                <a:latin typeface="Calibri" panose="020F0502020204030204" pitchFamily="34" charset="0"/>
                <a:cs typeface="Calibri" panose="020F0502020204030204" pitchFamily="34" charset="0"/>
              </a:rPr>
              <a:t>Appendix: Detailed breakdown of activities and deliverables &amp; Veeva Credentials</a:t>
            </a:r>
          </a:p>
        </p:txBody>
      </p:sp>
      <p:sp>
        <p:nvSpPr>
          <p:cNvPr id="40" name="Freeform 27">
            <a:extLst>
              <a:ext uri="{FF2B5EF4-FFF2-40B4-BE49-F238E27FC236}">
                <a16:creationId xmlns:a16="http://schemas.microsoft.com/office/drawing/2014/main" id="{2147A5BD-FF11-2344-8718-FC5B1A2AED80}"/>
              </a:ext>
            </a:extLst>
          </p:cNvPr>
          <p:cNvSpPr>
            <a:spLocks/>
          </p:cNvSpPr>
          <p:nvPr/>
        </p:nvSpPr>
        <p:spPr bwMode="auto">
          <a:xfrm>
            <a:off x="1957054" y="5183583"/>
            <a:ext cx="1172040" cy="864192"/>
          </a:xfrm>
          <a:custGeom>
            <a:avLst/>
            <a:gdLst>
              <a:gd name="T0" fmla="*/ 4039 w 4210"/>
              <a:gd name="T1" fmla="*/ 206 h 832"/>
              <a:gd name="T2" fmla="*/ 3868 w 4210"/>
              <a:gd name="T3" fmla="*/ 0 h 832"/>
              <a:gd name="T4" fmla="*/ 3868 w 4210"/>
              <a:gd name="T5" fmla="*/ 0 h 832"/>
              <a:gd name="T6" fmla="*/ 0 w 4210"/>
              <a:gd name="T7" fmla="*/ 0 h 832"/>
              <a:gd name="T8" fmla="*/ 0 w 4210"/>
              <a:gd name="T9" fmla="*/ 832 h 832"/>
              <a:gd name="T10" fmla="*/ 3868 w 4210"/>
              <a:gd name="T11" fmla="*/ 832 h 832"/>
              <a:gd name="T12" fmla="*/ 3868 w 4210"/>
              <a:gd name="T13" fmla="*/ 832 h 832"/>
              <a:gd name="T14" fmla="*/ 4039 w 4210"/>
              <a:gd name="T15" fmla="*/ 623 h 832"/>
              <a:gd name="T16" fmla="*/ 4210 w 4210"/>
              <a:gd name="T17" fmla="*/ 415 h 832"/>
              <a:gd name="T18" fmla="*/ 4039 w 4210"/>
              <a:gd name="T19" fmla="*/ 20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0" h="832">
                <a:moveTo>
                  <a:pt x="4039" y="206"/>
                </a:moveTo>
                <a:lnTo>
                  <a:pt x="3868" y="0"/>
                </a:lnTo>
                <a:lnTo>
                  <a:pt x="3868" y="0"/>
                </a:lnTo>
                <a:lnTo>
                  <a:pt x="0" y="0"/>
                </a:lnTo>
                <a:lnTo>
                  <a:pt x="0" y="832"/>
                </a:lnTo>
                <a:lnTo>
                  <a:pt x="3868" y="832"/>
                </a:lnTo>
                <a:lnTo>
                  <a:pt x="3868" y="832"/>
                </a:lnTo>
                <a:lnTo>
                  <a:pt x="4039" y="623"/>
                </a:lnTo>
                <a:lnTo>
                  <a:pt x="4210" y="415"/>
                </a:lnTo>
                <a:lnTo>
                  <a:pt x="4039" y="20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41" name="Rectangle 26">
            <a:extLst>
              <a:ext uri="{FF2B5EF4-FFF2-40B4-BE49-F238E27FC236}">
                <a16:creationId xmlns:a16="http://schemas.microsoft.com/office/drawing/2014/main" id="{02E9E607-BB7B-C347-AC2F-3193C2C84DBD}"/>
              </a:ext>
            </a:extLst>
          </p:cNvPr>
          <p:cNvSpPr>
            <a:spLocks noChangeArrowheads="1"/>
          </p:cNvSpPr>
          <p:nvPr/>
        </p:nvSpPr>
        <p:spPr bwMode="auto">
          <a:xfrm>
            <a:off x="2203257" y="5292915"/>
            <a:ext cx="9258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cs typeface="Calibri" panose="020F0502020204030204" pitchFamily="34" charset="0"/>
              </a:rPr>
              <a:t>05</a:t>
            </a:r>
            <a:endParaRPr kumimoji="0" lang="en-US" altLang="en-US" sz="1400" b="0" i="0" u="none" strike="noStrike" kern="1200" cap="none" spc="0" normalizeH="0" baseline="0" noProof="0">
              <a:ln>
                <a:noFill/>
              </a:ln>
              <a:solidFill>
                <a:srgbClr val="646569"/>
              </a:solidFill>
              <a:effectLst/>
              <a:uLnTx/>
              <a:uFillTx/>
              <a:cs typeface="Calibri" panose="020F0502020204030204" pitchFamily="34" charset="0"/>
            </a:endParaRPr>
          </a:p>
        </p:txBody>
      </p:sp>
      <p:sp>
        <p:nvSpPr>
          <p:cNvPr id="42" name="Freeform 30">
            <a:extLst>
              <a:ext uri="{FF2B5EF4-FFF2-40B4-BE49-F238E27FC236}">
                <a16:creationId xmlns:a16="http://schemas.microsoft.com/office/drawing/2014/main" id="{4BEA7507-692A-8148-8874-D8D17BA0439B}"/>
              </a:ext>
            </a:extLst>
          </p:cNvPr>
          <p:cNvSpPr>
            <a:spLocks/>
          </p:cNvSpPr>
          <p:nvPr/>
        </p:nvSpPr>
        <p:spPr bwMode="auto">
          <a:xfrm>
            <a:off x="1558676" y="4724357"/>
            <a:ext cx="398378" cy="1326038"/>
          </a:xfrm>
          <a:custGeom>
            <a:avLst/>
            <a:gdLst>
              <a:gd name="T0" fmla="*/ 372 w 372"/>
              <a:gd name="T1" fmla="*/ 1066 h 1066"/>
              <a:gd name="T2" fmla="*/ 0 w 372"/>
              <a:gd name="T3" fmla="*/ 599 h 1066"/>
              <a:gd name="T4" fmla="*/ 0 w 372"/>
              <a:gd name="T5" fmla="*/ 0 h 1066"/>
              <a:gd name="T6" fmla="*/ 372 w 372"/>
              <a:gd name="T7" fmla="*/ 235 h 1066"/>
              <a:gd name="T8" fmla="*/ 372 w 372"/>
              <a:gd name="T9" fmla="*/ 1066 h 1066"/>
              <a:gd name="connsiteX0" fmla="*/ 10000 w 10000"/>
              <a:gd name="connsiteY0" fmla="*/ 11976 h 11976"/>
              <a:gd name="connsiteX1" fmla="*/ 0 w 10000"/>
              <a:gd name="connsiteY1" fmla="*/ 7595 h 11976"/>
              <a:gd name="connsiteX2" fmla="*/ 0 w 10000"/>
              <a:gd name="connsiteY2" fmla="*/ 0 h 11976"/>
              <a:gd name="connsiteX3" fmla="*/ 10000 w 10000"/>
              <a:gd name="connsiteY3" fmla="*/ 4181 h 11976"/>
              <a:gd name="connsiteX4" fmla="*/ 10000 w 10000"/>
              <a:gd name="connsiteY4" fmla="*/ 11976 h 11976"/>
              <a:gd name="connsiteX0" fmla="*/ 10000 w 10000"/>
              <a:gd name="connsiteY0" fmla="*/ 11976 h 11976"/>
              <a:gd name="connsiteX1" fmla="*/ 0 w 10000"/>
              <a:gd name="connsiteY1" fmla="*/ 5518 h 11976"/>
              <a:gd name="connsiteX2" fmla="*/ 0 w 10000"/>
              <a:gd name="connsiteY2" fmla="*/ 0 h 11976"/>
              <a:gd name="connsiteX3" fmla="*/ 10000 w 10000"/>
              <a:gd name="connsiteY3" fmla="*/ 4181 h 11976"/>
              <a:gd name="connsiteX4" fmla="*/ 10000 w 10000"/>
              <a:gd name="connsiteY4" fmla="*/ 11976 h 11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976">
                <a:moveTo>
                  <a:pt x="10000" y="11976"/>
                </a:moveTo>
                <a:lnTo>
                  <a:pt x="0" y="5518"/>
                </a:lnTo>
                <a:lnTo>
                  <a:pt x="0" y="0"/>
                </a:lnTo>
                <a:lnTo>
                  <a:pt x="10000" y="4181"/>
                </a:lnTo>
                <a:lnTo>
                  <a:pt x="10000" y="1197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646569"/>
              </a:solidFill>
              <a:effectLst/>
              <a:uLnTx/>
              <a:uFillTx/>
              <a:latin typeface="Calibri" panose="020F0502020204030204" pitchFamily="34" charset="0"/>
              <a:cs typeface="Calibri" panose="020F0502020204030204" pitchFamily="34" charset="0"/>
            </a:endParaRPr>
          </a:p>
        </p:txBody>
      </p:sp>
      <p:sp>
        <p:nvSpPr>
          <p:cNvPr id="43" name="Title 1">
            <a:extLst>
              <a:ext uri="{FF2B5EF4-FFF2-40B4-BE49-F238E27FC236}">
                <a16:creationId xmlns:a16="http://schemas.microsoft.com/office/drawing/2014/main" id="{0A13CAA7-4548-9145-9559-FC9D617E184D}"/>
              </a:ext>
            </a:extLst>
          </p:cNvPr>
          <p:cNvSpPr>
            <a:spLocks noGrp="1"/>
          </p:cNvSpPr>
          <p:nvPr>
            <p:ph type="title"/>
          </p:nvPr>
        </p:nvSpPr>
        <p:spPr>
          <a:xfrm>
            <a:off x="276303" y="240653"/>
            <a:ext cx="11639394" cy="1101213"/>
          </a:xfrm>
        </p:spPr>
        <p:txBody>
          <a:bodyPr vert="horz" lIns="91440" tIns="45720" rIns="91440" bIns="45720" rtlCol="0" anchor="ctr" anchorCtr="0">
            <a:noAutofit/>
          </a:bodyPr>
          <a:lstStyle/>
          <a:p>
            <a:r>
              <a:rPr lang="en-US">
                <a:latin typeface="Calibri"/>
                <a:cs typeface="Calibri"/>
              </a:rPr>
              <a:t>Table of contents </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926778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B2B4F-68EF-A049-8954-2F91A773CD87}"/>
              </a:ext>
            </a:extLst>
          </p:cNvPr>
          <p:cNvSpPr>
            <a:spLocks noGrp="1"/>
          </p:cNvSpPr>
          <p:nvPr>
            <p:ph type="title"/>
          </p:nvPr>
        </p:nvSpPr>
        <p:spPr>
          <a:xfrm>
            <a:off x="248373" y="230054"/>
            <a:ext cx="11463413" cy="1101213"/>
          </a:xfrm>
        </p:spPr>
        <p:txBody>
          <a:bodyPr/>
          <a:lstStyle/>
          <a:p>
            <a:r>
              <a:rPr lang="en-US"/>
              <a:t>Our point of view</a:t>
            </a:r>
          </a:p>
        </p:txBody>
      </p:sp>
      <p:sp>
        <p:nvSpPr>
          <p:cNvPr id="5" name="Freeform 7">
            <a:extLst>
              <a:ext uri="{FF2B5EF4-FFF2-40B4-BE49-F238E27FC236}">
                <a16:creationId xmlns:a16="http://schemas.microsoft.com/office/drawing/2014/main" id="{385BF333-134A-D049-B2D0-656DE18A8673}"/>
              </a:ext>
            </a:extLst>
          </p:cNvPr>
          <p:cNvSpPr>
            <a:spLocks/>
          </p:cNvSpPr>
          <p:nvPr/>
        </p:nvSpPr>
        <p:spPr bwMode="auto">
          <a:xfrm>
            <a:off x="1163356" y="2366678"/>
            <a:ext cx="779048" cy="1252181"/>
          </a:xfrm>
          <a:custGeom>
            <a:avLst/>
            <a:gdLst>
              <a:gd name="T0" fmla="*/ 2147483646 w 372"/>
              <a:gd name="T1" fmla="*/ 0 h 831"/>
              <a:gd name="T2" fmla="*/ 0 w 372"/>
              <a:gd name="T3" fmla="*/ 2147483646 h 831"/>
              <a:gd name="T4" fmla="*/ 0 w 372"/>
              <a:gd name="T5" fmla="*/ 2147483646 h 831"/>
              <a:gd name="T6" fmla="*/ 2147483646 w 372"/>
              <a:gd name="T7" fmla="*/ 2147483646 h 831"/>
              <a:gd name="T8" fmla="*/ 2147483646 w 372"/>
              <a:gd name="T9" fmla="*/ 0 h 8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2" h="831">
                <a:moveTo>
                  <a:pt x="372" y="0"/>
                </a:moveTo>
                <a:lnTo>
                  <a:pt x="0" y="177"/>
                </a:lnTo>
                <a:lnTo>
                  <a:pt x="0" y="730"/>
                </a:lnTo>
                <a:lnTo>
                  <a:pt x="372" y="831"/>
                </a:lnTo>
                <a:lnTo>
                  <a:pt x="372" y="0"/>
                </a:lnTo>
                <a:close/>
              </a:path>
            </a:pathLst>
          </a:custGeom>
          <a:solidFill>
            <a:srgbClr val="C9C4B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Freeform 8">
            <a:extLst>
              <a:ext uri="{FF2B5EF4-FFF2-40B4-BE49-F238E27FC236}">
                <a16:creationId xmlns:a16="http://schemas.microsoft.com/office/drawing/2014/main" id="{8E960FC5-547B-E348-B25E-A6C22177FC48}"/>
              </a:ext>
            </a:extLst>
          </p:cNvPr>
          <p:cNvSpPr>
            <a:spLocks/>
          </p:cNvSpPr>
          <p:nvPr/>
        </p:nvSpPr>
        <p:spPr bwMode="auto">
          <a:xfrm>
            <a:off x="1163356" y="3573682"/>
            <a:ext cx="779048" cy="1404936"/>
          </a:xfrm>
          <a:custGeom>
            <a:avLst/>
            <a:gdLst>
              <a:gd name="T0" fmla="*/ 2147483646 w 372"/>
              <a:gd name="T1" fmla="*/ 2147483646 h 932"/>
              <a:gd name="T2" fmla="*/ 0 w 372"/>
              <a:gd name="T3" fmla="*/ 2147483646 h 932"/>
              <a:gd name="T4" fmla="*/ 0 w 372"/>
              <a:gd name="T5" fmla="*/ 0 h 932"/>
              <a:gd name="T6" fmla="*/ 2147483646 w 372"/>
              <a:gd name="T7" fmla="*/ 2147483646 h 932"/>
              <a:gd name="T8" fmla="*/ 2147483646 w 372"/>
              <a:gd name="T9" fmla="*/ 2147483646 h 9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2" h="932">
                <a:moveTo>
                  <a:pt x="372" y="932"/>
                </a:moveTo>
                <a:lnTo>
                  <a:pt x="0" y="553"/>
                </a:lnTo>
                <a:lnTo>
                  <a:pt x="0" y="0"/>
                </a:lnTo>
                <a:lnTo>
                  <a:pt x="372" y="101"/>
                </a:lnTo>
                <a:lnTo>
                  <a:pt x="372" y="932"/>
                </a:lnTo>
                <a:close/>
              </a:path>
            </a:pathLst>
          </a:custGeom>
          <a:solidFill>
            <a:schemeClr val="accent2">
              <a:lumMod val="75000"/>
              <a:alpha val="67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Freeform 12">
            <a:extLst>
              <a:ext uri="{FF2B5EF4-FFF2-40B4-BE49-F238E27FC236}">
                <a16:creationId xmlns:a16="http://schemas.microsoft.com/office/drawing/2014/main" id="{4B92AEC7-14A5-B343-84AD-B0832343E0E1}"/>
              </a:ext>
            </a:extLst>
          </p:cNvPr>
          <p:cNvSpPr>
            <a:spLocks/>
          </p:cNvSpPr>
          <p:nvPr/>
        </p:nvSpPr>
        <p:spPr bwMode="auto">
          <a:xfrm>
            <a:off x="1942404" y="2366678"/>
            <a:ext cx="8815243" cy="1252181"/>
          </a:xfrm>
          <a:custGeom>
            <a:avLst/>
            <a:gdLst>
              <a:gd name="T0" fmla="*/ 2147483646 w 4210"/>
              <a:gd name="T1" fmla="*/ 2147483646 h 831"/>
              <a:gd name="T2" fmla="*/ 2147483646 w 4210"/>
              <a:gd name="T3" fmla="*/ 2147483646 h 831"/>
              <a:gd name="T4" fmla="*/ 2147483646 w 4210"/>
              <a:gd name="T5" fmla="*/ 0 h 831"/>
              <a:gd name="T6" fmla="*/ 2147483646 w 4210"/>
              <a:gd name="T7" fmla="*/ 0 h 831"/>
              <a:gd name="T8" fmla="*/ 0 w 4210"/>
              <a:gd name="T9" fmla="*/ 0 h 831"/>
              <a:gd name="T10" fmla="*/ 0 w 4210"/>
              <a:gd name="T11" fmla="*/ 2147483646 h 831"/>
              <a:gd name="T12" fmla="*/ 2147483646 w 4210"/>
              <a:gd name="T13" fmla="*/ 2147483646 h 831"/>
              <a:gd name="T14" fmla="*/ 2147483646 w 4210"/>
              <a:gd name="T15" fmla="*/ 2147483646 h 831"/>
              <a:gd name="T16" fmla="*/ 2147483646 w 4210"/>
              <a:gd name="T17" fmla="*/ 2147483646 h 831"/>
              <a:gd name="T18" fmla="*/ 2147483646 w 4210"/>
              <a:gd name="T19" fmla="*/ 2147483646 h 831"/>
              <a:gd name="T20" fmla="*/ 2147483646 w 4210"/>
              <a:gd name="T21" fmla="*/ 2147483646 h 831"/>
              <a:gd name="T22" fmla="*/ 2147483646 w 4210"/>
              <a:gd name="T23" fmla="*/ 2147483646 h 831"/>
              <a:gd name="T24" fmla="*/ 2147483646 w 4210"/>
              <a:gd name="T25" fmla="*/ 2147483646 h 8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10" h="831">
                <a:moveTo>
                  <a:pt x="4210" y="415"/>
                </a:moveTo>
                <a:lnTo>
                  <a:pt x="4039" y="209"/>
                </a:lnTo>
                <a:lnTo>
                  <a:pt x="3868" y="0"/>
                </a:lnTo>
                <a:lnTo>
                  <a:pt x="0" y="0"/>
                </a:lnTo>
                <a:lnTo>
                  <a:pt x="0" y="831"/>
                </a:lnTo>
                <a:lnTo>
                  <a:pt x="3868" y="831"/>
                </a:lnTo>
                <a:lnTo>
                  <a:pt x="4039" y="623"/>
                </a:lnTo>
                <a:lnTo>
                  <a:pt x="4210" y="415"/>
                </a:lnTo>
                <a:close/>
              </a:path>
            </a:pathLst>
          </a:custGeom>
          <a:solidFill>
            <a:srgbClr val="F9F2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13">
            <a:extLst>
              <a:ext uri="{FF2B5EF4-FFF2-40B4-BE49-F238E27FC236}">
                <a16:creationId xmlns:a16="http://schemas.microsoft.com/office/drawing/2014/main" id="{A335545C-C391-8A46-B4A7-42D45AABF245}"/>
              </a:ext>
            </a:extLst>
          </p:cNvPr>
          <p:cNvSpPr>
            <a:spLocks/>
          </p:cNvSpPr>
          <p:nvPr/>
        </p:nvSpPr>
        <p:spPr bwMode="auto">
          <a:xfrm>
            <a:off x="1942404" y="3726436"/>
            <a:ext cx="8815243" cy="1252182"/>
          </a:xfrm>
          <a:custGeom>
            <a:avLst/>
            <a:gdLst>
              <a:gd name="T0" fmla="*/ 2147483646 w 4210"/>
              <a:gd name="T1" fmla="*/ 2147483646 h 831"/>
              <a:gd name="T2" fmla="*/ 2147483646 w 4210"/>
              <a:gd name="T3" fmla="*/ 0 h 831"/>
              <a:gd name="T4" fmla="*/ 2147483646 w 4210"/>
              <a:gd name="T5" fmla="*/ 0 h 831"/>
              <a:gd name="T6" fmla="*/ 0 w 4210"/>
              <a:gd name="T7" fmla="*/ 0 h 831"/>
              <a:gd name="T8" fmla="*/ 0 w 4210"/>
              <a:gd name="T9" fmla="*/ 2147483646 h 831"/>
              <a:gd name="T10" fmla="*/ 2147483646 w 4210"/>
              <a:gd name="T11" fmla="*/ 2147483646 h 831"/>
              <a:gd name="T12" fmla="*/ 2147483646 w 4210"/>
              <a:gd name="T13" fmla="*/ 2147483646 h 831"/>
              <a:gd name="T14" fmla="*/ 2147483646 w 4210"/>
              <a:gd name="T15" fmla="*/ 2147483646 h 831"/>
              <a:gd name="T16" fmla="*/ 2147483646 w 4210"/>
              <a:gd name="T17" fmla="*/ 2147483646 h 831"/>
              <a:gd name="T18" fmla="*/ 2147483646 w 4210"/>
              <a:gd name="T19" fmla="*/ 2147483646 h 8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10" h="831">
                <a:moveTo>
                  <a:pt x="4039" y="209"/>
                </a:moveTo>
                <a:lnTo>
                  <a:pt x="3868" y="0"/>
                </a:lnTo>
                <a:lnTo>
                  <a:pt x="0" y="0"/>
                </a:lnTo>
                <a:lnTo>
                  <a:pt x="0" y="831"/>
                </a:lnTo>
                <a:lnTo>
                  <a:pt x="3868" y="831"/>
                </a:lnTo>
                <a:lnTo>
                  <a:pt x="4039" y="626"/>
                </a:lnTo>
                <a:lnTo>
                  <a:pt x="4210" y="417"/>
                </a:lnTo>
                <a:lnTo>
                  <a:pt x="4039" y="209"/>
                </a:lnTo>
                <a:close/>
              </a:path>
            </a:pathLst>
          </a:custGeom>
          <a:solidFill>
            <a:schemeClr val="tx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Google Shape;7803;p149">
            <a:extLst>
              <a:ext uri="{FF2B5EF4-FFF2-40B4-BE49-F238E27FC236}">
                <a16:creationId xmlns:a16="http://schemas.microsoft.com/office/drawing/2014/main" id="{4824B7B7-72FE-CA41-B74E-3B8F408F9C3C}"/>
              </a:ext>
            </a:extLst>
          </p:cNvPr>
          <p:cNvSpPr txBox="1">
            <a:spLocks noChangeArrowheads="1"/>
          </p:cNvSpPr>
          <p:nvPr/>
        </p:nvSpPr>
        <p:spPr bwMode="auto">
          <a:xfrm>
            <a:off x="3787726" y="2715445"/>
            <a:ext cx="1463157" cy="101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Clr>
                <a:srgbClr val="484848"/>
              </a:buClr>
              <a:buSzPts val="3900"/>
              <a:buFont typeface="PT Sans" panose="020B0503020203020204" pitchFamily="34" charset="-52"/>
              <a:buNone/>
            </a:pPr>
            <a:r>
              <a:rPr lang="en-US" altLang="en-US" sz="3900">
                <a:latin typeface="PT Sans" panose="020B0503020203020204" pitchFamily="34" charset="-52"/>
                <a:cs typeface="Arial" panose="020B0604020202020204" pitchFamily="34" charset="0"/>
                <a:sym typeface="PT Sans" panose="020B0503020203020204" pitchFamily="34" charset="-52"/>
              </a:rPr>
              <a:t>01</a:t>
            </a:r>
            <a:endParaRPr lang="en-US" altLang="en-US" sz="1400">
              <a:latin typeface="Arial" panose="020B0604020202020204" pitchFamily="34" charset="0"/>
              <a:cs typeface="Arial" panose="020B0604020202020204" pitchFamily="34" charset="0"/>
              <a:sym typeface="Arial" panose="020B0604020202020204" pitchFamily="34" charset="0"/>
            </a:endParaRPr>
          </a:p>
        </p:txBody>
      </p:sp>
      <p:sp>
        <p:nvSpPr>
          <p:cNvPr id="10" name="Google Shape;7804;p149">
            <a:extLst>
              <a:ext uri="{FF2B5EF4-FFF2-40B4-BE49-F238E27FC236}">
                <a16:creationId xmlns:a16="http://schemas.microsoft.com/office/drawing/2014/main" id="{770DCDB0-0408-EF42-88F7-9BAFC41EFE0A}"/>
              </a:ext>
            </a:extLst>
          </p:cNvPr>
          <p:cNvSpPr txBox="1">
            <a:spLocks noChangeArrowheads="1"/>
          </p:cNvSpPr>
          <p:nvPr/>
        </p:nvSpPr>
        <p:spPr bwMode="auto">
          <a:xfrm>
            <a:off x="3787727" y="3977677"/>
            <a:ext cx="1463157" cy="1010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Clr>
                <a:srgbClr val="FFFFFF"/>
              </a:buClr>
              <a:buSzPts val="3900"/>
              <a:buFont typeface="PT Sans" panose="020B0503020203020204" pitchFamily="34" charset="-52"/>
              <a:buNone/>
            </a:pPr>
            <a:r>
              <a:rPr lang="en-US" altLang="en-US" sz="3900">
                <a:latin typeface="PT Sans" panose="020B0503020203020204" pitchFamily="34" charset="-52"/>
                <a:cs typeface="Arial" panose="020B0604020202020204" pitchFamily="34" charset="0"/>
                <a:sym typeface="PT Sans" panose="020B0503020203020204" pitchFamily="34" charset="-52"/>
              </a:rPr>
              <a:t>02</a:t>
            </a:r>
            <a:endParaRPr lang="en-US" altLang="en-US" sz="1400">
              <a:latin typeface="Arial" panose="020B0604020202020204" pitchFamily="34" charset="0"/>
              <a:cs typeface="Arial" panose="020B0604020202020204" pitchFamily="34" charset="0"/>
              <a:sym typeface="Arial" panose="020B0604020202020204" pitchFamily="34" charset="0"/>
            </a:endParaRPr>
          </a:p>
        </p:txBody>
      </p:sp>
      <p:sp>
        <p:nvSpPr>
          <p:cNvPr id="13" name="Google Shape;7813;p149">
            <a:extLst>
              <a:ext uri="{FF2B5EF4-FFF2-40B4-BE49-F238E27FC236}">
                <a16:creationId xmlns:a16="http://schemas.microsoft.com/office/drawing/2014/main" id="{ACAC4C7B-47DB-D741-819F-D9D14CC768CA}"/>
              </a:ext>
            </a:extLst>
          </p:cNvPr>
          <p:cNvSpPr txBox="1">
            <a:spLocks noChangeArrowheads="1"/>
          </p:cNvSpPr>
          <p:nvPr/>
        </p:nvSpPr>
        <p:spPr bwMode="auto">
          <a:xfrm>
            <a:off x="4606745" y="3847995"/>
            <a:ext cx="4532907" cy="42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Clr>
                <a:srgbClr val="FFFFFF"/>
              </a:buClr>
              <a:buSzPts val="1600"/>
              <a:buFont typeface="Open Sans" panose="020B0606030504020204" pitchFamily="34" charset="0"/>
              <a:buNone/>
            </a:pPr>
            <a:r>
              <a:rPr lang="en-US" altLang="en-US">
                <a:cs typeface="Calibri" panose="020F0502020204030204" pitchFamily="34" charset="0"/>
                <a:sym typeface="Open Sans" panose="020B0606030504020204" pitchFamily="34" charset="0"/>
              </a:rPr>
              <a:t>Implications for customer engagement design</a:t>
            </a:r>
            <a:endParaRPr lang="en-US" altLang="en-US" sz="2400">
              <a:cs typeface="Calibri" panose="020F0502020204030204" pitchFamily="34" charset="0"/>
              <a:sym typeface="Arial" panose="020B0604020202020204" pitchFamily="34" charset="0"/>
            </a:endParaRPr>
          </a:p>
        </p:txBody>
      </p:sp>
      <p:sp>
        <p:nvSpPr>
          <p:cNvPr id="14" name="Google Shape;7814;p149">
            <a:extLst>
              <a:ext uri="{FF2B5EF4-FFF2-40B4-BE49-F238E27FC236}">
                <a16:creationId xmlns:a16="http://schemas.microsoft.com/office/drawing/2014/main" id="{CBAFC2D6-35AC-5D4B-B675-BC96C439D789}"/>
              </a:ext>
            </a:extLst>
          </p:cNvPr>
          <p:cNvSpPr txBox="1">
            <a:spLocks noChangeArrowheads="1"/>
          </p:cNvSpPr>
          <p:nvPr/>
        </p:nvSpPr>
        <p:spPr bwMode="auto">
          <a:xfrm>
            <a:off x="4606745" y="2732943"/>
            <a:ext cx="4825214" cy="430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Clr>
                <a:srgbClr val="484848"/>
              </a:buClr>
              <a:buSzPts val="1600"/>
              <a:buFont typeface="Open Sans" panose="020B0606030504020204" pitchFamily="34" charset="0"/>
              <a:buNone/>
            </a:pPr>
            <a:r>
              <a:rPr lang="en-US" altLang="en-US">
                <a:cs typeface="Calibri" panose="020F0502020204030204" pitchFamily="34" charset="0"/>
                <a:sym typeface="Open Sans" panose="020B0606030504020204" pitchFamily="34" charset="0"/>
              </a:rPr>
              <a:t>How engagement is changing</a:t>
            </a:r>
            <a:endParaRPr lang="en-US" altLang="en-US" sz="2400">
              <a:cs typeface="Calibri" panose="020F0502020204030204" pitchFamily="34" charset="0"/>
              <a:sym typeface="Arial" panose="020B0604020202020204" pitchFamily="34" charset="0"/>
            </a:endParaRPr>
          </a:p>
        </p:txBody>
      </p:sp>
      <p:pic>
        <p:nvPicPr>
          <p:cNvPr id="21" name="Graphic 20" descr="Ui Ux outline">
            <a:extLst>
              <a:ext uri="{FF2B5EF4-FFF2-40B4-BE49-F238E27FC236}">
                <a16:creationId xmlns:a16="http://schemas.microsoft.com/office/drawing/2014/main" id="{241058A8-0E9D-A840-83DA-C64CE68AC1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5086" y="3733930"/>
            <a:ext cx="1084355" cy="1084355"/>
          </a:xfrm>
          <a:prstGeom prst="rect">
            <a:avLst/>
          </a:prstGeom>
        </p:spPr>
      </p:pic>
      <p:pic>
        <p:nvPicPr>
          <p:cNvPr id="27" name="Graphic 26" descr="Chat outline">
            <a:extLst>
              <a:ext uri="{FF2B5EF4-FFF2-40B4-BE49-F238E27FC236}">
                <a16:creationId xmlns:a16="http://schemas.microsoft.com/office/drawing/2014/main" id="{669F4420-836D-094C-BF92-BF95E9234B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97960" y="2366678"/>
            <a:ext cx="1317209" cy="1317209"/>
          </a:xfrm>
          <a:prstGeom prst="rect">
            <a:avLst/>
          </a:prstGeom>
        </p:spPr>
      </p:pic>
    </p:spTree>
    <p:extLst>
      <p:ext uri="{BB962C8B-B14F-4D97-AF65-F5344CB8AC3E}">
        <p14:creationId xmlns:p14="http://schemas.microsoft.com/office/powerpoint/2010/main" val="3561234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F329BA-D4B1-47C2-B6E7-15EE3255AFC1}"/>
              </a:ext>
            </a:extLst>
          </p:cNvPr>
          <p:cNvGraphicFramePr>
            <a:graphicFrameLocks noChangeAspect="1"/>
          </p:cNvGraphicFramePr>
          <p:nvPr>
            <p:custDataLst>
              <p:tags r:id="rId2"/>
            </p:custDataLst>
          </p:nvPr>
        </p:nvGraphicFramePr>
        <p:xfrm>
          <a:off x="449637" y="1401"/>
          <a:ext cx="1401" cy="1401"/>
        </p:xfrm>
        <a:graphic>
          <a:graphicData uri="http://schemas.openxmlformats.org/presentationml/2006/ole">
            <mc:AlternateContent xmlns:mc="http://schemas.openxmlformats.org/markup-compatibility/2006">
              <mc:Choice xmlns:v="urn:schemas-microsoft-com:vml" Requires="v">
                <p:oleObj spid="_x0000_s102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5F329BA-D4B1-47C2-B6E7-15EE3255AFC1}"/>
                          </a:ext>
                        </a:extLst>
                      </p:cNvPr>
                      <p:cNvPicPr/>
                      <p:nvPr/>
                    </p:nvPicPr>
                    <p:blipFill>
                      <a:blip r:embed="rId6"/>
                      <a:stretch>
                        <a:fillRect/>
                      </a:stretch>
                    </p:blipFill>
                    <p:spPr>
                      <a:xfrm>
                        <a:off x="449637" y="1401"/>
                        <a:ext cx="1401" cy="1401"/>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12BBF88E-E80D-3F42-8CD1-B02DEABB24D9}"/>
              </a:ext>
            </a:extLst>
          </p:cNvPr>
          <p:cNvSpPr>
            <a:spLocks noGrp="1"/>
          </p:cNvSpPr>
          <p:nvPr>
            <p:ph type="title"/>
          </p:nvPr>
        </p:nvSpPr>
        <p:spPr>
          <a:xfrm>
            <a:off x="4642363" y="466887"/>
            <a:ext cx="7205760" cy="1325563"/>
          </a:xfrm>
        </p:spPr>
        <p:txBody>
          <a:bodyPr vert="horz" lIns="91440" tIns="45720" rIns="91440" bIns="45720" rtlCol="0" anchor="ctr" anchorCtr="0">
            <a:noAutofit/>
          </a:bodyPr>
          <a:lstStyle/>
          <a:p>
            <a:r>
              <a:rPr lang="en-US" sz="3200"/>
              <a:t>Today’s HCPs are ‘digital citizens’ with specific needs and preferences. Pharma needs an engagement model to match.</a:t>
            </a:r>
          </a:p>
        </p:txBody>
      </p:sp>
      <p:sp>
        <p:nvSpPr>
          <p:cNvPr id="22" name="Slide Number Placeholder 1">
            <a:extLst>
              <a:ext uri="{FF2B5EF4-FFF2-40B4-BE49-F238E27FC236}">
                <a16:creationId xmlns:a16="http://schemas.microsoft.com/office/drawing/2014/main" id="{7B233336-B8DA-724F-8500-108C2D3CC295}"/>
              </a:ext>
            </a:extLst>
          </p:cNvPr>
          <p:cNvSpPr txBox="1">
            <a:spLocks/>
          </p:cNvSpPr>
          <p:nvPr/>
        </p:nvSpPr>
        <p:spPr>
          <a:xfrm>
            <a:off x="571501" y="6415576"/>
            <a:ext cx="457201" cy="215444"/>
          </a:xfrm>
          <a:prstGeom prst="rect">
            <a:avLst/>
          </a:prstGeom>
        </p:spPr>
        <p:txBody>
          <a:bodyPr/>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6474CC2-1230-4213-AD1A-4B2FEEABA7A1}"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30CE0AA8-108E-594F-A2AB-48739D787C83}"/>
              </a:ext>
            </a:extLst>
          </p:cNvPr>
          <p:cNvSpPr/>
          <p:nvPr/>
        </p:nvSpPr>
        <p:spPr>
          <a:xfrm>
            <a:off x="4642362" y="2060538"/>
            <a:ext cx="7205761" cy="4462760"/>
          </a:xfrm>
          <a:prstGeom prst="rect">
            <a:avLst/>
          </a:prstGeom>
        </p:spPr>
        <p:txBody>
          <a:bodyPr wrap="square">
            <a:spAutoFit/>
          </a:bodyPr>
          <a:lstStyle/>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646569"/>
                </a:solidFill>
                <a:effectLst/>
                <a:uLnTx/>
                <a:uFillTx/>
                <a:latin typeface="Calibri"/>
                <a:ea typeface="+mn-ea"/>
                <a:cs typeface="+mn-cs"/>
              </a:rPr>
              <a:t>Nearly 70% of all HCPs are digital natives. They expect information to be delivered through </a:t>
            </a:r>
            <a:r>
              <a:rPr lang="en-GB" b="1">
                <a:solidFill>
                  <a:srgbClr val="FF9E16"/>
                </a:solidFill>
                <a:latin typeface="Calibri"/>
              </a:rPr>
              <a:t>personalized, frictionless experiences </a:t>
            </a:r>
            <a:r>
              <a:rPr kumimoji="0" lang="en-GB" sz="1800" b="0" i="0" u="none" strike="noStrike" kern="1200" cap="none" spc="0" normalizeH="0" baseline="0" noProof="0">
                <a:ln>
                  <a:noFill/>
                </a:ln>
                <a:solidFill>
                  <a:srgbClr val="646569"/>
                </a:solidFill>
                <a:effectLst/>
                <a:uLnTx/>
                <a:uFillTx/>
                <a:latin typeface="Calibri"/>
                <a:ea typeface="+mn-ea"/>
                <a:cs typeface="+mn-cs"/>
              </a:rPr>
              <a:t>regardless of where they are or how they receive it</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646569"/>
                </a:solidFill>
                <a:effectLst/>
                <a:uLnTx/>
                <a:uFillTx/>
                <a:latin typeface="Calibri"/>
                <a:ea typeface="+mn-ea"/>
                <a:cs typeface="+mn-cs"/>
              </a:rPr>
              <a:t>They are in </a:t>
            </a:r>
            <a:r>
              <a:rPr kumimoji="0" lang="en-US" sz="1800" b="1" i="0" u="none" strike="noStrike" kern="1200" cap="none" spc="0" normalizeH="0" baseline="0" noProof="0">
                <a:ln>
                  <a:noFill/>
                </a:ln>
                <a:solidFill>
                  <a:srgbClr val="FF9E16"/>
                </a:solidFill>
                <a:effectLst/>
                <a:uLnTx/>
                <a:uFillTx/>
                <a:latin typeface="Calibri"/>
                <a:ea typeface="+mn-ea"/>
                <a:cs typeface="+mn-cs"/>
              </a:rPr>
              <a:t>control</a:t>
            </a:r>
            <a:r>
              <a:rPr kumimoji="0" lang="en-US" sz="1800" b="0" i="0" u="none" strike="noStrike" kern="1200" cap="none" spc="0" normalizeH="0" baseline="0" noProof="0">
                <a:ln>
                  <a:noFill/>
                </a:ln>
                <a:solidFill>
                  <a:srgbClr val="FF9E16"/>
                </a:solidFill>
                <a:effectLst/>
                <a:uLnTx/>
                <a:uFillTx/>
                <a:latin typeface="Calibri"/>
                <a:ea typeface="+mn-ea"/>
                <a:cs typeface="+mn-cs"/>
              </a:rPr>
              <a:t> </a:t>
            </a:r>
            <a:r>
              <a:rPr kumimoji="0" lang="en-US" sz="1800" b="0" i="0" u="none" strike="noStrike" kern="1200" cap="none" spc="0" normalizeH="0" baseline="0" noProof="0">
                <a:ln>
                  <a:noFill/>
                </a:ln>
                <a:solidFill>
                  <a:srgbClr val="646569"/>
                </a:solidFill>
                <a:effectLst/>
                <a:uLnTx/>
                <a:uFillTx/>
                <a:latin typeface="Calibri"/>
                <a:ea typeface="+mn-ea"/>
                <a:cs typeface="+mn-cs"/>
              </a:rPr>
              <a:t>of what information they do and don’t consume; they demand  a high level of </a:t>
            </a:r>
            <a:r>
              <a:rPr kumimoji="0" lang="en-US" sz="1800" b="1" i="0" u="none" strike="noStrike" kern="1200" cap="none" spc="0" normalizeH="0" baseline="0" noProof="0">
                <a:ln>
                  <a:noFill/>
                </a:ln>
                <a:solidFill>
                  <a:srgbClr val="FF9E16"/>
                </a:solidFill>
                <a:effectLst/>
                <a:uLnTx/>
                <a:uFillTx/>
                <a:latin typeface="Calibri"/>
                <a:ea typeface="+mn-ea"/>
                <a:cs typeface="+mn-cs"/>
              </a:rPr>
              <a:t>variety in their content, preferably visual </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646569"/>
                </a:solidFill>
                <a:effectLst/>
                <a:uLnTx/>
                <a:uFillTx/>
                <a:latin typeface="Calibri"/>
                <a:ea typeface="+mn-ea"/>
                <a:cs typeface="+mn-cs"/>
              </a:rPr>
              <a:t>They turn </a:t>
            </a:r>
            <a:r>
              <a:rPr kumimoji="0" lang="en-US" sz="1800" b="1" i="0" u="none" strike="noStrike" kern="1200" cap="none" spc="0" normalizeH="0" baseline="0" noProof="0">
                <a:ln>
                  <a:noFill/>
                </a:ln>
                <a:solidFill>
                  <a:srgbClr val="FF9E16"/>
                </a:solidFill>
                <a:effectLst/>
                <a:uLnTx/>
                <a:uFillTx/>
                <a:latin typeface="Calibri"/>
                <a:ea typeface="+mn-ea"/>
                <a:cs typeface="+mn-cs"/>
              </a:rPr>
              <a:t>first to digital </a:t>
            </a:r>
            <a:r>
              <a:rPr kumimoji="0" lang="en-US" sz="1800" b="0" i="0" u="none" strike="noStrike" kern="1200" cap="none" spc="0" normalizeH="0" baseline="0" noProof="0">
                <a:ln>
                  <a:noFill/>
                </a:ln>
                <a:solidFill>
                  <a:srgbClr val="646569"/>
                </a:solidFill>
                <a:effectLst/>
                <a:uLnTx/>
                <a:uFillTx/>
                <a:latin typeface="Calibri"/>
                <a:ea typeface="+mn-ea"/>
                <a:cs typeface="+mn-cs"/>
              </a:rPr>
              <a:t>sources for information and place huge trust in </a:t>
            </a:r>
            <a:r>
              <a:rPr kumimoji="0" lang="en-US" sz="1800" b="1" i="0" u="none" strike="noStrike" kern="1200" cap="none" spc="0" normalizeH="0" baseline="0" noProof="0">
                <a:ln>
                  <a:noFill/>
                </a:ln>
                <a:solidFill>
                  <a:srgbClr val="FF9E16"/>
                </a:solidFill>
                <a:effectLst/>
                <a:uLnTx/>
                <a:uFillTx/>
                <a:latin typeface="Calibri"/>
                <a:ea typeface="+mn-ea"/>
                <a:cs typeface="+mn-cs"/>
              </a:rPr>
              <a:t>what peers say </a:t>
            </a:r>
            <a:r>
              <a:rPr kumimoji="0" lang="en-US" sz="1800" b="0" i="0" u="none" strike="noStrike" kern="1200" cap="none" spc="0" normalizeH="0" baseline="0" noProof="0">
                <a:ln>
                  <a:noFill/>
                </a:ln>
                <a:solidFill>
                  <a:srgbClr val="646569"/>
                </a:solidFill>
                <a:effectLst/>
                <a:uLnTx/>
                <a:uFillTx/>
                <a:latin typeface="Calibri"/>
                <a:ea typeface="+mn-ea"/>
                <a:cs typeface="+mn-cs"/>
              </a:rPr>
              <a:t>to stay up-to-date in rapidly evolving fields of medicine</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646569"/>
                </a:solidFill>
                <a:effectLst/>
                <a:uLnTx/>
                <a:uFillTx/>
                <a:latin typeface="Calibri"/>
                <a:ea typeface="+mn-ea"/>
                <a:cs typeface="+mn-cs"/>
              </a:rPr>
              <a:t>They are </a:t>
            </a:r>
            <a:r>
              <a:rPr kumimoji="0" lang="en-US" sz="1800" b="1" i="0" u="none" strike="noStrike" kern="1200" cap="none" spc="0" normalizeH="0" baseline="0" noProof="0">
                <a:ln>
                  <a:noFill/>
                </a:ln>
                <a:solidFill>
                  <a:srgbClr val="FF9E16"/>
                </a:solidFill>
                <a:effectLst/>
                <a:uLnTx/>
                <a:uFillTx/>
                <a:latin typeface="Calibri"/>
                <a:ea typeface="+mn-ea"/>
                <a:cs typeface="+mn-cs"/>
              </a:rPr>
              <a:t>active, informed and peer-enabled</a:t>
            </a:r>
            <a:r>
              <a:rPr kumimoji="0" lang="en-US" sz="1800" b="0" i="0" u="none" strike="noStrike" kern="1200" cap="none" spc="0" normalizeH="0" baseline="0" noProof="0">
                <a:ln>
                  <a:noFill/>
                </a:ln>
                <a:solidFill>
                  <a:srgbClr val="646569"/>
                </a:solidFill>
                <a:effectLst/>
                <a:uLnTx/>
                <a:uFillTx/>
                <a:latin typeface="Calibri"/>
                <a:ea typeface="+mn-ea"/>
                <a:cs typeface="+mn-cs"/>
              </a:rPr>
              <a:t>, particularly as collaboration with other key specialty areas improves, due to the increasing awareness of comorbidities</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646569"/>
                </a:solidFill>
                <a:effectLst/>
                <a:uLnTx/>
                <a:uFillTx/>
                <a:latin typeface="Calibri"/>
                <a:ea typeface="+mn-ea"/>
                <a:cs typeface="+mn-cs"/>
              </a:rPr>
              <a:t>They value work-life balance, expecting </a:t>
            </a:r>
            <a:r>
              <a:rPr kumimoji="0" lang="en-US" sz="1800" b="1" i="0" u="none" strike="noStrike" kern="1200" cap="none" spc="0" normalizeH="0" baseline="0" noProof="0">
                <a:ln>
                  <a:noFill/>
                </a:ln>
                <a:solidFill>
                  <a:srgbClr val="FF9E16"/>
                </a:solidFill>
                <a:effectLst/>
                <a:uLnTx/>
                <a:uFillTx/>
                <a:latin typeface="Calibri"/>
                <a:ea typeface="+mn-ea"/>
                <a:cs typeface="+mn-cs"/>
              </a:rPr>
              <a:t>high quality, convenient </a:t>
            </a:r>
            <a:r>
              <a:rPr kumimoji="0" lang="en-US" sz="1800" b="0" i="0" u="none" strike="noStrike" kern="1200" cap="none" spc="0" normalizeH="0" baseline="0" noProof="0">
                <a:ln>
                  <a:noFill/>
                </a:ln>
                <a:solidFill>
                  <a:srgbClr val="646569"/>
                </a:solidFill>
                <a:effectLst/>
                <a:uLnTx/>
                <a:uFillTx/>
                <a:latin typeface="Calibri"/>
                <a:ea typeface="+mn-ea"/>
                <a:cs typeface="+mn-cs"/>
              </a:rPr>
              <a:t>digital interactions in their channel of choice</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646569"/>
              </a:solidFill>
              <a:effectLst/>
              <a:uLnTx/>
              <a:uFillTx/>
              <a:latin typeface="Calibri"/>
              <a:ea typeface="+mn-ea"/>
              <a:cs typeface="+mn-cs"/>
            </a:endParaRPr>
          </a:p>
        </p:txBody>
      </p:sp>
      <p:pic>
        <p:nvPicPr>
          <p:cNvPr id="12" name="Picture 11" descr="Person using iPad">
            <a:extLst>
              <a:ext uri="{FF2B5EF4-FFF2-40B4-BE49-F238E27FC236}">
                <a16:creationId xmlns:a16="http://schemas.microsoft.com/office/drawing/2014/main" id="{5AFE961D-4293-784F-AFC4-E7480FDC65A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 y="0"/>
            <a:ext cx="4212236" cy="6858000"/>
          </a:xfrm>
          <a:prstGeom prst="rect">
            <a:avLst/>
          </a:prstGeom>
        </p:spPr>
      </p:pic>
      <p:sp>
        <p:nvSpPr>
          <p:cNvPr id="9" name="Google Shape;7814;p149">
            <a:extLst>
              <a:ext uri="{FF2B5EF4-FFF2-40B4-BE49-F238E27FC236}">
                <a16:creationId xmlns:a16="http://schemas.microsoft.com/office/drawing/2014/main" id="{ADE89307-745E-764A-942A-F60BAE4CAB59}"/>
              </a:ext>
            </a:extLst>
          </p:cNvPr>
          <p:cNvSpPr txBox="1">
            <a:spLocks noChangeArrowheads="1"/>
          </p:cNvSpPr>
          <p:nvPr/>
        </p:nvSpPr>
        <p:spPr bwMode="auto">
          <a:xfrm>
            <a:off x="10120961" y="32007"/>
            <a:ext cx="2071038" cy="14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Clr>
                <a:srgbClr val="484848"/>
              </a:buClr>
              <a:buSzPts val="1600"/>
              <a:buFont typeface="Open Sans" panose="020B0606030504020204" pitchFamily="34" charset="0"/>
              <a:buNone/>
            </a:pPr>
            <a:r>
              <a:rPr lang="en-US" altLang="en-US" sz="1200">
                <a:cs typeface="Calibri" panose="020F0502020204030204" pitchFamily="34" charset="0"/>
                <a:sym typeface="Open Sans" panose="020B0606030504020204" pitchFamily="34" charset="0"/>
              </a:rPr>
              <a:t>How engagement is changing</a:t>
            </a:r>
            <a:endParaRPr lang="en-US" altLang="en-US" sz="1100">
              <a:cs typeface="Calibri" panose="020F0502020204030204" pitchFamily="34" charset="0"/>
              <a:sym typeface="Arial" panose="020B0604020202020204" pitchFamily="34" charset="0"/>
            </a:endParaRPr>
          </a:p>
        </p:txBody>
      </p:sp>
      <p:pic>
        <p:nvPicPr>
          <p:cNvPr id="10" name="Graphic 9" descr="Chat outline">
            <a:extLst>
              <a:ext uri="{FF2B5EF4-FFF2-40B4-BE49-F238E27FC236}">
                <a16:creationId xmlns:a16="http://schemas.microsoft.com/office/drawing/2014/main" id="{14ABD29E-43D4-1343-BC84-62DA0BFBA47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696624" y="-13370"/>
            <a:ext cx="424338" cy="424338"/>
          </a:xfrm>
          <a:prstGeom prst="rect">
            <a:avLst/>
          </a:prstGeom>
        </p:spPr>
      </p:pic>
    </p:spTree>
    <p:extLst>
      <p:ext uri="{BB962C8B-B14F-4D97-AF65-F5344CB8AC3E}">
        <p14:creationId xmlns:p14="http://schemas.microsoft.com/office/powerpoint/2010/main" val="19959930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FF2A88F-A1CB-0046-BAA7-4CC2C4441D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8747568" cy="6858000"/>
          </a:xfrm>
          <a:prstGeom prst="rect">
            <a:avLst/>
          </a:prstGeom>
        </p:spPr>
      </p:pic>
      <p:sp>
        <p:nvSpPr>
          <p:cNvPr id="12" name="Rectangle 11">
            <a:extLst>
              <a:ext uri="{FF2B5EF4-FFF2-40B4-BE49-F238E27FC236}">
                <a16:creationId xmlns:a16="http://schemas.microsoft.com/office/drawing/2014/main" id="{8090D255-4E6D-7E42-A3B3-D505AF7BD1C0}"/>
              </a:ext>
            </a:extLst>
          </p:cNvPr>
          <p:cNvSpPr/>
          <p:nvPr/>
        </p:nvSpPr>
        <p:spPr>
          <a:xfrm>
            <a:off x="972273" y="0"/>
            <a:ext cx="8304144" cy="6858000"/>
          </a:xfrm>
          <a:prstGeom prst="rect">
            <a:avLst/>
          </a:prstGeom>
          <a:gradFill flip="none" rotWithShape="1">
            <a:gsLst>
              <a:gs pos="0">
                <a:schemeClr val="accent1">
                  <a:lumMod val="5000"/>
                  <a:lumOff val="95000"/>
                  <a:alpha val="0"/>
                </a:schemeClr>
              </a:gs>
              <a:gs pos="32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AFE4EEB-7FE5-1F43-BB55-20B611AE6AAF}"/>
              </a:ext>
            </a:extLst>
          </p:cNvPr>
          <p:cNvSpPr/>
          <p:nvPr/>
        </p:nvSpPr>
        <p:spPr>
          <a:xfrm>
            <a:off x="3628069" y="1140209"/>
            <a:ext cx="8304144" cy="5324535"/>
          </a:xfrm>
          <a:prstGeom prst="rect">
            <a:avLst/>
          </a:prstGeom>
        </p:spPr>
        <p:txBody>
          <a:bodyPr wrap="square">
            <a:spAutoFit/>
          </a:bodyPr>
          <a:lstStyle/>
          <a:p>
            <a:pPr>
              <a:spcAft>
                <a:spcPts val="600"/>
              </a:spcAft>
            </a:pPr>
            <a:r>
              <a:rPr lang="en-GB">
                <a:solidFill>
                  <a:schemeClr val="accent1"/>
                </a:solidFill>
              </a:rPr>
              <a:t>400% </a:t>
            </a:r>
            <a:r>
              <a:rPr lang="en-GB">
                <a:solidFill>
                  <a:srgbClr val="666666"/>
                </a:solidFill>
                <a:latin typeface="Humanist 521"/>
              </a:rPr>
              <a:t>increase in length of a remote call vs face to face (20 mins vs 5 mins)</a:t>
            </a:r>
            <a:r>
              <a:rPr lang="en-US" baseline="30000"/>
              <a:t>3</a:t>
            </a:r>
            <a:endParaRPr lang="en-GB">
              <a:solidFill>
                <a:srgbClr val="666666"/>
              </a:solidFill>
              <a:latin typeface="Humanist 521"/>
            </a:endParaRPr>
          </a:p>
          <a:p>
            <a:pPr>
              <a:spcAft>
                <a:spcPts val="600"/>
              </a:spcAft>
            </a:pPr>
            <a:r>
              <a:rPr lang="en-GB">
                <a:solidFill>
                  <a:schemeClr val="accent1"/>
                </a:solidFill>
                <a:latin typeface="Humanist 521"/>
              </a:rPr>
              <a:t>89% </a:t>
            </a:r>
            <a:r>
              <a:rPr lang="en-GB"/>
              <a:t>of HCPs want to access meetings online</a:t>
            </a:r>
            <a:r>
              <a:rPr lang="en-US" baseline="30000"/>
              <a:t>1</a:t>
            </a:r>
            <a:endParaRPr lang="en-GB"/>
          </a:p>
          <a:p>
            <a:pPr>
              <a:spcAft>
                <a:spcPts val="600"/>
              </a:spcAft>
            </a:pPr>
            <a:r>
              <a:rPr lang="en-US">
                <a:solidFill>
                  <a:schemeClr val="accent1"/>
                </a:solidFill>
              </a:rPr>
              <a:t>88% </a:t>
            </a:r>
            <a:r>
              <a:rPr lang="en-US"/>
              <a:t>physicians use the internet and social media to research</a:t>
            </a:r>
            <a:r>
              <a:rPr lang="en-US" baseline="30000"/>
              <a:t>1</a:t>
            </a:r>
            <a:endParaRPr lang="en-GB" baseline="30000">
              <a:solidFill>
                <a:srgbClr val="666666"/>
              </a:solidFill>
              <a:latin typeface="Humanist 521"/>
            </a:endParaRPr>
          </a:p>
          <a:p>
            <a:pPr>
              <a:spcAft>
                <a:spcPts val="600"/>
              </a:spcAft>
            </a:pPr>
            <a:r>
              <a:rPr lang="en-GB">
                <a:solidFill>
                  <a:schemeClr val="accent1"/>
                </a:solidFill>
              </a:rPr>
              <a:t>75% </a:t>
            </a:r>
            <a:r>
              <a:rPr lang="en-GB"/>
              <a:t>of social media users are using physician only networks (i.e. </a:t>
            </a:r>
            <a:r>
              <a:rPr lang="en-GB" err="1"/>
              <a:t>Doximity</a:t>
            </a:r>
            <a:r>
              <a:rPr lang="en-GB"/>
              <a:t>, </a:t>
            </a:r>
            <a:r>
              <a:rPr lang="en-GB" err="1"/>
              <a:t>Sermo</a:t>
            </a:r>
            <a:r>
              <a:rPr lang="en-GB"/>
              <a:t>)</a:t>
            </a:r>
            <a:r>
              <a:rPr lang="en-US" baseline="30000"/>
              <a:t>4</a:t>
            </a:r>
            <a:endParaRPr lang="en-GB"/>
          </a:p>
          <a:p>
            <a:pPr>
              <a:spcAft>
                <a:spcPts val="600"/>
              </a:spcAft>
            </a:pPr>
            <a:r>
              <a:rPr lang="en-GB">
                <a:solidFill>
                  <a:schemeClr val="accent1"/>
                </a:solidFill>
              </a:rPr>
              <a:t>73% </a:t>
            </a:r>
            <a:r>
              <a:rPr lang="en-GB"/>
              <a:t>say they will follow a diagnostic recommendation from an AI tool</a:t>
            </a:r>
            <a:r>
              <a:rPr lang="en-US" baseline="30000"/>
              <a:t>4</a:t>
            </a:r>
            <a:endParaRPr lang="en-GB"/>
          </a:p>
          <a:p>
            <a:pPr>
              <a:spcAft>
                <a:spcPts val="600"/>
              </a:spcAft>
            </a:pPr>
            <a:r>
              <a:rPr lang="en-GB">
                <a:solidFill>
                  <a:schemeClr val="accent1"/>
                </a:solidFill>
                <a:latin typeface="Humanist 521"/>
              </a:rPr>
              <a:t>72% </a:t>
            </a:r>
            <a:r>
              <a:rPr lang="en-GB">
                <a:solidFill>
                  <a:srgbClr val="666666"/>
                </a:solidFill>
                <a:latin typeface="Humanist 521"/>
              </a:rPr>
              <a:t>of HCPs visit independent websites weekly</a:t>
            </a:r>
            <a:r>
              <a:rPr lang="en-US" baseline="30000"/>
              <a:t>1</a:t>
            </a:r>
            <a:endParaRPr lang="en-GB">
              <a:solidFill>
                <a:srgbClr val="666666"/>
              </a:solidFill>
              <a:latin typeface="Humanist 521"/>
            </a:endParaRPr>
          </a:p>
          <a:p>
            <a:pPr>
              <a:spcAft>
                <a:spcPts val="600"/>
              </a:spcAft>
            </a:pPr>
            <a:r>
              <a:rPr lang="en-GB">
                <a:solidFill>
                  <a:schemeClr val="accent1"/>
                </a:solidFill>
              </a:rPr>
              <a:t>70% </a:t>
            </a:r>
            <a:r>
              <a:rPr lang="en-GB">
                <a:solidFill>
                  <a:srgbClr val="666666"/>
                </a:solidFill>
                <a:latin typeface="Humanist 521"/>
              </a:rPr>
              <a:t>of HCPs will be digital natives by the end of 2020</a:t>
            </a:r>
            <a:r>
              <a:rPr lang="en-US" baseline="30000"/>
              <a:t>3</a:t>
            </a:r>
            <a:endParaRPr lang="en-GB">
              <a:solidFill>
                <a:srgbClr val="666666"/>
              </a:solidFill>
              <a:latin typeface="Humanist 521"/>
            </a:endParaRPr>
          </a:p>
          <a:p>
            <a:pPr>
              <a:spcAft>
                <a:spcPts val="600"/>
              </a:spcAft>
            </a:pPr>
            <a:r>
              <a:rPr lang="en-GB">
                <a:solidFill>
                  <a:schemeClr val="accent1"/>
                </a:solidFill>
              </a:rPr>
              <a:t>67% </a:t>
            </a:r>
            <a:r>
              <a:rPr lang="en-GB"/>
              <a:t>HCPs value professional social networks</a:t>
            </a:r>
            <a:r>
              <a:rPr lang="en-US" baseline="30000"/>
              <a:t>1</a:t>
            </a:r>
            <a:endParaRPr lang="en-GB"/>
          </a:p>
          <a:p>
            <a:pPr>
              <a:spcAft>
                <a:spcPts val="600"/>
              </a:spcAft>
            </a:pPr>
            <a:r>
              <a:rPr lang="en-GB">
                <a:solidFill>
                  <a:schemeClr val="accent1"/>
                </a:solidFill>
              </a:rPr>
              <a:t>66% </a:t>
            </a:r>
            <a:r>
              <a:rPr lang="en-GB"/>
              <a:t>rate scientific meetings as the most important way to receive new information</a:t>
            </a:r>
            <a:r>
              <a:rPr lang="en-US" baseline="30000"/>
              <a:t>1</a:t>
            </a:r>
            <a:endParaRPr lang="en-GB"/>
          </a:p>
          <a:p>
            <a:pPr>
              <a:spcAft>
                <a:spcPts val="600"/>
              </a:spcAft>
            </a:pPr>
            <a:r>
              <a:rPr lang="en-GB">
                <a:solidFill>
                  <a:schemeClr val="accent1"/>
                </a:solidFill>
              </a:rPr>
              <a:t>47% </a:t>
            </a:r>
            <a:r>
              <a:rPr lang="en-GB"/>
              <a:t>HCPs value pharma reps</a:t>
            </a:r>
            <a:r>
              <a:rPr lang="en-US" baseline="30000"/>
              <a:t>1</a:t>
            </a:r>
            <a:endParaRPr lang="en-GB"/>
          </a:p>
          <a:p>
            <a:pPr>
              <a:spcAft>
                <a:spcPts val="600"/>
              </a:spcAft>
            </a:pPr>
            <a:r>
              <a:rPr lang="en-GB">
                <a:solidFill>
                  <a:schemeClr val="accent1"/>
                </a:solidFill>
              </a:rPr>
              <a:t>40% </a:t>
            </a:r>
            <a:r>
              <a:rPr lang="en-GB"/>
              <a:t>more time spent online for professional purposes by HCPs under 30 vs 60+</a:t>
            </a:r>
          </a:p>
          <a:p>
            <a:pPr>
              <a:spcAft>
                <a:spcPts val="600"/>
              </a:spcAft>
            </a:pPr>
            <a:r>
              <a:rPr lang="en-GB">
                <a:solidFill>
                  <a:schemeClr val="accent1"/>
                </a:solidFill>
              </a:rPr>
              <a:t>33% </a:t>
            </a:r>
            <a:r>
              <a:rPr lang="en-GB"/>
              <a:t>physicians listen to podcasts monthly or more often</a:t>
            </a:r>
            <a:r>
              <a:rPr lang="en-US" baseline="30000"/>
              <a:t>4</a:t>
            </a:r>
            <a:endParaRPr lang="en-GB"/>
          </a:p>
          <a:p>
            <a:pPr>
              <a:spcAft>
                <a:spcPts val="600"/>
              </a:spcAft>
            </a:pPr>
            <a:r>
              <a:rPr lang="en-GB">
                <a:solidFill>
                  <a:schemeClr val="accent1"/>
                </a:solidFill>
              </a:rPr>
              <a:t>22% </a:t>
            </a:r>
            <a:r>
              <a:rPr lang="en-GB">
                <a:solidFill>
                  <a:srgbClr val="666666"/>
                </a:solidFill>
                <a:latin typeface="Humanist 521"/>
              </a:rPr>
              <a:t>of marketing budget allocated to digital initiatives in 2019</a:t>
            </a:r>
            <a:r>
              <a:rPr lang="en-US" baseline="30000"/>
              <a:t>3</a:t>
            </a:r>
          </a:p>
          <a:p>
            <a:pPr>
              <a:spcAft>
                <a:spcPts val="600"/>
              </a:spcAft>
            </a:pPr>
            <a:r>
              <a:rPr lang="en-GB">
                <a:solidFill>
                  <a:schemeClr val="accent1"/>
                </a:solidFill>
              </a:rPr>
              <a:t>16% </a:t>
            </a:r>
            <a:r>
              <a:rPr lang="en-GB"/>
              <a:t>prefer medical education but only 9% receive this content</a:t>
            </a:r>
            <a:r>
              <a:rPr lang="en-US" baseline="30000"/>
              <a:t> 2</a:t>
            </a:r>
            <a:endParaRPr lang="en-GB"/>
          </a:p>
          <a:p>
            <a:pPr>
              <a:spcAft>
                <a:spcPts val="600"/>
              </a:spcAft>
            </a:pPr>
            <a:r>
              <a:rPr lang="en-GB">
                <a:solidFill>
                  <a:schemeClr val="accent1"/>
                </a:solidFill>
              </a:rPr>
              <a:t>10% </a:t>
            </a:r>
            <a:r>
              <a:rPr lang="en-GB"/>
              <a:t>of HCPs prefer face to face meeting with sales rep</a:t>
            </a:r>
            <a:r>
              <a:rPr lang="en-US" baseline="30000"/>
              <a:t>2</a:t>
            </a:r>
            <a:endParaRPr lang="en-GB"/>
          </a:p>
        </p:txBody>
      </p:sp>
      <p:sp>
        <p:nvSpPr>
          <p:cNvPr id="14" name="Rectangle 13">
            <a:extLst>
              <a:ext uri="{FF2B5EF4-FFF2-40B4-BE49-F238E27FC236}">
                <a16:creationId xmlns:a16="http://schemas.microsoft.com/office/drawing/2014/main" id="{2592E1E0-8C9B-5746-ADE7-BDAB270F7A18}"/>
              </a:ext>
            </a:extLst>
          </p:cNvPr>
          <p:cNvSpPr/>
          <p:nvPr/>
        </p:nvSpPr>
        <p:spPr>
          <a:xfrm>
            <a:off x="8313852" y="6273225"/>
            <a:ext cx="3869675" cy="584775"/>
          </a:xfrm>
          <a:prstGeom prst="rect">
            <a:avLst/>
          </a:prstGeom>
        </p:spPr>
        <p:txBody>
          <a:bodyPr wrap="square">
            <a:spAutoFit/>
          </a:bodyPr>
          <a:lstStyle/>
          <a:p>
            <a:pPr algn="r"/>
            <a:r>
              <a:rPr lang="en-GB" sz="800"/>
              <a:t>1. EPG Health – pharmaceutical industry report 2020</a:t>
            </a:r>
          </a:p>
          <a:p>
            <a:pPr algn="r"/>
            <a:r>
              <a:rPr lang="en-GB" sz="800"/>
              <a:t>2. DT-consulting - the-state-of-customer-experience-in-the-pharmaceutical-industry</a:t>
            </a:r>
          </a:p>
          <a:p>
            <a:pPr algn="r"/>
            <a:r>
              <a:rPr lang="en-GB" sz="800"/>
              <a:t>3. Veeva – Pulse data and HCP insight report with Across Health</a:t>
            </a:r>
          </a:p>
          <a:p>
            <a:pPr algn="r"/>
            <a:r>
              <a:rPr lang="en-GB" sz="800"/>
              <a:t>4. DRG - top-multi-channel-trends-of-2019</a:t>
            </a:r>
            <a:endParaRPr lang="en-US" sz="800"/>
          </a:p>
        </p:txBody>
      </p:sp>
      <p:sp>
        <p:nvSpPr>
          <p:cNvPr id="15" name="Title 1">
            <a:extLst>
              <a:ext uri="{FF2B5EF4-FFF2-40B4-BE49-F238E27FC236}">
                <a16:creationId xmlns:a16="http://schemas.microsoft.com/office/drawing/2014/main" id="{6EB6163B-6726-8547-BAD9-25E29666C340}"/>
              </a:ext>
            </a:extLst>
          </p:cNvPr>
          <p:cNvSpPr txBox="1">
            <a:spLocks/>
          </p:cNvSpPr>
          <p:nvPr/>
        </p:nvSpPr>
        <p:spPr>
          <a:xfrm>
            <a:off x="3628069" y="173736"/>
            <a:ext cx="7807720" cy="1101213"/>
          </a:xfrm>
          <a:prstGeom prst="rect">
            <a:avLst/>
          </a:prstGeom>
        </p:spPr>
        <p:txBody>
          <a:bodyPr vert="horz" lIns="91440" tIns="45720" rIns="91440" bIns="45720" rtlCol="0" anchor="ctr" anchorCtr="0">
            <a:noAutofit/>
          </a:bodyPr>
          <a:lstStyle>
            <a:lvl1pPr algn="ctr" defTabSz="914400" rtl="0" eaLnBrk="1" latinLnBrk="0" hangingPunct="1">
              <a:lnSpc>
                <a:spcPct val="70000"/>
              </a:lnSpc>
              <a:spcBef>
                <a:spcPct val="0"/>
              </a:spcBef>
              <a:buNone/>
              <a:defRPr sz="4000" kern="1200">
                <a:solidFill>
                  <a:schemeClr val="tx2"/>
                </a:solidFill>
                <a:latin typeface="+mj-lt"/>
                <a:ea typeface="+mj-ea"/>
                <a:cs typeface="+mj-cs"/>
              </a:defRPr>
            </a:lvl1pPr>
          </a:lstStyle>
          <a:p>
            <a:pPr algn="l"/>
            <a:r>
              <a:rPr lang="en-US" sz="3200"/>
              <a:t>As HCP needs and behaviours are changing, they aren’t always being satisfied by Pharma</a:t>
            </a:r>
          </a:p>
        </p:txBody>
      </p:sp>
      <p:sp>
        <p:nvSpPr>
          <p:cNvPr id="7" name="Google Shape;7814;p149">
            <a:extLst>
              <a:ext uri="{FF2B5EF4-FFF2-40B4-BE49-F238E27FC236}">
                <a16:creationId xmlns:a16="http://schemas.microsoft.com/office/drawing/2014/main" id="{938F0662-D153-2345-B908-6C47B9A98EEF}"/>
              </a:ext>
            </a:extLst>
          </p:cNvPr>
          <p:cNvSpPr txBox="1">
            <a:spLocks noChangeArrowheads="1"/>
          </p:cNvSpPr>
          <p:nvPr/>
        </p:nvSpPr>
        <p:spPr bwMode="auto">
          <a:xfrm>
            <a:off x="10120962" y="41822"/>
            <a:ext cx="2071038" cy="14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Clr>
                <a:srgbClr val="484848"/>
              </a:buClr>
              <a:buSzPts val="1600"/>
              <a:buFont typeface="Open Sans" panose="020B0606030504020204" pitchFamily="34" charset="0"/>
              <a:buNone/>
            </a:pPr>
            <a:r>
              <a:rPr lang="en-US" altLang="en-US" sz="1200">
                <a:cs typeface="Calibri" panose="020F0502020204030204" pitchFamily="34" charset="0"/>
                <a:sym typeface="Open Sans" panose="020B0606030504020204" pitchFamily="34" charset="0"/>
              </a:rPr>
              <a:t>How engagement is changing</a:t>
            </a:r>
            <a:endParaRPr lang="en-US" altLang="en-US" sz="1100">
              <a:cs typeface="Calibri" panose="020F0502020204030204" pitchFamily="34" charset="0"/>
              <a:sym typeface="Arial" panose="020B0604020202020204" pitchFamily="34" charset="0"/>
            </a:endParaRPr>
          </a:p>
        </p:txBody>
      </p:sp>
      <p:pic>
        <p:nvPicPr>
          <p:cNvPr id="8" name="Graphic 7" descr="Chat outline">
            <a:extLst>
              <a:ext uri="{FF2B5EF4-FFF2-40B4-BE49-F238E27FC236}">
                <a16:creationId xmlns:a16="http://schemas.microsoft.com/office/drawing/2014/main" id="{AAA5CECF-A3D2-164B-B37B-08D370847D8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96624" y="-13370"/>
            <a:ext cx="424338" cy="424338"/>
          </a:xfrm>
          <a:prstGeom prst="rect">
            <a:avLst/>
          </a:prstGeom>
        </p:spPr>
      </p:pic>
    </p:spTree>
    <p:extLst>
      <p:ext uri="{BB962C8B-B14F-4D97-AF65-F5344CB8AC3E}">
        <p14:creationId xmlns:p14="http://schemas.microsoft.com/office/powerpoint/2010/main" val="3012286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FB93D5-B215-BF40-8450-B10BE47AC72B}"/>
              </a:ext>
            </a:extLst>
          </p:cNvPr>
          <p:cNvSpPr>
            <a:spLocks noGrp="1"/>
          </p:cNvSpPr>
          <p:nvPr>
            <p:ph type="title"/>
          </p:nvPr>
        </p:nvSpPr>
        <p:spPr>
          <a:xfrm>
            <a:off x="276302" y="233709"/>
            <a:ext cx="11584003" cy="1101213"/>
          </a:xfrm>
        </p:spPr>
        <p:txBody>
          <a:bodyPr vert="horz" lIns="91440" tIns="45720" rIns="91440" bIns="45720" rtlCol="0" anchor="ctr" anchorCtr="0">
            <a:noAutofit/>
          </a:bodyPr>
          <a:lstStyle/>
          <a:p>
            <a:r>
              <a:rPr lang="en-GB"/>
              <a:t>Over the past year we have seen a shift towards digital – a trend that looks like it is here to stay</a:t>
            </a:r>
            <a:endParaRPr lang="en-US"/>
          </a:p>
        </p:txBody>
      </p:sp>
      <p:grpSp>
        <p:nvGrpSpPr>
          <p:cNvPr id="6" name="Group 5">
            <a:extLst>
              <a:ext uri="{FF2B5EF4-FFF2-40B4-BE49-F238E27FC236}">
                <a16:creationId xmlns:a16="http://schemas.microsoft.com/office/drawing/2014/main" id="{7FE2C141-B7BD-7949-96F5-3126476196CE}"/>
              </a:ext>
            </a:extLst>
          </p:cNvPr>
          <p:cNvGrpSpPr/>
          <p:nvPr/>
        </p:nvGrpSpPr>
        <p:grpSpPr>
          <a:xfrm>
            <a:off x="7697799" y="3503221"/>
            <a:ext cx="3997650" cy="883500"/>
            <a:chOff x="7699835" y="2595992"/>
            <a:chExt cx="3997650" cy="883500"/>
          </a:xfrm>
        </p:grpSpPr>
        <p:grpSp>
          <p:nvGrpSpPr>
            <p:cNvPr id="62" name="Group 61">
              <a:extLst>
                <a:ext uri="{FF2B5EF4-FFF2-40B4-BE49-F238E27FC236}">
                  <a16:creationId xmlns:a16="http://schemas.microsoft.com/office/drawing/2014/main" id="{4AB7EADC-E2D5-0441-9D3C-C6C45D841B1C}"/>
                </a:ext>
              </a:extLst>
            </p:cNvPr>
            <p:cNvGrpSpPr/>
            <p:nvPr/>
          </p:nvGrpSpPr>
          <p:grpSpPr>
            <a:xfrm>
              <a:off x="8275620" y="2615656"/>
              <a:ext cx="3421865" cy="863836"/>
              <a:chOff x="8275620" y="1191427"/>
              <a:chExt cx="3421865" cy="1045242"/>
            </a:xfrm>
          </p:grpSpPr>
          <p:sp>
            <p:nvSpPr>
              <p:cNvPr id="63" name="TextBox 62">
                <a:extLst>
                  <a:ext uri="{FF2B5EF4-FFF2-40B4-BE49-F238E27FC236}">
                    <a16:creationId xmlns:a16="http://schemas.microsoft.com/office/drawing/2014/main" id="{45433E83-8B1A-2A4E-A2E2-185DE5F28ABE}"/>
                  </a:ext>
                </a:extLst>
              </p:cNvPr>
              <p:cNvSpPr txBox="1"/>
              <p:nvPr/>
            </p:nvSpPr>
            <p:spPr>
              <a:xfrm>
                <a:off x="8766027" y="1216625"/>
                <a:ext cx="775895"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sz="1200" b="1" i="0" u="none" strike="noStrike" kern="1200" cap="none" spc="0" normalizeH="0" baseline="0" noProof="0">
                    <a:ln>
                      <a:noFill/>
                    </a:ln>
                    <a:solidFill>
                      <a:srgbClr val="646569"/>
                    </a:solidFill>
                    <a:effectLst/>
                    <a:uLnTx/>
                    <a:uFillTx/>
                    <a:latin typeface="Calibri"/>
                    <a:ea typeface="+mn-ea"/>
                    <a:cs typeface="+mn-cs"/>
                  </a:rPr>
                  <a:t>+</a:t>
                </a:r>
                <a:r>
                  <a:rPr kumimoji="0" lang="en-GB" sz="1200" b="1" i="0" u="none" strike="noStrike" kern="1200" cap="none" spc="0" normalizeH="0" baseline="0" noProof="0">
                    <a:ln>
                      <a:noFill/>
                    </a:ln>
                    <a:solidFill>
                      <a:srgbClr val="646569"/>
                    </a:solidFill>
                    <a:effectLst/>
                    <a:uLnTx/>
                    <a:uFillTx/>
                    <a:latin typeface="Calibri"/>
                    <a:ea typeface="+mn-ea"/>
                    <a:cs typeface="+mn-cs"/>
                  </a:rPr>
                  <a:t>405</a:t>
                </a:r>
                <a:r>
                  <a:rPr kumimoji="0" sz="1200" b="1" i="0" u="none" strike="noStrike" kern="1200" cap="none" spc="0" normalizeH="0" baseline="0" noProof="0">
                    <a:ln>
                      <a:noFill/>
                    </a:ln>
                    <a:solidFill>
                      <a:srgbClr val="646569"/>
                    </a:solidFill>
                    <a:effectLst/>
                    <a:uLnTx/>
                    <a:uFillTx/>
                    <a:latin typeface="Calibri"/>
                    <a:ea typeface="+mn-ea"/>
                    <a:cs typeface="+mn-cs"/>
                  </a:rPr>
                  <a:t>%</a:t>
                </a:r>
              </a:p>
            </p:txBody>
          </p:sp>
          <p:sp>
            <p:nvSpPr>
              <p:cNvPr id="64" name="TextBox 63">
                <a:extLst>
                  <a:ext uri="{FF2B5EF4-FFF2-40B4-BE49-F238E27FC236}">
                    <a16:creationId xmlns:a16="http://schemas.microsoft.com/office/drawing/2014/main" id="{3E39D443-6F24-2147-A48C-C606552D409E}"/>
                  </a:ext>
                </a:extLst>
              </p:cNvPr>
              <p:cNvSpPr txBox="1"/>
              <p:nvPr/>
            </p:nvSpPr>
            <p:spPr>
              <a:xfrm>
                <a:off x="8906883" y="1426063"/>
                <a:ext cx="638182"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46569"/>
                    </a:solidFill>
                    <a:effectLst/>
                    <a:uLnTx/>
                    <a:uFillTx/>
                    <a:latin typeface="Calibri"/>
                    <a:ea typeface="+mn-ea"/>
                    <a:cs typeface="+mn-cs"/>
                  </a:rPr>
                  <a:t>54</a:t>
                </a:r>
                <a:r>
                  <a:rPr kumimoji="0" sz="1200" b="1" i="0" u="none" strike="noStrike" kern="1200" cap="none" spc="0" normalizeH="0" baseline="0" noProof="0">
                    <a:ln>
                      <a:noFill/>
                    </a:ln>
                    <a:solidFill>
                      <a:srgbClr val="646569"/>
                    </a:solidFill>
                    <a:effectLst/>
                    <a:uLnTx/>
                    <a:uFillTx/>
                    <a:latin typeface="Calibri"/>
                    <a:ea typeface="+mn-ea"/>
                    <a:cs typeface="+mn-cs"/>
                  </a:rPr>
                  <a:t>%</a:t>
                </a:r>
              </a:p>
            </p:txBody>
          </p:sp>
          <p:sp>
            <p:nvSpPr>
              <p:cNvPr id="65" name="TextBox 64">
                <a:extLst>
                  <a:ext uri="{FF2B5EF4-FFF2-40B4-BE49-F238E27FC236}">
                    <a16:creationId xmlns:a16="http://schemas.microsoft.com/office/drawing/2014/main" id="{CC2B5E63-0078-E345-AEB9-3BA3E1B8E1BB}"/>
                  </a:ext>
                </a:extLst>
              </p:cNvPr>
              <p:cNvSpPr txBox="1"/>
              <p:nvPr/>
            </p:nvSpPr>
            <p:spPr>
              <a:xfrm>
                <a:off x="9446695" y="1191427"/>
                <a:ext cx="2024547"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sz="1200" b="0" i="0" u="none" strike="noStrike" kern="1200" cap="none" spc="0" normalizeH="0" baseline="0" noProof="0">
                    <a:ln>
                      <a:noFill/>
                    </a:ln>
                    <a:solidFill>
                      <a:srgbClr val="646569"/>
                    </a:solidFill>
                    <a:effectLst/>
                    <a:uLnTx/>
                    <a:uFillTx/>
                    <a:latin typeface="Calibri"/>
                    <a:ea typeface="+mn-ea"/>
                    <a:cs typeface="+mn-cs"/>
                  </a:rPr>
                  <a:t>Approved Emails Sent</a:t>
                </a:r>
              </a:p>
            </p:txBody>
          </p:sp>
          <p:sp>
            <p:nvSpPr>
              <p:cNvPr id="66" name="TextBox 65">
                <a:extLst>
                  <a:ext uri="{FF2B5EF4-FFF2-40B4-BE49-F238E27FC236}">
                    <a16:creationId xmlns:a16="http://schemas.microsoft.com/office/drawing/2014/main" id="{43049C18-1043-FD43-899A-1746E83B04D2}"/>
                  </a:ext>
                </a:extLst>
              </p:cNvPr>
              <p:cNvSpPr txBox="1"/>
              <p:nvPr/>
            </p:nvSpPr>
            <p:spPr>
              <a:xfrm>
                <a:off x="9446695" y="1400865"/>
                <a:ext cx="2152800"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sz="1200" b="0" i="0" u="none" strike="noStrike" kern="1200" cap="none" spc="0" normalizeH="0" baseline="0" noProof="0">
                    <a:ln>
                      <a:noFill/>
                    </a:ln>
                    <a:solidFill>
                      <a:srgbClr val="646569"/>
                    </a:solidFill>
                    <a:effectLst/>
                    <a:uLnTx/>
                    <a:uFillTx/>
                    <a:latin typeface="Calibri"/>
                    <a:ea typeface="+mn-ea"/>
                    <a:cs typeface="+mn-cs"/>
                  </a:rPr>
                  <a:t>Avg. Open Rate</a:t>
                </a:r>
              </a:p>
            </p:txBody>
          </p:sp>
          <p:sp>
            <p:nvSpPr>
              <p:cNvPr id="67" name="TextBox 66">
                <a:extLst>
                  <a:ext uri="{FF2B5EF4-FFF2-40B4-BE49-F238E27FC236}">
                    <a16:creationId xmlns:a16="http://schemas.microsoft.com/office/drawing/2014/main" id="{A180D667-6B64-7544-AAD3-28CD06CB7ED2}"/>
                  </a:ext>
                </a:extLst>
              </p:cNvPr>
              <p:cNvSpPr txBox="1"/>
              <p:nvPr/>
            </p:nvSpPr>
            <p:spPr>
              <a:xfrm>
                <a:off x="8766027" y="1729270"/>
                <a:ext cx="775895"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8719D"/>
                    </a:solidFill>
                    <a:effectLst/>
                    <a:uLnTx/>
                    <a:uFillTx/>
                    <a:latin typeface="Calibri"/>
                    <a:ea typeface="+mn-ea"/>
                    <a:cs typeface="+mn-cs"/>
                  </a:rPr>
                  <a:t>+3821%</a:t>
                </a:r>
                <a:endParaRPr kumimoji="0" sz="1200" b="1" i="0" u="none" strike="noStrike" kern="1200" cap="none" spc="0" normalizeH="0" baseline="0" noProof="0">
                  <a:ln>
                    <a:noFill/>
                  </a:ln>
                  <a:solidFill>
                    <a:srgbClr val="18719D"/>
                  </a:solidFill>
                  <a:effectLst/>
                  <a:uLnTx/>
                  <a:uFillTx/>
                  <a:latin typeface="Calibri"/>
                  <a:ea typeface="+mn-ea"/>
                  <a:cs typeface="+mn-cs"/>
                </a:endParaRPr>
              </a:p>
            </p:txBody>
          </p:sp>
          <p:sp>
            <p:nvSpPr>
              <p:cNvPr id="68" name="TextBox 67">
                <a:extLst>
                  <a:ext uri="{FF2B5EF4-FFF2-40B4-BE49-F238E27FC236}">
                    <a16:creationId xmlns:a16="http://schemas.microsoft.com/office/drawing/2014/main" id="{4ACD94FE-C736-8243-A3F9-A86682371EDC}"/>
                  </a:ext>
                </a:extLst>
              </p:cNvPr>
              <p:cNvSpPr txBox="1"/>
              <p:nvPr/>
            </p:nvSpPr>
            <p:spPr>
              <a:xfrm>
                <a:off x="8906883" y="1947325"/>
                <a:ext cx="638182"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8719D"/>
                    </a:solidFill>
                    <a:effectLst/>
                    <a:uLnTx/>
                    <a:uFillTx/>
                    <a:latin typeface="Calibri"/>
                    <a:ea typeface="+mn-ea"/>
                    <a:cs typeface="+mn-cs"/>
                  </a:rPr>
                  <a:t>17 min</a:t>
                </a:r>
                <a:endParaRPr kumimoji="0" sz="1200" b="1" i="0" u="none" strike="noStrike" kern="1200" cap="none" spc="0" normalizeH="0" baseline="0" noProof="0">
                  <a:ln>
                    <a:noFill/>
                  </a:ln>
                  <a:solidFill>
                    <a:srgbClr val="18719D"/>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2C06C51A-49D3-D940-92A8-580CC1304446}"/>
                  </a:ext>
                </a:extLst>
              </p:cNvPr>
              <p:cNvSpPr txBox="1"/>
              <p:nvPr/>
            </p:nvSpPr>
            <p:spPr>
              <a:xfrm>
                <a:off x="9446695" y="1704072"/>
                <a:ext cx="2250790"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noProof="0">
                    <a:ln>
                      <a:noFill/>
                    </a:ln>
                    <a:solidFill>
                      <a:srgbClr val="646569"/>
                    </a:solidFill>
                    <a:effectLst/>
                    <a:uLnTx/>
                    <a:uFillTx/>
                    <a:latin typeface="Calibri"/>
                    <a:ea typeface="+mn-ea"/>
                    <a:cs typeface="+mn-cs"/>
                  </a:rPr>
                  <a:t>Engage Meetings started</a:t>
                </a:r>
                <a:endParaRPr kumimoji="0" sz="1200" b="0" i="0" u="none" strike="noStrike" kern="1200" cap="none" spc="0" normalizeH="0" baseline="0" noProof="0">
                  <a:ln>
                    <a:noFill/>
                  </a:ln>
                  <a:solidFill>
                    <a:srgbClr val="646569"/>
                  </a:solidFill>
                  <a:effectLst/>
                  <a:uLnTx/>
                  <a:uFillTx/>
                  <a:latin typeface="Calibri"/>
                  <a:ea typeface="+mn-ea"/>
                  <a:cs typeface="+mn-cs"/>
                </a:endParaRPr>
              </a:p>
            </p:txBody>
          </p:sp>
          <p:sp>
            <p:nvSpPr>
              <p:cNvPr id="70" name="TextBox 69">
                <a:extLst>
                  <a:ext uri="{FF2B5EF4-FFF2-40B4-BE49-F238E27FC236}">
                    <a16:creationId xmlns:a16="http://schemas.microsoft.com/office/drawing/2014/main" id="{F1AD594D-3423-E745-8BA7-C97246596485}"/>
                  </a:ext>
                </a:extLst>
              </p:cNvPr>
              <p:cNvSpPr txBox="1"/>
              <p:nvPr/>
            </p:nvSpPr>
            <p:spPr>
              <a:xfrm>
                <a:off x="9446694" y="1922127"/>
                <a:ext cx="2024547"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noProof="0">
                    <a:ln>
                      <a:noFill/>
                    </a:ln>
                    <a:solidFill>
                      <a:srgbClr val="646569"/>
                    </a:solidFill>
                    <a:effectLst/>
                    <a:uLnTx/>
                    <a:uFillTx/>
                    <a:latin typeface="Calibri"/>
                    <a:ea typeface="+mn-ea"/>
                    <a:cs typeface="+mn-cs"/>
                  </a:rPr>
                  <a:t>Average Meeting Duration </a:t>
                </a:r>
                <a:endParaRPr kumimoji="0" sz="1200" b="0" i="0" u="none" strike="noStrike" kern="1200" cap="none" spc="0" normalizeH="0" baseline="0" noProof="0">
                  <a:ln>
                    <a:noFill/>
                  </a:ln>
                  <a:solidFill>
                    <a:srgbClr val="646569"/>
                  </a:solidFill>
                  <a:effectLst/>
                  <a:uLnTx/>
                  <a:uFillTx/>
                  <a:latin typeface="Calibri"/>
                  <a:ea typeface="+mn-ea"/>
                  <a:cs typeface="+mn-cs"/>
                </a:endParaRPr>
              </a:p>
            </p:txBody>
          </p:sp>
          <p:pic>
            <p:nvPicPr>
              <p:cNvPr id="71" name="Graphic 70" descr="Vlog with solid fill">
                <a:extLst>
                  <a:ext uri="{FF2B5EF4-FFF2-40B4-BE49-F238E27FC236}">
                    <a16:creationId xmlns:a16="http://schemas.microsoft.com/office/drawing/2014/main" id="{21D894FF-CD25-514A-B868-8774B15BAD1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75620" y="1720514"/>
                <a:ext cx="516155" cy="516155"/>
              </a:xfrm>
              <a:prstGeom prst="rect">
                <a:avLst/>
              </a:prstGeom>
            </p:spPr>
          </p:pic>
          <p:pic>
            <p:nvPicPr>
              <p:cNvPr id="72" name="Graphic 71" descr="Email with solid fill">
                <a:extLst>
                  <a:ext uri="{FF2B5EF4-FFF2-40B4-BE49-F238E27FC236}">
                    <a16:creationId xmlns:a16="http://schemas.microsoft.com/office/drawing/2014/main" id="{71C1710E-DB16-3241-A355-A1E06A87C3F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20410" y="1228997"/>
                <a:ext cx="426575" cy="426575"/>
              </a:xfrm>
              <a:prstGeom prst="rect">
                <a:avLst/>
              </a:prstGeom>
            </p:spPr>
          </p:pic>
        </p:grpSp>
        <p:sp>
          <p:nvSpPr>
            <p:cNvPr id="73" name="Rectangle 72">
              <a:extLst>
                <a:ext uri="{FF2B5EF4-FFF2-40B4-BE49-F238E27FC236}">
                  <a16:creationId xmlns:a16="http://schemas.microsoft.com/office/drawing/2014/main" id="{3D08BAC2-2DBF-8A4A-AA25-BF6C1579FFB0}"/>
                </a:ext>
              </a:extLst>
            </p:cNvPr>
            <p:cNvSpPr/>
            <p:nvPr/>
          </p:nvSpPr>
          <p:spPr>
            <a:xfrm>
              <a:off x="7905135" y="2595992"/>
              <a:ext cx="3792350" cy="86383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E2922D1E-83BE-1D43-BA2C-D3B23B9ECD1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99835" y="2817771"/>
              <a:ext cx="391835" cy="391835"/>
            </a:xfrm>
            <a:prstGeom prst="rect">
              <a:avLst/>
            </a:prstGeom>
          </p:spPr>
        </p:pic>
      </p:grpSp>
      <p:grpSp>
        <p:nvGrpSpPr>
          <p:cNvPr id="5" name="Group 4">
            <a:extLst>
              <a:ext uri="{FF2B5EF4-FFF2-40B4-BE49-F238E27FC236}">
                <a16:creationId xmlns:a16="http://schemas.microsoft.com/office/drawing/2014/main" id="{947277C7-95F9-0E42-AC07-AE1F7A5C4F42}"/>
              </a:ext>
            </a:extLst>
          </p:cNvPr>
          <p:cNvGrpSpPr/>
          <p:nvPr/>
        </p:nvGrpSpPr>
        <p:grpSpPr>
          <a:xfrm>
            <a:off x="7697799" y="4499559"/>
            <a:ext cx="3997650" cy="883500"/>
            <a:chOff x="7699835" y="3723044"/>
            <a:chExt cx="3997650" cy="883500"/>
          </a:xfrm>
        </p:grpSpPr>
        <p:grpSp>
          <p:nvGrpSpPr>
            <p:cNvPr id="75" name="Group 74">
              <a:extLst>
                <a:ext uri="{FF2B5EF4-FFF2-40B4-BE49-F238E27FC236}">
                  <a16:creationId xmlns:a16="http://schemas.microsoft.com/office/drawing/2014/main" id="{65046EE9-C90A-1541-9C26-A85CBF6FF045}"/>
                </a:ext>
              </a:extLst>
            </p:cNvPr>
            <p:cNvGrpSpPr/>
            <p:nvPr/>
          </p:nvGrpSpPr>
          <p:grpSpPr>
            <a:xfrm>
              <a:off x="8275620" y="3742708"/>
              <a:ext cx="3421865" cy="863836"/>
              <a:chOff x="8275620" y="1191427"/>
              <a:chExt cx="3421865" cy="1045242"/>
            </a:xfrm>
          </p:grpSpPr>
          <p:sp>
            <p:nvSpPr>
              <p:cNvPr id="76" name="TextBox 75">
                <a:extLst>
                  <a:ext uri="{FF2B5EF4-FFF2-40B4-BE49-F238E27FC236}">
                    <a16:creationId xmlns:a16="http://schemas.microsoft.com/office/drawing/2014/main" id="{B13E141F-1F4C-AA4E-B906-5024A4FF249F}"/>
                  </a:ext>
                </a:extLst>
              </p:cNvPr>
              <p:cNvSpPr txBox="1"/>
              <p:nvPr/>
            </p:nvSpPr>
            <p:spPr>
              <a:xfrm>
                <a:off x="8766027" y="1216625"/>
                <a:ext cx="775895"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sz="1200" b="1" i="0" u="none" strike="noStrike" kern="1200" cap="none" spc="0" normalizeH="0" baseline="0" noProof="0">
                    <a:ln>
                      <a:noFill/>
                    </a:ln>
                    <a:solidFill>
                      <a:srgbClr val="646569"/>
                    </a:solidFill>
                    <a:effectLst/>
                    <a:uLnTx/>
                    <a:uFillTx/>
                    <a:latin typeface="Calibri"/>
                    <a:ea typeface="+mn-ea"/>
                    <a:cs typeface="+mn-cs"/>
                  </a:rPr>
                  <a:t>+</a:t>
                </a:r>
                <a:r>
                  <a:rPr kumimoji="0" lang="en-GB" sz="1200" b="1" i="0" u="none" strike="noStrike" kern="1200" cap="none" spc="0" normalizeH="0" baseline="0" noProof="0">
                    <a:ln>
                      <a:noFill/>
                    </a:ln>
                    <a:solidFill>
                      <a:srgbClr val="646569"/>
                    </a:solidFill>
                    <a:effectLst/>
                    <a:uLnTx/>
                    <a:uFillTx/>
                    <a:latin typeface="Calibri"/>
                    <a:ea typeface="+mn-ea"/>
                    <a:cs typeface="+mn-cs"/>
                  </a:rPr>
                  <a:t>431</a:t>
                </a:r>
                <a:r>
                  <a:rPr kumimoji="0" sz="1200" b="1" i="0" u="none" strike="noStrike" kern="1200" cap="none" spc="0" normalizeH="0" baseline="0" noProof="0">
                    <a:ln>
                      <a:noFill/>
                    </a:ln>
                    <a:solidFill>
                      <a:srgbClr val="646569"/>
                    </a:solidFill>
                    <a:effectLst/>
                    <a:uLnTx/>
                    <a:uFillTx/>
                    <a:latin typeface="Calibri"/>
                    <a:ea typeface="+mn-ea"/>
                    <a:cs typeface="+mn-cs"/>
                  </a:rPr>
                  <a:t>%</a:t>
                </a:r>
              </a:p>
            </p:txBody>
          </p:sp>
          <p:sp>
            <p:nvSpPr>
              <p:cNvPr id="77" name="TextBox 76">
                <a:extLst>
                  <a:ext uri="{FF2B5EF4-FFF2-40B4-BE49-F238E27FC236}">
                    <a16:creationId xmlns:a16="http://schemas.microsoft.com/office/drawing/2014/main" id="{949B6CA8-EB67-D740-B690-7EE5BEC32C56}"/>
                  </a:ext>
                </a:extLst>
              </p:cNvPr>
              <p:cNvSpPr txBox="1"/>
              <p:nvPr/>
            </p:nvSpPr>
            <p:spPr>
              <a:xfrm>
                <a:off x="8906883" y="1426063"/>
                <a:ext cx="638182"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46569"/>
                    </a:solidFill>
                    <a:effectLst/>
                    <a:uLnTx/>
                    <a:uFillTx/>
                    <a:latin typeface="Calibri"/>
                    <a:ea typeface="+mn-ea"/>
                    <a:cs typeface="+mn-cs"/>
                  </a:rPr>
                  <a:t>28</a:t>
                </a:r>
                <a:r>
                  <a:rPr kumimoji="0" sz="1200" b="1" i="0" u="none" strike="noStrike" kern="1200" cap="none" spc="0" normalizeH="0" baseline="0" noProof="0">
                    <a:ln>
                      <a:noFill/>
                    </a:ln>
                    <a:solidFill>
                      <a:srgbClr val="646569"/>
                    </a:solidFill>
                    <a:effectLst/>
                    <a:uLnTx/>
                    <a:uFillTx/>
                    <a:latin typeface="Calibri"/>
                    <a:ea typeface="+mn-ea"/>
                    <a:cs typeface="+mn-cs"/>
                  </a:rPr>
                  <a:t>%</a:t>
                </a:r>
              </a:p>
            </p:txBody>
          </p:sp>
          <p:sp>
            <p:nvSpPr>
              <p:cNvPr id="78" name="TextBox 77">
                <a:extLst>
                  <a:ext uri="{FF2B5EF4-FFF2-40B4-BE49-F238E27FC236}">
                    <a16:creationId xmlns:a16="http://schemas.microsoft.com/office/drawing/2014/main" id="{247D2CF8-E4D5-D248-9DB2-51B209946D67}"/>
                  </a:ext>
                </a:extLst>
              </p:cNvPr>
              <p:cNvSpPr txBox="1"/>
              <p:nvPr/>
            </p:nvSpPr>
            <p:spPr>
              <a:xfrm>
                <a:off x="9446695" y="1191427"/>
                <a:ext cx="2024547"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sz="1200" b="0" i="0" u="none" strike="noStrike" kern="1200" cap="none" spc="0" normalizeH="0" baseline="0" noProof="0">
                    <a:ln>
                      <a:noFill/>
                    </a:ln>
                    <a:solidFill>
                      <a:srgbClr val="646569"/>
                    </a:solidFill>
                    <a:effectLst/>
                    <a:uLnTx/>
                    <a:uFillTx/>
                    <a:latin typeface="Calibri"/>
                    <a:ea typeface="+mn-ea"/>
                    <a:cs typeface="+mn-cs"/>
                  </a:rPr>
                  <a:t>Approved Emails Sent</a:t>
                </a:r>
              </a:p>
            </p:txBody>
          </p:sp>
          <p:sp>
            <p:nvSpPr>
              <p:cNvPr id="79" name="TextBox 78">
                <a:extLst>
                  <a:ext uri="{FF2B5EF4-FFF2-40B4-BE49-F238E27FC236}">
                    <a16:creationId xmlns:a16="http://schemas.microsoft.com/office/drawing/2014/main" id="{8BA627F0-68E1-6540-859F-A020B8AF964E}"/>
                  </a:ext>
                </a:extLst>
              </p:cNvPr>
              <p:cNvSpPr txBox="1"/>
              <p:nvPr/>
            </p:nvSpPr>
            <p:spPr>
              <a:xfrm>
                <a:off x="9446695" y="1400865"/>
                <a:ext cx="2152800"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sz="1200" b="0" i="0" u="none" strike="noStrike" kern="1200" cap="none" spc="0" normalizeH="0" baseline="0" noProof="0">
                    <a:ln>
                      <a:noFill/>
                    </a:ln>
                    <a:solidFill>
                      <a:srgbClr val="646569"/>
                    </a:solidFill>
                    <a:effectLst/>
                    <a:uLnTx/>
                    <a:uFillTx/>
                    <a:latin typeface="Calibri"/>
                    <a:ea typeface="+mn-ea"/>
                    <a:cs typeface="+mn-cs"/>
                  </a:rPr>
                  <a:t>Avg. Open Rate</a:t>
                </a:r>
              </a:p>
            </p:txBody>
          </p:sp>
          <p:sp>
            <p:nvSpPr>
              <p:cNvPr id="80" name="TextBox 79">
                <a:extLst>
                  <a:ext uri="{FF2B5EF4-FFF2-40B4-BE49-F238E27FC236}">
                    <a16:creationId xmlns:a16="http://schemas.microsoft.com/office/drawing/2014/main" id="{EAD0A9A1-3957-D744-B3D5-145DE6D6680D}"/>
                  </a:ext>
                </a:extLst>
              </p:cNvPr>
              <p:cNvSpPr txBox="1"/>
              <p:nvPr/>
            </p:nvSpPr>
            <p:spPr>
              <a:xfrm>
                <a:off x="8766027" y="1729270"/>
                <a:ext cx="775895"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8719D"/>
                    </a:solidFill>
                    <a:effectLst/>
                    <a:uLnTx/>
                    <a:uFillTx/>
                    <a:latin typeface="Calibri"/>
                    <a:ea typeface="+mn-ea"/>
                    <a:cs typeface="+mn-cs"/>
                  </a:rPr>
                  <a:t>+110%</a:t>
                </a:r>
                <a:endParaRPr kumimoji="0" sz="1200" b="1" i="0" u="none" strike="noStrike" kern="1200" cap="none" spc="0" normalizeH="0" baseline="0" noProof="0">
                  <a:ln>
                    <a:noFill/>
                  </a:ln>
                  <a:solidFill>
                    <a:srgbClr val="18719D"/>
                  </a:solidFill>
                  <a:effectLst/>
                  <a:uLnTx/>
                  <a:uFillTx/>
                  <a:latin typeface="Calibri"/>
                  <a:ea typeface="+mn-ea"/>
                  <a:cs typeface="+mn-cs"/>
                </a:endParaRPr>
              </a:p>
            </p:txBody>
          </p:sp>
          <p:sp>
            <p:nvSpPr>
              <p:cNvPr id="81" name="TextBox 80">
                <a:extLst>
                  <a:ext uri="{FF2B5EF4-FFF2-40B4-BE49-F238E27FC236}">
                    <a16:creationId xmlns:a16="http://schemas.microsoft.com/office/drawing/2014/main" id="{9A8FDCCC-E7DB-E741-A22B-9DB26D398ED8}"/>
                  </a:ext>
                </a:extLst>
              </p:cNvPr>
              <p:cNvSpPr txBox="1"/>
              <p:nvPr/>
            </p:nvSpPr>
            <p:spPr>
              <a:xfrm>
                <a:off x="8906883" y="1947325"/>
                <a:ext cx="638182"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8719D"/>
                    </a:solidFill>
                    <a:effectLst/>
                    <a:uLnTx/>
                    <a:uFillTx/>
                    <a:latin typeface="Calibri"/>
                    <a:ea typeface="+mn-ea"/>
                    <a:cs typeface="+mn-cs"/>
                  </a:rPr>
                  <a:t>29 min</a:t>
                </a:r>
                <a:endParaRPr kumimoji="0" sz="1200" b="1" i="0" u="none" strike="noStrike" kern="1200" cap="none" spc="0" normalizeH="0" baseline="0" noProof="0">
                  <a:ln>
                    <a:noFill/>
                  </a:ln>
                  <a:solidFill>
                    <a:srgbClr val="18719D"/>
                  </a:solidFill>
                  <a:effectLst/>
                  <a:uLnTx/>
                  <a:uFillTx/>
                  <a:latin typeface="Calibri"/>
                  <a:ea typeface="+mn-ea"/>
                  <a:cs typeface="+mn-cs"/>
                </a:endParaRPr>
              </a:p>
            </p:txBody>
          </p:sp>
          <p:sp>
            <p:nvSpPr>
              <p:cNvPr id="82" name="TextBox 81">
                <a:extLst>
                  <a:ext uri="{FF2B5EF4-FFF2-40B4-BE49-F238E27FC236}">
                    <a16:creationId xmlns:a16="http://schemas.microsoft.com/office/drawing/2014/main" id="{5753E664-9A5B-6C42-8C5E-2155DECB0C30}"/>
                  </a:ext>
                </a:extLst>
              </p:cNvPr>
              <p:cNvSpPr txBox="1"/>
              <p:nvPr/>
            </p:nvSpPr>
            <p:spPr>
              <a:xfrm>
                <a:off x="9446695" y="1704072"/>
                <a:ext cx="2250790"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noProof="0">
                    <a:ln>
                      <a:noFill/>
                    </a:ln>
                    <a:solidFill>
                      <a:srgbClr val="646569"/>
                    </a:solidFill>
                    <a:effectLst/>
                    <a:uLnTx/>
                    <a:uFillTx/>
                    <a:latin typeface="Calibri"/>
                    <a:ea typeface="+mn-ea"/>
                    <a:cs typeface="+mn-cs"/>
                  </a:rPr>
                  <a:t>Engage Meetings started</a:t>
                </a:r>
                <a:endParaRPr kumimoji="0" sz="1200" b="0" i="0" u="none" strike="noStrike" kern="1200" cap="none" spc="0" normalizeH="0" baseline="0" noProof="0">
                  <a:ln>
                    <a:noFill/>
                  </a:ln>
                  <a:solidFill>
                    <a:srgbClr val="646569"/>
                  </a:solidFill>
                  <a:effectLst/>
                  <a:uLnTx/>
                  <a:uFillTx/>
                  <a:latin typeface="Calibri"/>
                  <a:ea typeface="+mn-ea"/>
                  <a:cs typeface="+mn-cs"/>
                </a:endParaRPr>
              </a:p>
            </p:txBody>
          </p:sp>
          <p:sp>
            <p:nvSpPr>
              <p:cNvPr id="83" name="TextBox 82">
                <a:extLst>
                  <a:ext uri="{FF2B5EF4-FFF2-40B4-BE49-F238E27FC236}">
                    <a16:creationId xmlns:a16="http://schemas.microsoft.com/office/drawing/2014/main" id="{506E30D7-A864-5D4B-9365-2CDFF5000468}"/>
                  </a:ext>
                </a:extLst>
              </p:cNvPr>
              <p:cNvSpPr txBox="1"/>
              <p:nvPr/>
            </p:nvSpPr>
            <p:spPr>
              <a:xfrm>
                <a:off x="9446694" y="1922127"/>
                <a:ext cx="2024547"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noProof="0">
                    <a:ln>
                      <a:noFill/>
                    </a:ln>
                    <a:solidFill>
                      <a:srgbClr val="646569"/>
                    </a:solidFill>
                    <a:effectLst/>
                    <a:uLnTx/>
                    <a:uFillTx/>
                    <a:latin typeface="Calibri"/>
                    <a:ea typeface="+mn-ea"/>
                    <a:cs typeface="+mn-cs"/>
                  </a:rPr>
                  <a:t>Average Meeting Duration </a:t>
                </a:r>
                <a:endParaRPr kumimoji="0" sz="1200" b="0" i="0" u="none" strike="noStrike" kern="1200" cap="none" spc="0" normalizeH="0" baseline="0" noProof="0">
                  <a:ln>
                    <a:noFill/>
                  </a:ln>
                  <a:solidFill>
                    <a:srgbClr val="646569"/>
                  </a:solidFill>
                  <a:effectLst/>
                  <a:uLnTx/>
                  <a:uFillTx/>
                  <a:latin typeface="Calibri"/>
                  <a:ea typeface="+mn-ea"/>
                  <a:cs typeface="+mn-cs"/>
                </a:endParaRPr>
              </a:p>
            </p:txBody>
          </p:sp>
          <p:pic>
            <p:nvPicPr>
              <p:cNvPr id="84" name="Graphic 83" descr="Vlog with solid fill">
                <a:extLst>
                  <a:ext uri="{FF2B5EF4-FFF2-40B4-BE49-F238E27FC236}">
                    <a16:creationId xmlns:a16="http://schemas.microsoft.com/office/drawing/2014/main" id="{6AE2CF4D-B9F5-8847-B473-5E29B1F79CA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75620" y="1720514"/>
                <a:ext cx="516155" cy="516155"/>
              </a:xfrm>
              <a:prstGeom prst="rect">
                <a:avLst/>
              </a:prstGeom>
            </p:spPr>
          </p:pic>
          <p:pic>
            <p:nvPicPr>
              <p:cNvPr id="85" name="Graphic 84" descr="Email with solid fill">
                <a:extLst>
                  <a:ext uri="{FF2B5EF4-FFF2-40B4-BE49-F238E27FC236}">
                    <a16:creationId xmlns:a16="http://schemas.microsoft.com/office/drawing/2014/main" id="{8F573032-9C53-5D4E-98D1-E2FDAFDA388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20410" y="1228997"/>
                <a:ext cx="426575" cy="426575"/>
              </a:xfrm>
              <a:prstGeom prst="rect">
                <a:avLst/>
              </a:prstGeom>
            </p:spPr>
          </p:pic>
        </p:grpSp>
        <p:sp>
          <p:nvSpPr>
            <p:cNvPr id="86" name="Rectangle 85">
              <a:extLst>
                <a:ext uri="{FF2B5EF4-FFF2-40B4-BE49-F238E27FC236}">
                  <a16:creationId xmlns:a16="http://schemas.microsoft.com/office/drawing/2014/main" id="{2A852410-B25B-AA49-B0DB-41BA5C230011}"/>
                </a:ext>
              </a:extLst>
            </p:cNvPr>
            <p:cNvSpPr/>
            <p:nvPr/>
          </p:nvSpPr>
          <p:spPr>
            <a:xfrm>
              <a:off x="7905135" y="3723044"/>
              <a:ext cx="3792350" cy="86383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02" name="Picture 101">
              <a:extLst>
                <a:ext uri="{FF2B5EF4-FFF2-40B4-BE49-F238E27FC236}">
                  <a16:creationId xmlns:a16="http://schemas.microsoft.com/office/drawing/2014/main" id="{F7A4EA2C-6D83-3641-8328-DEA7D889FB4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699835" y="3988832"/>
              <a:ext cx="391835" cy="391835"/>
            </a:xfrm>
            <a:prstGeom prst="rect">
              <a:avLst/>
            </a:prstGeom>
          </p:spPr>
        </p:pic>
      </p:grpSp>
      <p:grpSp>
        <p:nvGrpSpPr>
          <p:cNvPr id="12" name="Group 11">
            <a:extLst>
              <a:ext uri="{FF2B5EF4-FFF2-40B4-BE49-F238E27FC236}">
                <a16:creationId xmlns:a16="http://schemas.microsoft.com/office/drawing/2014/main" id="{8CCB0E4B-4176-E245-9364-8C6C9FFAC96E}"/>
              </a:ext>
            </a:extLst>
          </p:cNvPr>
          <p:cNvGrpSpPr/>
          <p:nvPr/>
        </p:nvGrpSpPr>
        <p:grpSpPr>
          <a:xfrm>
            <a:off x="7727029" y="2526547"/>
            <a:ext cx="3968420" cy="863836"/>
            <a:chOff x="7729065" y="1468940"/>
            <a:chExt cx="3968420" cy="863836"/>
          </a:xfrm>
        </p:grpSpPr>
        <p:grpSp>
          <p:nvGrpSpPr>
            <p:cNvPr id="59" name="Group 58">
              <a:extLst>
                <a:ext uri="{FF2B5EF4-FFF2-40B4-BE49-F238E27FC236}">
                  <a16:creationId xmlns:a16="http://schemas.microsoft.com/office/drawing/2014/main" id="{1B30EA14-9FCF-2E40-8758-03AAC7A54DAF}"/>
                </a:ext>
              </a:extLst>
            </p:cNvPr>
            <p:cNvGrpSpPr/>
            <p:nvPr/>
          </p:nvGrpSpPr>
          <p:grpSpPr>
            <a:xfrm>
              <a:off x="8275620" y="1468940"/>
              <a:ext cx="3421865" cy="863836"/>
              <a:chOff x="8275620" y="1191427"/>
              <a:chExt cx="3421865" cy="1045242"/>
            </a:xfrm>
          </p:grpSpPr>
          <p:sp>
            <p:nvSpPr>
              <p:cNvPr id="8" name="TextBox 7">
                <a:extLst>
                  <a:ext uri="{FF2B5EF4-FFF2-40B4-BE49-F238E27FC236}">
                    <a16:creationId xmlns:a16="http://schemas.microsoft.com/office/drawing/2014/main" id="{3FADB7CC-357C-3841-92B4-BEC1CE674D3F}"/>
                  </a:ext>
                </a:extLst>
              </p:cNvPr>
              <p:cNvSpPr txBox="1"/>
              <p:nvPr/>
            </p:nvSpPr>
            <p:spPr>
              <a:xfrm>
                <a:off x="8766027" y="1216625"/>
                <a:ext cx="775895"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sz="1200" b="1" i="0" u="none" strike="noStrike" kern="1200" cap="none" spc="0" normalizeH="0" baseline="0" noProof="0">
                    <a:ln>
                      <a:noFill/>
                    </a:ln>
                    <a:solidFill>
                      <a:srgbClr val="646569"/>
                    </a:solidFill>
                    <a:effectLst/>
                    <a:uLnTx/>
                    <a:uFillTx/>
                    <a:latin typeface="Calibri"/>
                    <a:ea typeface="+mn-ea"/>
                    <a:cs typeface="+mn-cs"/>
                  </a:rPr>
                  <a:t>+1</a:t>
                </a:r>
                <a:r>
                  <a:rPr kumimoji="0" lang="en-GB" sz="1200" b="1" i="0" u="none" strike="noStrike" kern="1200" cap="none" spc="0" normalizeH="0" baseline="0" noProof="0">
                    <a:ln>
                      <a:noFill/>
                    </a:ln>
                    <a:solidFill>
                      <a:srgbClr val="646569"/>
                    </a:solidFill>
                    <a:effectLst/>
                    <a:uLnTx/>
                    <a:uFillTx/>
                    <a:latin typeface="Calibri"/>
                    <a:ea typeface="+mn-ea"/>
                    <a:cs typeface="+mn-cs"/>
                  </a:rPr>
                  <a:t>79</a:t>
                </a:r>
                <a:r>
                  <a:rPr kumimoji="0" sz="1200" b="1" i="0" u="none" strike="noStrike" kern="1200" cap="none" spc="0" normalizeH="0" baseline="0" noProof="0">
                    <a:ln>
                      <a:noFill/>
                    </a:ln>
                    <a:solidFill>
                      <a:srgbClr val="646569"/>
                    </a:solidFill>
                    <a:effectLst/>
                    <a:uLnTx/>
                    <a:uFillTx/>
                    <a:latin typeface="Calibri"/>
                    <a:ea typeface="+mn-ea"/>
                    <a:cs typeface="+mn-cs"/>
                  </a:rPr>
                  <a:t>%</a:t>
                </a:r>
              </a:p>
            </p:txBody>
          </p:sp>
          <p:sp>
            <p:nvSpPr>
              <p:cNvPr id="9" name="TextBox 8">
                <a:extLst>
                  <a:ext uri="{FF2B5EF4-FFF2-40B4-BE49-F238E27FC236}">
                    <a16:creationId xmlns:a16="http://schemas.microsoft.com/office/drawing/2014/main" id="{3E0E78B7-480B-524D-961B-CEFAA9AEEEA2}"/>
                  </a:ext>
                </a:extLst>
              </p:cNvPr>
              <p:cNvSpPr txBox="1"/>
              <p:nvPr/>
            </p:nvSpPr>
            <p:spPr>
              <a:xfrm>
                <a:off x="8906883" y="1426063"/>
                <a:ext cx="638182"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sz="1200" b="1" i="0" u="none" strike="noStrike" kern="1200" cap="none" spc="0" normalizeH="0" baseline="0" noProof="0">
                    <a:ln>
                      <a:noFill/>
                    </a:ln>
                    <a:solidFill>
                      <a:srgbClr val="646569"/>
                    </a:solidFill>
                    <a:effectLst/>
                    <a:uLnTx/>
                    <a:uFillTx/>
                    <a:latin typeface="Calibri"/>
                    <a:ea typeface="+mn-ea"/>
                    <a:cs typeface="+mn-cs"/>
                  </a:rPr>
                  <a:t>4</a:t>
                </a:r>
                <a:r>
                  <a:rPr kumimoji="0" lang="en-GB" sz="1200" b="1" i="0" u="none" strike="noStrike" kern="1200" cap="none" spc="0" normalizeH="0" baseline="0" noProof="0">
                    <a:ln>
                      <a:noFill/>
                    </a:ln>
                    <a:solidFill>
                      <a:srgbClr val="646569"/>
                    </a:solidFill>
                    <a:effectLst/>
                    <a:uLnTx/>
                    <a:uFillTx/>
                    <a:latin typeface="Calibri"/>
                    <a:ea typeface="+mn-ea"/>
                    <a:cs typeface="+mn-cs"/>
                  </a:rPr>
                  <a:t>0</a:t>
                </a:r>
                <a:r>
                  <a:rPr kumimoji="0" sz="1200" b="1" i="0" u="none" strike="noStrike" kern="1200" cap="none" spc="0" normalizeH="0" baseline="0" noProof="0">
                    <a:ln>
                      <a:noFill/>
                    </a:ln>
                    <a:solidFill>
                      <a:srgbClr val="646569"/>
                    </a:solidFill>
                    <a:effectLst/>
                    <a:uLnTx/>
                    <a:uFillTx/>
                    <a:latin typeface="Calibri"/>
                    <a:ea typeface="+mn-ea"/>
                    <a:cs typeface="+mn-cs"/>
                  </a:rPr>
                  <a:t>%</a:t>
                </a:r>
              </a:p>
            </p:txBody>
          </p:sp>
          <p:sp>
            <p:nvSpPr>
              <p:cNvPr id="10" name="TextBox 9">
                <a:extLst>
                  <a:ext uri="{FF2B5EF4-FFF2-40B4-BE49-F238E27FC236}">
                    <a16:creationId xmlns:a16="http://schemas.microsoft.com/office/drawing/2014/main" id="{F579E0E9-6FAA-F04E-A44B-003E1DF45DAB}"/>
                  </a:ext>
                </a:extLst>
              </p:cNvPr>
              <p:cNvSpPr txBox="1"/>
              <p:nvPr/>
            </p:nvSpPr>
            <p:spPr>
              <a:xfrm>
                <a:off x="9446695" y="1191427"/>
                <a:ext cx="2024547"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sz="1200" b="0" i="0" u="none" strike="noStrike" kern="1200" cap="none" spc="0" normalizeH="0" baseline="0" noProof="0">
                    <a:ln>
                      <a:noFill/>
                    </a:ln>
                    <a:solidFill>
                      <a:srgbClr val="646569"/>
                    </a:solidFill>
                    <a:effectLst/>
                    <a:uLnTx/>
                    <a:uFillTx/>
                    <a:latin typeface="Calibri"/>
                    <a:ea typeface="+mn-ea"/>
                    <a:cs typeface="+mn-cs"/>
                  </a:rPr>
                  <a:t>Approved Emails Sent</a:t>
                </a:r>
              </a:p>
            </p:txBody>
          </p:sp>
          <p:sp>
            <p:nvSpPr>
              <p:cNvPr id="11" name="TextBox 10">
                <a:extLst>
                  <a:ext uri="{FF2B5EF4-FFF2-40B4-BE49-F238E27FC236}">
                    <a16:creationId xmlns:a16="http://schemas.microsoft.com/office/drawing/2014/main" id="{2AEF3B83-F98B-1544-B612-03F6C7EF5B32}"/>
                  </a:ext>
                </a:extLst>
              </p:cNvPr>
              <p:cNvSpPr txBox="1"/>
              <p:nvPr/>
            </p:nvSpPr>
            <p:spPr>
              <a:xfrm>
                <a:off x="9446695" y="1400865"/>
                <a:ext cx="2152800"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sz="1200" b="0" i="0" u="none" strike="noStrike" kern="1200" cap="none" spc="0" normalizeH="0" baseline="0" noProof="0">
                    <a:ln>
                      <a:noFill/>
                    </a:ln>
                    <a:solidFill>
                      <a:srgbClr val="646569"/>
                    </a:solidFill>
                    <a:effectLst/>
                    <a:uLnTx/>
                    <a:uFillTx/>
                    <a:latin typeface="Calibri"/>
                    <a:ea typeface="+mn-ea"/>
                    <a:cs typeface="+mn-cs"/>
                  </a:rPr>
                  <a:t>Avg. Open Rate</a:t>
                </a:r>
              </a:p>
            </p:txBody>
          </p:sp>
          <p:sp>
            <p:nvSpPr>
              <p:cNvPr id="13" name="TextBox 12">
                <a:extLst>
                  <a:ext uri="{FF2B5EF4-FFF2-40B4-BE49-F238E27FC236}">
                    <a16:creationId xmlns:a16="http://schemas.microsoft.com/office/drawing/2014/main" id="{3B6811E1-BAB5-5349-8E95-91A1E3053AD2}"/>
                  </a:ext>
                </a:extLst>
              </p:cNvPr>
              <p:cNvSpPr txBox="1"/>
              <p:nvPr/>
            </p:nvSpPr>
            <p:spPr>
              <a:xfrm>
                <a:off x="8766027" y="1729270"/>
                <a:ext cx="775895"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8719D"/>
                    </a:solidFill>
                    <a:effectLst/>
                    <a:uLnTx/>
                    <a:uFillTx/>
                    <a:latin typeface="Calibri"/>
                    <a:ea typeface="+mn-ea"/>
                    <a:cs typeface="+mn-cs"/>
                  </a:rPr>
                  <a:t>+219%</a:t>
                </a:r>
                <a:endParaRPr kumimoji="0" sz="1200" b="1" i="0" u="none" strike="noStrike" kern="1200" cap="none" spc="0" normalizeH="0" baseline="0" noProof="0">
                  <a:ln>
                    <a:noFill/>
                  </a:ln>
                  <a:solidFill>
                    <a:srgbClr val="18719D"/>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3564F32F-8689-644C-AA37-3735693B89D8}"/>
                  </a:ext>
                </a:extLst>
              </p:cNvPr>
              <p:cNvSpPr txBox="1"/>
              <p:nvPr/>
            </p:nvSpPr>
            <p:spPr>
              <a:xfrm>
                <a:off x="8906883" y="1947325"/>
                <a:ext cx="638182" cy="243785"/>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8719D"/>
                    </a:solidFill>
                    <a:effectLst/>
                    <a:uLnTx/>
                    <a:uFillTx/>
                    <a:latin typeface="Calibri"/>
                    <a:ea typeface="+mn-ea"/>
                    <a:cs typeface="+mn-cs"/>
                  </a:rPr>
                  <a:t>28 min</a:t>
                </a:r>
                <a:endParaRPr kumimoji="0" sz="1200" b="1" i="0" u="none" strike="noStrike" kern="1200" cap="none" spc="0" normalizeH="0" baseline="0" noProof="0">
                  <a:ln>
                    <a:noFill/>
                  </a:ln>
                  <a:solidFill>
                    <a:srgbClr val="18719D"/>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21BE1F38-7AC0-2F4B-AF81-E1AC7A1A2990}"/>
                  </a:ext>
                </a:extLst>
              </p:cNvPr>
              <p:cNvSpPr txBox="1"/>
              <p:nvPr/>
            </p:nvSpPr>
            <p:spPr>
              <a:xfrm>
                <a:off x="9446695" y="1704072"/>
                <a:ext cx="2250790"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noProof="0">
                    <a:ln>
                      <a:noFill/>
                    </a:ln>
                    <a:solidFill>
                      <a:srgbClr val="646569"/>
                    </a:solidFill>
                    <a:effectLst/>
                    <a:uLnTx/>
                    <a:uFillTx/>
                    <a:latin typeface="Calibri"/>
                    <a:ea typeface="+mn-ea"/>
                    <a:cs typeface="+mn-cs"/>
                  </a:rPr>
                  <a:t>Engage Meetings started</a:t>
                </a:r>
                <a:endParaRPr kumimoji="0" sz="1200" b="0" i="0" u="none" strike="noStrike" kern="1200" cap="none" spc="0" normalizeH="0" baseline="0" noProof="0">
                  <a:ln>
                    <a:noFill/>
                  </a:ln>
                  <a:solidFill>
                    <a:srgbClr val="646569"/>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FC030948-2527-A143-BAFB-F0471BA273B1}"/>
                  </a:ext>
                </a:extLst>
              </p:cNvPr>
              <p:cNvSpPr txBox="1"/>
              <p:nvPr/>
            </p:nvSpPr>
            <p:spPr>
              <a:xfrm>
                <a:off x="9446694" y="1922127"/>
                <a:ext cx="2024547"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noProof="0">
                    <a:ln>
                      <a:noFill/>
                    </a:ln>
                    <a:solidFill>
                      <a:srgbClr val="646569"/>
                    </a:solidFill>
                    <a:effectLst/>
                    <a:uLnTx/>
                    <a:uFillTx/>
                    <a:latin typeface="Calibri"/>
                    <a:ea typeface="+mn-ea"/>
                    <a:cs typeface="+mn-cs"/>
                  </a:rPr>
                  <a:t>Average Meeting Duration </a:t>
                </a:r>
                <a:endParaRPr kumimoji="0" sz="1200" b="0" i="0" u="none" strike="noStrike" kern="1200" cap="none" spc="0" normalizeH="0" baseline="0" noProof="0">
                  <a:ln>
                    <a:noFill/>
                  </a:ln>
                  <a:solidFill>
                    <a:srgbClr val="646569"/>
                  </a:solidFill>
                  <a:effectLst/>
                  <a:uLnTx/>
                  <a:uFillTx/>
                  <a:latin typeface="Calibri"/>
                  <a:ea typeface="+mn-ea"/>
                  <a:cs typeface="+mn-cs"/>
                </a:endParaRPr>
              </a:p>
            </p:txBody>
          </p:sp>
          <p:pic>
            <p:nvPicPr>
              <p:cNvPr id="18" name="Graphic 17" descr="Vlog with solid fill">
                <a:extLst>
                  <a:ext uri="{FF2B5EF4-FFF2-40B4-BE49-F238E27FC236}">
                    <a16:creationId xmlns:a16="http://schemas.microsoft.com/office/drawing/2014/main" id="{23D56C87-E83F-5A40-A6BD-C5DA264433C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75620" y="1720514"/>
                <a:ext cx="516155" cy="516155"/>
              </a:xfrm>
              <a:prstGeom prst="rect">
                <a:avLst/>
              </a:prstGeom>
            </p:spPr>
          </p:pic>
          <p:pic>
            <p:nvPicPr>
              <p:cNvPr id="22" name="Graphic 21" descr="Email with solid fill">
                <a:extLst>
                  <a:ext uri="{FF2B5EF4-FFF2-40B4-BE49-F238E27FC236}">
                    <a16:creationId xmlns:a16="http://schemas.microsoft.com/office/drawing/2014/main" id="{65E49BC5-1F9C-B346-B285-824339D94D5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20410" y="1228997"/>
                <a:ext cx="426575" cy="426575"/>
              </a:xfrm>
              <a:prstGeom prst="rect">
                <a:avLst/>
              </a:prstGeom>
            </p:spPr>
          </p:pic>
        </p:grpSp>
        <p:sp>
          <p:nvSpPr>
            <p:cNvPr id="57" name="Rectangle 56">
              <a:extLst>
                <a:ext uri="{FF2B5EF4-FFF2-40B4-BE49-F238E27FC236}">
                  <a16:creationId xmlns:a16="http://schemas.microsoft.com/office/drawing/2014/main" id="{6528ED15-AB1F-9B4B-8D36-6535530A0145}"/>
                </a:ext>
              </a:extLst>
            </p:cNvPr>
            <p:cNvSpPr/>
            <p:nvPr/>
          </p:nvSpPr>
          <p:spPr>
            <a:xfrm>
              <a:off x="7905135" y="1468940"/>
              <a:ext cx="3792350" cy="86383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94F78245-B806-8240-9A1B-B56A0E215EF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29065" y="1657935"/>
              <a:ext cx="363749" cy="361940"/>
            </a:xfrm>
            <a:prstGeom prst="ellipse">
              <a:avLst/>
            </a:prstGeom>
          </p:spPr>
        </p:pic>
      </p:grpSp>
      <p:sp>
        <p:nvSpPr>
          <p:cNvPr id="105" name="TextBox 104">
            <a:extLst>
              <a:ext uri="{FF2B5EF4-FFF2-40B4-BE49-F238E27FC236}">
                <a16:creationId xmlns:a16="http://schemas.microsoft.com/office/drawing/2014/main" id="{70DA4B7F-559A-AD49-A62C-0426E902B183}"/>
              </a:ext>
            </a:extLst>
          </p:cNvPr>
          <p:cNvSpPr txBox="1"/>
          <p:nvPr/>
        </p:nvSpPr>
        <p:spPr>
          <a:xfrm>
            <a:off x="874581" y="5941049"/>
            <a:ext cx="6845304" cy="193323"/>
          </a:xfrm>
          <a:prstGeom prst="rect">
            <a:avLst/>
          </a:prstGeom>
          <a:noFill/>
        </p:spPr>
        <p:txBody>
          <a:bodyPr wrap="squar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800" b="0" i="0" u="none" strike="noStrike" kern="1200" cap="none" spc="0" normalizeH="0" baseline="0" noProof="0">
                <a:ln>
                  <a:noFill/>
                </a:ln>
                <a:solidFill>
                  <a:srgbClr val="646569"/>
                </a:solidFill>
                <a:effectLst/>
                <a:uLnTx/>
                <a:uFillTx/>
                <a:latin typeface="Calibri"/>
                <a:ea typeface="+mn-ea"/>
                <a:cs typeface="+mn-cs"/>
              </a:rPr>
              <a:t>Note: VeevaPulse data of November 2020. Increases are in comparison with January 2020 except for Engage Meetings which uses March 2020 as reference</a:t>
            </a:r>
          </a:p>
        </p:txBody>
      </p:sp>
      <p:grpSp>
        <p:nvGrpSpPr>
          <p:cNvPr id="74" name="Group 73">
            <a:extLst>
              <a:ext uri="{FF2B5EF4-FFF2-40B4-BE49-F238E27FC236}">
                <a16:creationId xmlns:a16="http://schemas.microsoft.com/office/drawing/2014/main" id="{1F8D7DC1-DD33-B445-976F-EE43E7B9191E}"/>
              </a:ext>
            </a:extLst>
          </p:cNvPr>
          <p:cNvGrpSpPr/>
          <p:nvPr/>
        </p:nvGrpSpPr>
        <p:grpSpPr>
          <a:xfrm>
            <a:off x="7903099" y="1549574"/>
            <a:ext cx="3792350" cy="864135"/>
            <a:chOff x="7905135" y="1468641"/>
            <a:chExt cx="3792350" cy="864135"/>
          </a:xfrm>
        </p:grpSpPr>
        <p:grpSp>
          <p:nvGrpSpPr>
            <p:cNvPr id="87" name="Group 86">
              <a:extLst>
                <a:ext uri="{FF2B5EF4-FFF2-40B4-BE49-F238E27FC236}">
                  <a16:creationId xmlns:a16="http://schemas.microsoft.com/office/drawing/2014/main" id="{8BBB7DB9-D6FB-AD47-897D-754FED1659FE}"/>
                </a:ext>
              </a:extLst>
            </p:cNvPr>
            <p:cNvGrpSpPr/>
            <p:nvPr/>
          </p:nvGrpSpPr>
          <p:grpSpPr>
            <a:xfrm>
              <a:off x="8275620" y="1468641"/>
              <a:ext cx="3421865" cy="864134"/>
              <a:chOff x="8275620" y="1191066"/>
              <a:chExt cx="3421865" cy="1045603"/>
            </a:xfrm>
          </p:grpSpPr>
          <p:sp>
            <p:nvSpPr>
              <p:cNvPr id="107" name="TextBox 106">
                <a:extLst>
                  <a:ext uri="{FF2B5EF4-FFF2-40B4-BE49-F238E27FC236}">
                    <a16:creationId xmlns:a16="http://schemas.microsoft.com/office/drawing/2014/main" id="{1182EF8C-0A77-FC46-A78E-6DD8E2BB888A}"/>
                  </a:ext>
                </a:extLst>
              </p:cNvPr>
              <p:cNvSpPr txBox="1"/>
              <p:nvPr/>
            </p:nvSpPr>
            <p:spPr>
              <a:xfrm>
                <a:off x="8766027" y="1191066"/>
                <a:ext cx="775895" cy="294903"/>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sz="1200" b="1" i="0" u="none" strike="noStrike" kern="1200" cap="none" spc="0" normalizeH="0" baseline="0" noProof="0">
                    <a:ln>
                      <a:noFill/>
                    </a:ln>
                    <a:solidFill>
                      <a:srgbClr val="646569"/>
                    </a:solidFill>
                    <a:effectLst/>
                    <a:uLnTx/>
                    <a:uFillTx/>
                    <a:latin typeface="Calibri"/>
                    <a:ea typeface="+mn-ea"/>
                    <a:cs typeface="+mn-cs"/>
                  </a:rPr>
                  <a:t>+1</a:t>
                </a:r>
                <a:r>
                  <a:rPr kumimoji="0" lang="en-GB" sz="1200" b="1" i="0" u="none" strike="noStrike" kern="1200" cap="none" spc="0" normalizeH="0" baseline="0" noProof="0">
                    <a:ln>
                      <a:noFill/>
                    </a:ln>
                    <a:solidFill>
                      <a:srgbClr val="646569"/>
                    </a:solidFill>
                    <a:effectLst/>
                    <a:uLnTx/>
                    <a:uFillTx/>
                    <a:latin typeface="Calibri"/>
                    <a:ea typeface="+mn-ea"/>
                    <a:cs typeface="+mn-cs"/>
                  </a:rPr>
                  <a:t>08</a:t>
                </a:r>
                <a:r>
                  <a:rPr kumimoji="0" sz="1200" b="1" i="0" u="none" strike="noStrike" kern="1200" cap="none" spc="0" normalizeH="0" baseline="0" noProof="0">
                    <a:ln>
                      <a:noFill/>
                    </a:ln>
                    <a:solidFill>
                      <a:srgbClr val="646569"/>
                    </a:solidFill>
                    <a:effectLst/>
                    <a:uLnTx/>
                    <a:uFillTx/>
                    <a:latin typeface="Calibri"/>
                    <a:ea typeface="+mn-ea"/>
                    <a:cs typeface="+mn-cs"/>
                  </a:rPr>
                  <a:t>%</a:t>
                </a:r>
              </a:p>
            </p:txBody>
          </p:sp>
          <p:sp>
            <p:nvSpPr>
              <p:cNvPr id="108" name="TextBox 107">
                <a:extLst>
                  <a:ext uri="{FF2B5EF4-FFF2-40B4-BE49-F238E27FC236}">
                    <a16:creationId xmlns:a16="http://schemas.microsoft.com/office/drawing/2014/main" id="{0010ED9F-34E5-4948-BFA4-4737049647C3}"/>
                  </a:ext>
                </a:extLst>
              </p:cNvPr>
              <p:cNvSpPr txBox="1"/>
              <p:nvPr/>
            </p:nvSpPr>
            <p:spPr>
              <a:xfrm>
                <a:off x="8906883" y="1400504"/>
                <a:ext cx="638182" cy="294903"/>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sz="1200" b="1" i="0" u="none" strike="noStrike" kern="1200" cap="none" spc="0" normalizeH="0" baseline="0" noProof="0">
                    <a:ln>
                      <a:noFill/>
                    </a:ln>
                    <a:solidFill>
                      <a:srgbClr val="646569"/>
                    </a:solidFill>
                    <a:effectLst/>
                    <a:uLnTx/>
                    <a:uFillTx/>
                    <a:latin typeface="Calibri"/>
                    <a:ea typeface="+mn-ea"/>
                    <a:cs typeface="+mn-cs"/>
                  </a:rPr>
                  <a:t>4</a:t>
                </a:r>
                <a:r>
                  <a:rPr kumimoji="0" lang="en-GB" sz="1200" b="1" i="0" u="none" strike="noStrike" kern="1200" cap="none" spc="0" normalizeH="0" baseline="0" noProof="0">
                    <a:ln>
                      <a:noFill/>
                    </a:ln>
                    <a:solidFill>
                      <a:srgbClr val="646569"/>
                    </a:solidFill>
                    <a:effectLst/>
                    <a:uLnTx/>
                    <a:uFillTx/>
                    <a:latin typeface="Calibri"/>
                    <a:ea typeface="+mn-ea"/>
                    <a:cs typeface="+mn-cs"/>
                  </a:rPr>
                  <a:t>3</a:t>
                </a:r>
                <a:r>
                  <a:rPr kumimoji="0" sz="1200" b="1" i="0" u="none" strike="noStrike" kern="1200" cap="none" spc="0" normalizeH="0" baseline="0" noProof="0">
                    <a:ln>
                      <a:noFill/>
                    </a:ln>
                    <a:solidFill>
                      <a:srgbClr val="646569"/>
                    </a:solidFill>
                    <a:effectLst/>
                    <a:uLnTx/>
                    <a:uFillTx/>
                    <a:latin typeface="Calibri"/>
                    <a:ea typeface="+mn-ea"/>
                    <a:cs typeface="+mn-cs"/>
                  </a:rPr>
                  <a:t>%</a:t>
                </a:r>
              </a:p>
            </p:txBody>
          </p:sp>
          <p:sp>
            <p:nvSpPr>
              <p:cNvPr id="109" name="TextBox 108">
                <a:extLst>
                  <a:ext uri="{FF2B5EF4-FFF2-40B4-BE49-F238E27FC236}">
                    <a16:creationId xmlns:a16="http://schemas.microsoft.com/office/drawing/2014/main" id="{9837D70E-E363-D046-A0B4-8131B4904B37}"/>
                  </a:ext>
                </a:extLst>
              </p:cNvPr>
              <p:cNvSpPr txBox="1"/>
              <p:nvPr/>
            </p:nvSpPr>
            <p:spPr>
              <a:xfrm>
                <a:off x="9446695" y="1191427"/>
                <a:ext cx="2024547"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sz="1200" b="0" i="0" u="none" strike="noStrike" kern="1200" cap="none" spc="0" normalizeH="0" baseline="0" noProof="0">
                    <a:ln>
                      <a:noFill/>
                    </a:ln>
                    <a:solidFill>
                      <a:srgbClr val="646569"/>
                    </a:solidFill>
                    <a:effectLst/>
                    <a:uLnTx/>
                    <a:uFillTx/>
                    <a:latin typeface="Calibri"/>
                    <a:ea typeface="+mn-ea"/>
                    <a:cs typeface="+mn-cs"/>
                  </a:rPr>
                  <a:t>Approved Emails Sent</a:t>
                </a:r>
              </a:p>
            </p:txBody>
          </p:sp>
          <p:sp>
            <p:nvSpPr>
              <p:cNvPr id="111" name="TextBox 110">
                <a:extLst>
                  <a:ext uri="{FF2B5EF4-FFF2-40B4-BE49-F238E27FC236}">
                    <a16:creationId xmlns:a16="http://schemas.microsoft.com/office/drawing/2014/main" id="{0BBFF3A8-D41D-4149-AE6F-9EF3C52FE540}"/>
                  </a:ext>
                </a:extLst>
              </p:cNvPr>
              <p:cNvSpPr txBox="1"/>
              <p:nvPr/>
            </p:nvSpPr>
            <p:spPr>
              <a:xfrm>
                <a:off x="9446695" y="1400865"/>
                <a:ext cx="2152800"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sz="1200" b="0" i="0" u="none" strike="noStrike" kern="1200" cap="none" spc="0" normalizeH="0" baseline="0" noProof="0">
                    <a:ln>
                      <a:noFill/>
                    </a:ln>
                    <a:solidFill>
                      <a:srgbClr val="646569"/>
                    </a:solidFill>
                    <a:effectLst/>
                    <a:uLnTx/>
                    <a:uFillTx/>
                    <a:latin typeface="Calibri"/>
                    <a:ea typeface="+mn-ea"/>
                    <a:cs typeface="+mn-cs"/>
                  </a:rPr>
                  <a:t>Avg. Open Rate</a:t>
                </a:r>
              </a:p>
            </p:txBody>
          </p:sp>
          <p:sp>
            <p:nvSpPr>
              <p:cNvPr id="112" name="TextBox 111">
                <a:extLst>
                  <a:ext uri="{FF2B5EF4-FFF2-40B4-BE49-F238E27FC236}">
                    <a16:creationId xmlns:a16="http://schemas.microsoft.com/office/drawing/2014/main" id="{B950DA45-4FE7-B643-B628-FB954FB1F3B0}"/>
                  </a:ext>
                </a:extLst>
              </p:cNvPr>
              <p:cNvSpPr txBox="1"/>
              <p:nvPr/>
            </p:nvSpPr>
            <p:spPr>
              <a:xfrm>
                <a:off x="8766027" y="1703711"/>
                <a:ext cx="775895" cy="294903"/>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8719D"/>
                    </a:solidFill>
                    <a:effectLst/>
                    <a:uLnTx/>
                    <a:uFillTx/>
                    <a:latin typeface="Calibri"/>
                    <a:ea typeface="+mn-ea"/>
                    <a:cs typeface="+mn-cs"/>
                  </a:rPr>
                  <a:t>+374%</a:t>
                </a:r>
                <a:endParaRPr kumimoji="0" sz="1200" b="1" i="0" u="none" strike="noStrike" kern="1200" cap="none" spc="0" normalizeH="0" baseline="0" noProof="0">
                  <a:ln>
                    <a:noFill/>
                  </a:ln>
                  <a:solidFill>
                    <a:srgbClr val="18719D"/>
                  </a:solidFill>
                  <a:effectLst/>
                  <a:uLnTx/>
                  <a:uFillTx/>
                  <a:latin typeface="Calibri"/>
                  <a:ea typeface="+mn-ea"/>
                  <a:cs typeface="+mn-cs"/>
                </a:endParaRPr>
              </a:p>
            </p:txBody>
          </p:sp>
          <p:sp>
            <p:nvSpPr>
              <p:cNvPr id="113" name="TextBox 112">
                <a:extLst>
                  <a:ext uri="{FF2B5EF4-FFF2-40B4-BE49-F238E27FC236}">
                    <a16:creationId xmlns:a16="http://schemas.microsoft.com/office/drawing/2014/main" id="{61AA67B5-4723-EA47-B4D0-35E3B1BB46BD}"/>
                  </a:ext>
                </a:extLst>
              </p:cNvPr>
              <p:cNvSpPr txBox="1"/>
              <p:nvPr/>
            </p:nvSpPr>
            <p:spPr>
              <a:xfrm>
                <a:off x="8906883" y="1921766"/>
                <a:ext cx="638182" cy="294903"/>
              </a:xfrm>
              <a:prstGeom prst="rect">
                <a:avLst/>
              </a:prstGeom>
              <a:noFill/>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8719D"/>
                    </a:solidFill>
                    <a:effectLst/>
                    <a:uLnTx/>
                    <a:uFillTx/>
                    <a:latin typeface="Calibri"/>
                    <a:ea typeface="+mn-ea"/>
                    <a:cs typeface="+mn-cs"/>
                  </a:rPr>
                  <a:t>21 min</a:t>
                </a:r>
                <a:endParaRPr kumimoji="0" sz="1200" b="1" i="0" u="none" strike="noStrike" kern="1200" cap="none" spc="0" normalizeH="0" baseline="0" noProof="0">
                  <a:ln>
                    <a:noFill/>
                  </a:ln>
                  <a:solidFill>
                    <a:srgbClr val="18719D"/>
                  </a:solidFill>
                  <a:effectLst/>
                  <a:uLnTx/>
                  <a:uFillTx/>
                  <a:latin typeface="Calibri"/>
                  <a:ea typeface="+mn-ea"/>
                  <a:cs typeface="+mn-cs"/>
                </a:endParaRPr>
              </a:p>
            </p:txBody>
          </p:sp>
          <p:sp>
            <p:nvSpPr>
              <p:cNvPr id="114" name="TextBox 113">
                <a:extLst>
                  <a:ext uri="{FF2B5EF4-FFF2-40B4-BE49-F238E27FC236}">
                    <a16:creationId xmlns:a16="http://schemas.microsoft.com/office/drawing/2014/main" id="{2D423B24-6F10-FE4D-89B7-1CB2104F4224}"/>
                  </a:ext>
                </a:extLst>
              </p:cNvPr>
              <p:cNvSpPr txBox="1"/>
              <p:nvPr/>
            </p:nvSpPr>
            <p:spPr>
              <a:xfrm>
                <a:off x="9446695" y="1704072"/>
                <a:ext cx="2250790"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noProof="0">
                    <a:ln>
                      <a:noFill/>
                    </a:ln>
                    <a:solidFill>
                      <a:srgbClr val="646569"/>
                    </a:solidFill>
                    <a:effectLst/>
                    <a:uLnTx/>
                    <a:uFillTx/>
                    <a:latin typeface="Calibri"/>
                    <a:ea typeface="+mn-ea"/>
                    <a:cs typeface="+mn-cs"/>
                  </a:rPr>
                  <a:t>Engage Meetings started</a:t>
                </a:r>
                <a:endParaRPr kumimoji="0" sz="1200" b="0" i="0" u="none" strike="noStrike" kern="1200" cap="none" spc="0" normalizeH="0" baseline="0" noProof="0">
                  <a:ln>
                    <a:noFill/>
                  </a:ln>
                  <a:solidFill>
                    <a:srgbClr val="646569"/>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AACA92F1-F88F-844B-8F0F-C9CA148F8CC3}"/>
                  </a:ext>
                </a:extLst>
              </p:cNvPr>
              <p:cNvSpPr txBox="1"/>
              <p:nvPr/>
            </p:nvSpPr>
            <p:spPr>
              <a:xfrm>
                <a:off x="9446694" y="1922127"/>
                <a:ext cx="2024547" cy="243785"/>
              </a:xfrm>
              <a:prstGeom prst="rect">
                <a:avLst/>
              </a:prstGeom>
              <a:noFill/>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noProof="0">
                    <a:ln>
                      <a:noFill/>
                    </a:ln>
                    <a:solidFill>
                      <a:srgbClr val="646569"/>
                    </a:solidFill>
                    <a:effectLst/>
                    <a:uLnTx/>
                    <a:uFillTx/>
                    <a:latin typeface="Calibri"/>
                    <a:ea typeface="+mn-ea"/>
                    <a:cs typeface="+mn-cs"/>
                  </a:rPr>
                  <a:t>Average Meeting Duration </a:t>
                </a:r>
                <a:endParaRPr kumimoji="0" sz="1200" b="0" i="0" u="none" strike="noStrike" kern="1200" cap="none" spc="0" normalizeH="0" baseline="0" noProof="0">
                  <a:ln>
                    <a:noFill/>
                  </a:ln>
                  <a:solidFill>
                    <a:srgbClr val="646569"/>
                  </a:solidFill>
                  <a:effectLst/>
                  <a:uLnTx/>
                  <a:uFillTx/>
                  <a:latin typeface="Calibri"/>
                  <a:ea typeface="+mn-ea"/>
                  <a:cs typeface="+mn-cs"/>
                </a:endParaRPr>
              </a:p>
            </p:txBody>
          </p:sp>
          <p:pic>
            <p:nvPicPr>
              <p:cNvPr id="116" name="Graphic 115" descr="Vlog with solid fill">
                <a:extLst>
                  <a:ext uri="{FF2B5EF4-FFF2-40B4-BE49-F238E27FC236}">
                    <a16:creationId xmlns:a16="http://schemas.microsoft.com/office/drawing/2014/main" id="{17C28AAD-3132-0643-B26E-83A18A16C84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75620" y="1720514"/>
                <a:ext cx="516155" cy="516155"/>
              </a:xfrm>
              <a:prstGeom prst="rect">
                <a:avLst/>
              </a:prstGeom>
            </p:spPr>
          </p:pic>
          <p:pic>
            <p:nvPicPr>
              <p:cNvPr id="117" name="Graphic 116" descr="Email with solid fill">
                <a:extLst>
                  <a:ext uri="{FF2B5EF4-FFF2-40B4-BE49-F238E27FC236}">
                    <a16:creationId xmlns:a16="http://schemas.microsoft.com/office/drawing/2014/main" id="{0769D37A-64DE-2047-B194-FBA618564A3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20410" y="1228997"/>
                <a:ext cx="426575" cy="426575"/>
              </a:xfrm>
              <a:prstGeom prst="rect">
                <a:avLst/>
              </a:prstGeom>
            </p:spPr>
          </p:pic>
        </p:grpSp>
        <p:sp>
          <p:nvSpPr>
            <p:cNvPr id="100" name="Rectangle 99">
              <a:extLst>
                <a:ext uri="{FF2B5EF4-FFF2-40B4-BE49-F238E27FC236}">
                  <a16:creationId xmlns:a16="http://schemas.microsoft.com/office/drawing/2014/main" id="{0701649C-27BC-4D42-8551-5B230681F1D5}"/>
                </a:ext>
              </a:extLst>
            </p:cNvPr>
            <p:cNvSpPr/>
            <p:nvPr/>
          </p:nvSpPr>
          <p:spPr>
            <a:xfrm>
              <a:off x="7905135" y="1468940"/>
              <a:ext cx="3792350" cy="86383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118" name="Picture 117">
            <a:extLst>
              <a:ext uri="{FF2B5EF4-FFF2-40B4-BE49-F238E27FC236}">
                <a16:creationId xmlns:a16="http://schemas.microsoft.com/office/drawing/2014/main" id="{6490921B-AFED-FC4B-A715-E77BB5A1827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696215" y="1743406"/>
            <a:ext cx="391835" cy="391835"/>
          </a:xfrm>
          <a:prstGeom prst="rect">
            <a:avLst/>
          </a:prstGeom>
        </p:spPr>
      </p:pic>
      <p:sp>
        <p:nvSpPr>
          <p:cNvPr id="88" name="Google Shape;7814;p149">
            <a:extLst>
              <a:ext uri="{FF2B5EF4-FFF2-40B4-BE49-F238E27FC236}">
                <a16:creationId xmlns:a16="http://schemas.microsoft.com/office/drawing/2014/main" id="{B5C50DCD-4BA3-F542-A878-462D5EE277A1}"/>
              </a:ext>
            </a:extLst>
          </p:cNvPr>
          <p:cNvSpPr txBox="1">
            <a:spLocks noChangeArrowheads="1"/>
          </p:cNvSpPr>
          <p:nvPr/>
        </p:nvSpPr>
        <p:spPr bwMode="auto">
          <a:xfrm>
            <a:off x="10120962" y="41822"/>
            <a:ext cx="2071038" cy="14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Clr>
                <a:srgbClr val="484848"/>
              </a:buClr>
              <a:buSzPts val="1600"/>
              <a:buFont typeface="Open Sans" panose="020B0606030504020204" pitchFamily="34" charset="0"/>
              <a:buNone/>
            </a:pPr>
            <a:r>
              <a:rPr lang="en-US" altLang="en-US" sz="1200">
                <a:cs typeface="Calibri" panose="020F0502020204030204" pitchFamily="34" charset="0"/>
                <a:sym typeface="Open Sans" panose="020B0606030504020204" pitchFamily="34" charset="0"/>
              </a:rPr>
              <a:t>How engagement is changing</a:t>
            </a:r>
            <a:endParaRPr lang="en-US" altLang="en-US" sz="1100">
              <a:cs typeface="Calibri" panose="020F0502020204030204" pitchFamily="34" charset="0"/>
              <a:sym typeface="Arial" panose="020B0604020202020204" pitchFamily="34" charset="0"/>
            </a:endParaRPr>
          </a:p>
        </p:txBody>
      </p:sp>
      <p:pic>
        <p:nvPicPr>
          <p:cNvPr id="89" name="Graphic 88" descr="Chat outline">
            <a:extLst>
              <a:ext uri="{FF2B5EF4-FFF2-40B4-BE49-F238E27FC236}">
                <a16:creationId xmlns:a16="http://schemas.microsoft.com/office/drawing/2014/main" id="{C9184F7F-C70E-1643-A42D-E86C648B99FE}"/>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696624" y="-13370"/>
            <a:ext cx="424338" cy="424338"/>
          </a:xfrm>
          <a:prstGeom prst="rect">
            <a:avLst/>
          </a:prstGeom>
        </p:spPr>
      </p:pic>
      <p:graphicFrame>
        <p:nvGraphicFramePr>
          <p:cNvPr id="90" name="Chart 89">
            <a:extLst>
              <a:ext uri="{FF2B5EF4-FFF2-40B4-BE49-F238E27FC236}">
                <a16:creationId xmlns:a16="http://schemas.microsoft.com/office/drawing/2014/main" id="{B8359373-81CF-8648-9446-95B250FCDF5B}"/>
              </a:ext>
            </a:extLst>
          </p:cNvPr>
          <p:cNvGraphicFramePr>
            <a:graphicFrameLocks/>
          </p:cNvGraphicFramePr>
          <p:nvPr/>
        </p:nvGraphicFramePr>
        <p:xfrm>
          <a:off x="444997" y="1251108"/>
          <a:ext cx="7013750" cy="4689941"/>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Box 6">
            <a:extLst>
              <a:ext uri="{FF2B5EF4-FFF2-40B4-BE49-F238E27FC236}">
                <a16:creationId xmlns:a16="http://schemas.microsoft.com/office/drawing/2014/main" id="{788DF117-D0C4-2D4E-99C7-4DF99F59C460}"/>
              </a:ext>
            </a:extLst>
          </p:cNvPr>
          <p:cNvSpPr txBox="1"/>
          <p:nvPr/>
        </p:nvSpPr>
        <p:spPr>
          <a:xfrm rot="20669795">
            <a:off x="1160399" y="1853316"/>
            <a:ext cx="1232178" cy="539187"/>
          </a:xfrm>
          <a:prstGeom prst="rect">
            <a:avLst/>
          </a:prstGeom>
          <a:solidFill>
            <a:schemeClr val="bg1"/>
          </a:solidFill>
          <a:ln>
            <a:solidFill>
              <a:schemeClr val="accent1"/>
            </a:solidFill>
          </a:ln>
        </p:spPr>
        <p:txBody>
          <a:bodyPr wrap="square" rtlCol="0">
            <a:spAutoFit/>
          </a:bodyPr>
          <a:lstStyle/>
          <a:p>
            <a:pPr marL="0" marR="0" lvl="0" indent="0" algn="ctr" defTabSz="914400" rtl="0" eaLnBrk="1" fontAlgn="auto" latinLnBrk="0" hangingPunct="1">
              <a:lnSpc>
                <a:spcPct val="80000"/>
              </a:lnSpc>
              <a:spcBef>
                <a:spcPts val="1200"/>
              </a:spcBef>
              <a:spcAft>
                <a:spcPts val="0"/>
              </a:spcAft>
              <a:buClr>
                <a:srgbClr val="FF9E16"/>
              </a:buClr>
              <a:buSzTx/>
              <a:buFontTx/>
              <a:buNone/>
              <a:tabLst/>
              <a:defRPr/>
            </a:pPr>
            <a:r>
              <a:rPr kumimoji="0" lang="en-US" sz="1200" b="0" i="0" u="none" strike="noStrike" kern="1200" cap="none" spc="0" normalizeH="0" baseline="0" noProof="0">
                <a:ln>
                  <a:noFill/>
                </a:ln>
                <a:solidFill>
                  <a:srgbClr val="DD5F11"/>
                </a:solidFill>
                <a:effectLst/>
                <a:uLnTx/>
                <a:uFillTx/>
                <a:latin typeface="Calibri"/>
                <a:ea typeface="+mn-ea"/>
                <a:cs typeface="+mn-cs"/>
              </a:rPr>
              <a:t>Indicative VeevaPulse Industry Data</a:t>
            </a:r>
          </a:p>
        </p:txBody>
      </p:sp>
      <p:pic>
        <p:nvPicPr>
          <p:cNvPr id="1028" name="Picture 4" descr="Hand Drawn Arrows 4 Collection | Noun Project">
            <a:extLst>
              <a:ext uri="{FF2B5EF4-FFF2-40B4-BE49-F238E27FC236}">
                <a16:creationId xmlns:a16="http://schemas.microsoft.com/office/drawing/2014/main" id="{E9E9C2A1-4C9A-3C48-85FE-682FCDA60CE8}"/>
              </a:ext>
            </a:extLst>
          </p:cNvPr>
          <p:cNvPicPr>
            <a:picLocks noChangeAspect="1" noChangeArrowheads="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rot="13230383">
            <a:off x="3560270" y="3458020"/>
            <a:ext cx="374073" cy="374073"/>
          </a:xfrm>
          <a:prstGeom prst="rect">
            <a:avLst/>
          </a:prstGeom>
          <a:noFill/>
          <a:extLst>
            <a:ext uri="{909E8E84-426E-40DD-AFC4-6F175D3DCCD1}">
              <a14:hiddenFill xmlns:a14="http://schemas.microsoft.com/office/drawing/2010/main">
                <a:solidFill>
                  <a:srgbClr val="FFFFFF"/>
                </a:solidFill>
              </a14:hiddenFill>
            </a:ext>
          </a:extLst>
        </p:spPr>
      </p:pic>
      <p:sp>
        <p:nvSpPr>
          <p:cNvPr id="110" name="TextBox 109">
            <a:extLst>
              <a:ext uri="{FF2B5EF4-FFF2-40B4-BE49-F238E27FC236}">
                <a16:creationId xmlns:a16="http://schemas.microsoft.com/office/drawing/2014/main" id="{C4DD8476-AA04-564D-A291-81E8C4AC73E5}"/>
              </a:ext>
            </a:extLst>
          </p:cNvPr>
          <p:cNvSpPr txBox="1"/>
          <p:nvPr/>
        </p:nvSpPr>
        <p:spPr>
          <a:xfrm>
            <a:off x="3054254" y="3259500"/>
            <a:ext cx="1259191" cy="243721"/>
          </a:xfrm>
          <a:prstGeom prst="rect">
            <a:avLst/>
          </a:prstGeom>
          <a:noFill/>
        </p:spPr>
        <p:txBody>
          <a:bodyPr wrap="none" rtlCol="0">
            <a:spAutoFit/>
          </a:bodyPr>
          <a:lstStyle/>
          <a:p>
            <a:pPr marL="0" marR="0" lvl="0" indent="0" algn="l" defTabSz="914400" rtl="0" eaLnBrk="1" fontAlgn="auto" latinLnBrk="0" hangingPunct="1">
              <a:lnSpc>
                <a:spcPct val="80000"/>
              </a:lnSpc>
              <a:spcBef>
                <a:spcPts val="1200"/>
              </a:spcBef>
              <a:spcAft>
                <a:spcPts val="0"/>
              </a:spcAft>
              <a:buClr>
                <a:srgbClr val="FF9E16"/>
              </a:buClr>
              <a:buSzTx/>
              <a:buFontTx/>
              <a:buNone/>
              <a:tabLst/>
              <a:defRPr/>
            </a:pPr>
            <a:r>
              <a:rPr kumimoji="0" lang="en-US" sz="1200" b="0" i="0" u="none" strike="noStrike" kern="1200" cap="none" spc="0" normalizeH="0" baseline="0" noProof="0">
                <a:ln>
                  <a:noFill/>
                </a:ln>
                <a:solidFill>
                  <a:srgbClr val="646569"/>
                </a:solidFill>
                <a:effectLst/>
                <a:uLnTx/>
                <a:uFillTx/>
                <a:latin typeface="Calibri"/>
                <a:ea typeface="+mn-ea"/>
                <a:cs typeface="+mn-cs"/>
              </a:rPr>
              <a:t>Summer holidays</a:t>
            </a:r>
          </a:p>
        </p:txBody>
      </p:sp>
      <p:pic>
        <p:nvPicPr>
          <p:cNvPr id="91" name="Picture 4" descr="Hand Drawn Arrows 4 Collection | Noun Project">
            <a:extLst>
              <a:ext uri="{FF2B5EF4-FFF2-40B4-BE49-F238E27FC236}">
                <a16:creationId xmlns:a16="http://schemas.microsoft.com/office/drawing/2014/main" id="{4B858730-56C2-DC4F-906C-5A9A1FAE189A}"/>
              </a:ext>
            </a:extLst>
          </p:cNvPr>
          <p:cNvPicPr>
            <a:picLocks noChangeAspect="1" noChangeArrowheads="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rot="8369617" flipH="1">
            <a:off x="5583945" y="2643176"/>
            <a:ext cx="374073" cy="374073"/>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a16="http://schemas.microsoft.com/office/drawing/2014/main" id="{7860F559-C441-3841-87DD-DD980E080D78}"/>
              </a:ext>
            </a:extLst>
          </p:cNvPr>
          <p:cNvSpPr txBox="1"/>
          <p:nvPr/>
        </p:nvSpPr>
        <p:spPr>
          <a:xfrm>
            <a:off x="5347933" y="2303948"/>
            <a:ext cx="1018071" cy="39145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1200"/>
              </a:spcBef>
              <a:spcAft>
                <a:spcPts val="0"/>
              </a:spcAft>
              <a:buClr>
                <a:srgbClr val="FF9E16"/>
              </a:buClr>
              <a:buSzTx/>
              <a:buFontTx/>
              <a:buNone/>
              <a:tabLst/>
              <a:defRPr/>
            </a:pPr>
            <a:r>
              <a:rPr kumimoji="0" lang="en-US" sz="1200" b="0" i="0" u="none" strike="noStrike" kern="1200" cap="none" spc="0" normalizeH="0" baseline="0" noProof="0">
                <a:ln>
                  <a:noFill/>
                </a:ln>
                <a:solidFill>
                  <a:srgbClr val="646569"/>
                </a:solidFill>
                <a:effectLst/>
                <a:uLnTx/>
                <a:uFillTx/>
                <a:latin typeface="Calibri"/>
                <a:ea typeface="+mn-ea"/>
                <a:cs typeface="+mn-cs"/>
              </a:rPr>
              <a:t>Christmas holidays</a:t>
            </a:r>
          </a:p>
        </p:txBody>
      </p:sp>
      <p:pic>
        <p:nvPicPr>
          <p:cNvPr id="93" name="Picture 4" descr="Hand Drawn Arrows 4 Collection | Noun Project">
            <a:extLst>
              <a:ext uri="{FF2B5EF4-FFF2-40B4-BE49-F238E27FC236}">
                <a16:creationId xmlns:a16="http://schemas.microsoft.com/office/drawing/2014/main" id="{BC38805E-C5B7-4942-BFB1-0AB043B9F7AC}"/>
              </a:ext>
            </a:extLst>
          </p:cNvPr>
          <p:cNvPicPr>
            <a:picLocks noChangeAspect="1" noChangeArrowheads="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rot="8369617" flipH="1">
            <a:off x="6943467" y="3042757"/>
            <a:ext cx="374073" cy="374073"/>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a:extLst>
              <a:ext uri="{FF2B5EF4-FFF2-40B4-BE49-F238E27FC236}">
                <a16:creationId xmlns:a16="http://schemas.microsoft.com/office/drawing/2014/main" id="{AE7991A0-2DE2-C742-9E00-EFA301DFD16A}"/>
              </a:ext>
            </a:extLst>
          </p:cNvPr>
          <p:cNvSpPr txBox="1"/>
          <p:nvPr/>
        </p:nvSpPr>
        <p:spPr>
          <a:xfrm>
            <a:off x="6846859" y="2658680"/>
            <a:ext cx="709654" cy="39145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1200"/>
              </a:spcBef>
              <a:spcAft>
                <a:spcPts val="0"/>
              </a:spcAft>
              <a:buClr>
                <a:srgbClr val="FF9E16"/>
              </a:buClr>
              <a:buSzTx/>
              <a:buFontTx/>
              <a:buNone/>
              <a:tabLst/>
              <a:defRPr/>
            </a:pPr>
            <a:r>
              <a:rPr kumimoji="0" lang="en-US" sz="1200" b="0" i="0" u="none" strike="noStrike" kern="1200" cap="none" spc="0" normalizeH="0" baseline="0" noProof="0">
                <a:ln>
                  <a:noFill/>
                </a:ln>
                <a:solidFill>
                  <a:srgbClr val="646569"/>
                </a:solidFill>
                <a:effectLst/>
                <a:uLnTx/>
                <a:uFillTx/>
                <a:latin typeface="Calibri"/>
                <a:ea typeface="+mn-ea"/>
                <a:cs typeface="+mn-cs"/>
              </a:rPr>
              <a:t>Easter break</a:t>
            </a:r>
          </a:p>
        </p:txBody>
      </p:sp>
    </p:spTree>
    <p:extLst>
      <p:ext uri="{BB962C8B-B14F-4D97-AF65-F5344CB8AC3E}">
        <p14:creationId xmlns:p14="http://schemas.microsoft.com/office/powerpoint/2010/main" val="28478037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eeva Template_AMWEdit_with color options_11.07.16">
  <a:themeElements>
    <a:clrScheme name="Custom 4">
      <a:dk1>
        <a:srgbClr val="646569"/>
      </a:dk1>
      <a:lt1>
        <a:srgbClr val="FFFFFF"/>
      </a:lt1>
      <a:dk2>
        <a:srgbClr val="FF9E16"/>
      </a:dk2>
      <a:lt2>
        <a:srgbClr val="E7E6E6"/>
      </a:lt2>
      <a:accent1>
        <a:srgbClr val="DD5F11"/>
      </a:accent1>
      <a:accent2>
        <a:srgbClr val="FAB911"/>
      </a:accent2>
      <a:accent3>
        <a:srgbClr val="4ED1D2"/>
      </a:accent3>
      <a:accent4>
        <a:srgbClr val="85B6CF"/>
      </a:accent4>
      <a:accent5>
        <a:srgbClr val="18719D"/>
      </a:accent5>
      <a:accent6>
        <a:srgbClr val="53617D"/>
      </a:accent6>
      <a:hlink>
        <a:srgbClr val="FF9E16"/>
      </a:hlink>
      <a:folHlink>
        <a:srgbClr val="B4B4B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R="0" indent="-182880" algn="l" defTabSz="914400" rtl="0" eaLnBrk="1" fontAlgn="auto" latinLnBrk="0" hangingPunct="1">
          <a:lnSpc>
            <a:spcPct val="80000"/>
          </a:lnSpc>
          <a:spcBef>
            <a:spcPts val="1200"/>
          </a:spcBef>
          <a:spcAft>
            <a:spcPts val="0"/>
          </a:spcAft>
          <a:buClr>
            <a:schemeClr val="tx2"/>
          </a:buClr>
          <a:buSzTx/>
          <a:buFont typeface="Arial" panose="020B0604020202020204" pitchFamily="34" charset="0"/>
          <a:buChar char="•"/>
          <a:tabLst/>
          <a:defRPr dirty="0" smtClean="0"/>
        </a:defPPr>
      </a:lstStyle>
    </a:txDef>
  </a:objectDefaults>
  <a:extraClrSchemeLst/>
  <a:extLst>
    <a:ext uri="{05A4C25C-085E-4340-85A3-A5531E510DB2}">
      <thm15:themeFamily xmlns:thm15="http://schemas.microsoft.com/office/thememl/2012/main" name="Veeva Template (2018) - Core Base" id="{F0E7B487-3C86-450E-9342-CBB1AEDEA5D7}" vid="{71CABE20-942E-43D3-84EC-E31EFAF1C335}"/>
    </a:ext>
  </a:extLst>
</a:theme>
</file>

<file path=ppt/theme/theme2.xml><?xml version="1.0" encoding="utf-8"?>
<a:theme xmlns:a="http://schemas.openxmlformats.org/drawingml/2006/main" name="1_Office Theme">
  <a:themeElements>
    <a:clrScheme name="BRAND X_edit">
      <a:dk1>
        <a:srgbClr val="000000"/>
      </a:dk1>
      <a:lt1>
        <a:srgbClr val="FFFFFF"/>
      </a:lt1>
      <a:dk2>
        <a:srgbClr val="585858"/>
      </a:dk2>
      <a:lt2>
        <a:srgbClr val="F4F4F4"/>
      </a:lt2>
      <a:accent1>
        <a:srgbClr val="005DAB"/>
      </a:accent1>
      <a:accent2>
        <a:srgbClr val="A3C8C8"/>
      </a:accent2>
      <a:accent3>
        <a:srgbClr val="A5A6A5"/>
      </a:accent3>
      <a:accent4>
        <a:srgbClr val="A0B266"/>
      </a:accent4>
      <a:accent5>
        <a:srgbClr val="DEB3A8"/>
      </a:accent5>
      <a:accent6>
        <a:srgbClr val="C1B29C"/>
      </a:accent6>
      <a:hlink>
        <a:srgbClr val="005DAB"/>
      </a:hlink>
      <a:folHlink>
        <a:srgbClr val="A4C8C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9D17E572A9014CA98EF55A5E8319AA" ma:contentTypeVersion="11" ma:contentTypeDescription="Create a new document." ma:contentTypeScope="" ma:versionID="d6b5e727e98f570f0574fc3565af7e9e">
  <xsd:schema xmlns:xsd="http://www.w3.org/2001/XMLSchema" xmlns:xs="http://www.w3.org/2001/XMLSchema" xmlns:p="http://schemas.microsoft.com/office/2006/metadata/properties" xmlns:ns2="0d8c423f-ad67-45a2-8b05-97a43a5b7821" xmlns:ns3="ead0e857-dec6-4b1e-afd3-48dbfac7dd48" targetNamespace="http://schemas.microsoft.com/office/2006/metadata/properties" ma:root="true" ma:fieldsID="6f3db167e660a116f7b51cc0c02ca9e8" ns2:_="" ns3:_="">
    <xsd:import namespace="0d8c423f-ad67-45a2-8b05-97a43a5b7821"/>
    <xsd:import namespace="ead0e857-dec6-4b1e-afd3-48dbfac7dd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23f-ad67-45a2-8b05-97a43a5b78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d0e857-dec6-4b1e-afd3-48dbfac7dd4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ead0e857-dec6-4b1e-afd3-48dbfac7dd48">
      <UserInfo>
        <DisplayName>Abhinav Mehra</DisplayName>
        <AccountId>16</AccountId>
        <AccountType/>
      </UserInfo>
    </SharedWithUsers>
  </documentManagement>
</p:properties>
</file>

<file path=customXml/itemProps1.xml><?xml version="1.0" encoding="utf-8"?>
<ds:datastoreItem xmlns:ds="http://schemas.openxmlformats.org/officeDocument/2006/customXml" ds:itemID="{81463FC6-76D4-400D-957B-6C772DAC0B17}">
  <ds:schemaRefs>
    <ds:schemaRef ds:uri="0d8c423f-ad67-45a2-8b05-97a43a5b7821"/>
    <ds:schemaRef ds:uri="ead0e857-dec6-4b1e-afd3-48dbfac7dd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D43406C-AE1E-41E5-B28C-82436ED145A3}">
  <ds:schemaRefs>
    <ds:schemaRef ds:uri="0d8c423f-ad67-45a2-8b05-97a43a5b7821"/>
    <ds:schemaRef ds:uri="http://purl.org/dc/dcmitype/"/>
    <ds:schemaRef ds:uri="http://schemas.microsoft.com/office/2006/documentManagement/types"/>
    <ds:schemaRef ds:uri="ead0e857-dec6-4b1e-afd3-48dbfac7dd48"/>
    <ds:schemaRef ds:uri="http://schemas.microsoft.com/office/2006/metadata/properties"/>
    <ds:schemaRef ds:uri="http://purl.org/dc/elements/1.1/"/>
    <ds:schemaRef ds:uri="http://www.w3.org/XML/1998/namespace"/>
    <ds:schemaRef ds:uri="http://purl.org/dc/term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1</TotalTime>
  <Words>7723</Words>
  <Application>Microsoft Macintosh PowerPoint</Application>
  <PresentationFormat>Widescreen</PresentationFormat>
  <Paragraphs>995</Paragraphs>
  <Slides>46</Slides>
  <Notes>3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9" baseType="lpstr">
      <vt:lpstr>Arial</vt:lpstr>
      <vt:lpstr>Calibri</vt:lpstr>
      <vt:lpstr>Calibri Light</vt:lpstr>
      <vt:lpstr>Courier New</vt:lpstr>
      <vt:lpstr>Humanist 521</vt:lpstr>
      <vt:lpstr>Open Sans</vt:lpstr>
      <vt:lpstr>PT Sans</vt:lpstr>
      <vt:lpstr>Roboto Light</vt:lpstr>
      <vt:lpstr>Segoe UI</vt:lpstr>
      <vt:lpstr>Wingdings</vt:lpstr>
      <vt:lpstr>Veeva Template_AMWEdit_with color options_11.07.16</vt:lpstr>
      <vt:lpstr>1_Office Theme</vt:lpstr>
      <vt:lpstr>think-cell Slide</vt:lpstr>
      <vt:lpstr>PowerPoint Presentation</vt:lpstr>
      <vt:lpstr>Table of contents </vt:lpstr>
      <vt:lpstr>Galapagos is seeking to design and operationalise a Customer Engagement model to achieve targeted growth for Jyseleca</vt:lpstr>
      <vt:lpstr>It is essential to build on the current insight, strategy and planning and translate this into a practical execution plan</vt:lpstr>
      <vt:lpstr>Table of contents </vt:lpstr>
      <vt:lpstr>Our point of view</vt:lpstr>
      <vt:lpstr>Today’s HCPs are ‘digital citizens’ with specific needs and preferences. Pharma needs an engagement model to match.</vt:lpstr>
      <vt:lpstr>PowerPoint Presentation</vt:lpstr>
      <vt:lpstr>Over the past year we have seen a shift towards digital – a trend that looks like it is here to stay</vt:lpstr>
      <vt:lpstr>Overall, we see two key forces driving a shift in engagement models</vt:lpstr>
      <vt:lpstr>These forces are resulting in the emergence of four types of engagement strategy</vt:lpstr>
      <vt:lpstr>This shift has important implications for how we plan and execute customer engagement</vt:lpstr>
      <vt:lpstr>A robust framework is required to simplify engagement model design and enable timely and effective decision making</vt:lpstr>
      <vt:lpstr>The output of this is a specific customer engagement plan for to drive rep activity</vt:lpstr>
      <vt:lpstr>When setting rep activity plans and MCCP we need to establish the right balance to both direct yet empower reps </vt:lpstr>
      <vt:lpstr>As we set sales teams up for practical execution of your engagement plans we will put key enablers in place</vt:lpstr>
      <vt:lpstr>Ultimately, the end-to-end framework will provide sales reps with the clarity, confidence and capability to execute</vt:lpstr>
      <vt:lpstr>Table of contents </vt:lpstr>
      <vt:lpstr>Before we start, let’s align on key terminology</vt:lpstr>
      <vt:lpstr>We propose the following approach to support markets executing on the strategic elements defined so far</vt:lpstr>
      <vt:lpstr>As a result, we would create following key elements to support the markets and the reps in the execution </vt:lpstr>
      <vt:lpstr>Based on our experience working with Galapagos, we believe a ‘long &amp; thin’ support model would work best</vt:lpstr>
      <vt:lpstr>What you can expect as an outcome of our work together</vt:lpstr>
      <vt:lpstr>PowerPoint Presentation</vt:lpstr>
      <vt:lpstr>Our proposed work is based on following key assumptions</vt:lpstr>
      <vt:lpstr>Table of contents </vt:lpstr>
      <vt:lpstr>Veeva brings a highly experienced team with the credibility, expertise and pragmatism to deliver for you</vt:lpstr>
      <vt:lpstr> Key assumptions:   Proposal covers 4 phases of work from May to November 2021 (30 weeks)  Veeva team for workstreams #1-3 of between  2-3 FTE people, flexed over 30 weeks  For pilot (#4) this includes 2 local resources, 1 FTE per pilot, for at least 50% of their time for the duration of the pilot    Veeva will go very lean most of  August to accommodate to Galapagos holiday period </vt:lpstr>
      <vt:lpstr>Why Veeva are the right partner for you</vt:lpstr>
      <vt:lpstr>Table of contents </vt:lpstr>
      <vt:lpstr>Deep Dive on our Approach</vt:lpstr>
      <vt:lpstr>1.1. Define two market archetypes and key go-to-market considerations </vt:lpstr>
      <vt:lpstr>1.2. Define and build rep activity allocation &amp; the MCCP process</vt:lpstr>
      <vt:lpstr>1.3. Design the guide for a ‘day / cycle in the life’ of a hybrid rep</vt:lpstr>
      <vt:lpstr>1.4. Define the governance / adoption framework</vt:lpstr>
      <vt:lpstr>2.1 Call planning, execution, measurement playbooks</vt:lpstr>
      <vt:lpstr>2.2 Configure Veeva CRM to optimize execution</vt:lpstr>
      <vt:lpstr>3.1 Create &amp; deploy training to deliver omnichannel experiences</vt:lpstr>
      <vt:lpstr>3.2. Update the learning &amp; development journey</vt:lpstr>
      <vt:lpstr>4.1. Build and execute the pilot deployment roadmap</vt:lpstr>
      <vt:lpstr>1. Building omnichannel training materials for oncology globally </vt:lpstr>
      <vt:lpstr>2. Creating a MCM capability anchored on technology </vt:lpstr>
      <vt:lpstr>3. Upskill on digital capabilities for better CX across EU</vt:lpstr>
      <vt:lpstr>4. Building a marketing function that is fit for the future globally</vt:lpstr>
      <vt:lpstr>5. Trainings to get the most out of our Veeva solu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dc:title>
  <dc:creator>Leonie Goddard</dc:creator>
  <cp:lastModifiedBy>Victoria Serra G</cp:lastModifiedBy>
  <cp:revision>1</cp:revision>
  <dcterms:created xsi:type="dcterms:W3CDTF">2020-08-12T09:41:02Z</dcterms:created>
  <dcterms:modified xsi:type="dcterms:W3CDTF">2021-04-19T11:0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D17E572A9014CA98EF55A5E8319AA</vt:lpwstr>
  </property>
</Properties>
</file>